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notesSlides/notesSlide7.xml" ContentType="application/vnd.openxmlformats-officedocument.presentationml.notesSlide+xml"/>
  <Override PartName="/ppt/charts/chart9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8.xml" ContentType="application/vnd.openxmlformats-officedocument.presentationml.notesSlide+xml"/>
  <Override PartName="/ppt/charts/chart10.xml" ContentType="application/vnd.openxmlformats-officedocument.drawingml.chart+xml"/>
  <Override PartName="/ppt/notesSlides/notesSlide9.xml" ContentType="application/vnd.openxmlformats-officedocument.presentationml.notesSlide+xml"/>
  <Override PartName="/ppt/charts/chart11.xml" ContentType="application/vnd.openxmlformats-officedocument.drawingml.chart+xml"/>
  <Override PartName="/ppt/notesSlides/notesSlide10.xml" ContentType="application/vnd.openxmlformats-officedocument.presentationml.notesSlide+xml"/>
  <Override PartName="/ppt/charts/chart12.xml" ContentType="application/vnd.openxmlformats-officedocument.drawingml.chart+xml"/>
  <Override PartName="/ppt/notesSlides/notesSlide11.xml" ContentType="application/vnd.openxmlformats-officedocument.presentationml.notesSlide+xml"/>
  <Override PartName="/ppt/charts/chart13.xml" ContentType="application/vnd.openxmlformats-officedocument.drawingml.chart+xml"/>
  <Override PartName="/ppt/notesSlides/notesSlide12.xml" ContentType="application/vnd.openxmlformats-officedocument.presentationml.notesSlide+xml"/>
  <Override PartName="/ppt/charts/chart14.xml" ContentType="application/vnd.openxmlformats-officedocument.drawingml.chart+xml"/>
  <Override PartName="/ppt/notesSlides/notesSlide13.xml" ContentType="application/vnd.openxmlformats-officedocument.presentationml.notesSlide+xml"/>
  <Override PartName="/ppt/charts/chart15.xml" ContentType="application/vnd.openxmlformats-officedocument.drawingml.chart+xml"/>
  <Override PartName="/ppt/notesSlides/notesSlide14.xml" ContentType="application/vnd.openxmlformats-officedocument.presentationml.notesSlide+xml"/>
  <Override PartName="/ppt/charts/chart16.xml" ContentType="application/vnd.openxmlformats-officedocument.drawingml.chart+xml"/>
  <Override PartName="/ppt/notesSlides/notesSlide15.xml" ContentType="application/vnd.openxmlformats-officedocument.presentationml.notesSlide+xml"/>
  <Override PartName="/ppt/charts/chart17.xml" ContentType="application/vnd.openxmlformats-officedocument.drawingml.chart+xml"/>
  <Override PartName="/ppt/notesSlides/notesSlide16.xml" ContentType="application/vnd.openxmlformats-officedocument.presentationml.notesSlide+xml"/>
  <Override PartName="/ppt/charts/chart18.xml" ContentType="application/vnd.openxmlformats-officedocument.drawingml.chart+xml"/>
  <Override PartName="/ppt/notesSlides/notesSlide17.xml" ContentType="application/vnd.openxmlformats-officedocument.presentationml.notesSlide+xml"/>
  <Override PartName="/ppt/charts/chart19.xml" ContentType="application/vnd.openxmlformats-officedocument.drawingml.chart+xml"/>
  <Override PartName="/ppt/notesSlides/notesSlide18.xml" ContentType="application/vnd.openxmlformats-officedocument.presentationml.notesSlide+xml"/>
  <Override PartName="/ppt/charts/chart2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77" r:id="rId2"/>
    <p:sldMasterId id="2147483680" r:id="rId3"/>
    <p:sldMasterId id="2147483718" r:id="rId4"/>
  </p:sldMasterIdLst>
  <p:notesMasterIdLst>
    <p:notesMasterId r:id="rId26"/>
  </p:notesMasterIdLst>
  <p:sldIdLst>
    <p:sldId id="361" r:id="rId5"/>
    <p:sldId id="4386" r:id="rId6"/>
    <p:sldId id="263" r:id="rId7"/>
    <p:sldId id="2145707965" r:id="rId8"/>
    <p:sldId id="2145707945" r:id="rId9"/>
    <p:sldId id="2145707966" r:id="rId10"/>
    <p:sldId id="2145707947" r:id="rId11"/>
    <p:sldId id="2145707948" r:id="rId12"/>
    <p:sldId id="2145707951" r:id="rId13"/>
    <p:sldId id="2145707952" r:id="rId14"/>
    <p:sldId id="2145707954" r:id="rId15"/>
    <p:sldId id="2145707955" r:id="rId16"/>
    <p:sldId id="2145707956" r:id="rId17"/>
    <p:sldId id="2145707957" r:id="rId18"/>
    <p:sldId id="2145707958" r:id="rId19"/>
    <p:sldId id="2145707959" r:id="rId20"/>
    <p:sldId id="2145707960" r:id="rId21"/>
    <p:sldId id="2145707961" r:id="rId22"/>
    <p:sldId id="2145707962" r:id="rId23"/>
    <p:sldId id="2145707963" r:id="rId24"/>
    <p:sldId id="2145707964" r:id="rId25"/>
  </p:sldIdLst>
  <p:sldSz cx="24384000" cy="13716000"/>
  <p:notesSz cx="6797675" cy="9928225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"/>
      </a:defRPr>
    </a:lvl1pPr>
    <a:lvl2pPr marL="0" marR="0" indent="4572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"/>
      </a:defRPr>
    </a:lvl2pPr>
    <a:lvl3pPr marL="0" marR="0" indent="9144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"/>
      </a:defRPr>
    </a:lvl3pPr>
    <a:lvl4pPr marL="0" marR="0" indent="13716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"/>
      </a:defRPr>
    </a:lvl4pPr>
    <a:lvl5pPr marL="0" marR="0" indent="18288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"/>
      </a:defRPr>
    </a:lvl5pPr>
    <a:lvl6pPr marL="0" marR="0" indent="22860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"/>
      </a:defRPr>
    </a:lvl6pPr>
    <a:lvl7pPr marL="0" marR="0" indent="27432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"/>
      </a:defRPr>
    </a:lvl7pPr>
    <a:lvl8pPr marL="0" marR="0" indent="32004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"/>
      </a:defRPr>
    </a:lvl8pPr>
    <a:lvl9pPr marL="0" marR="0" indent="3657600" algn="ctr" defTabSz="2438338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  <a:srgbClr val="2BAEDD"/>
    <a:srgbClr val="FFFF00"/>
    <a:srgbClr val="CCCC00"/>
    <a:srgbClr val="FFFF66"/>
    <a:srgbClr val="000000"/>
    <a:srgbClr val="06527F"/>
    <a:srgbClr val="077C7F"/>
    <a:srgbClr val="020F94"/>
    <a:srgbClr val="FFDD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381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381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solidFill>
            <a:schemeClr val="accent1">
              <a:lumOff val="16847"/>
            </a:schemeClr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838383"/>
              </a:solidFill>
              <a:prstDash val="solid"/>
              <a:miter lim="400000"/>
            </a:ln>
          </a:left>
          <a:right>
            <a:ln w="12700" cap="flat">
              <a:solidFill>
                <a:srgbClr val="838383"/>
              </a:solidFill>
              <a:prstDash val="solid"/>
              <a:miter lim="400000"/>
            </a:ln>
          </a:right>
          <a:top>
            <a:ln w="12700" cap="flat">
              <a:solidFill>
                <a:srgbClr val="838383"/>
              </a:solidFill>
              <a:prstDash val="solid"/>
              <a:miter lim="400000"/>
            </a:ln>
          </a:top>
          <a:bottom>
            <a:ln w="12700" cap="flat">
              <a:solidFill>
                <a:srgbClr val="838383"/>
              </a:solidFill>
              <a:prstDash val="solid"/>
              <a:miter lim="400000"/>
            </a:ln>
          </a:bottom>
          <a:insideH>
            <a:ln w="12700" cap="flat">
              <a:solidFill>
                <a:srgbClr val="838383"/>
              </a:solidFill>
              <a:prstDash val="solid"/>
              <a:miter lim="400000"/>
            </a:ln>
          </a:insideH>
          <a:insideV>
            <a:ln w="12700" cap="flat">
              <a:solidFill>
                <a:srgbClr val="83838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808080"/>
              </a:solidFill>
              <a:prstDash val="solid"/>
              <a:miter lim="400000"/>
            </a:ln>
          </a:right>
          <a:top>
            <a:ln w="12700" cap="flat">
              <a:solidFill>
                <a:srgbClr val="808080"/>
              </a:solidFill>
              <a:prstDash val="solid"/>
              <a:miter lim="400000"/>
            </a:ln>
          </a:top>
          <a:bottom>
            <a:ln w="12700" cap="flat">
              <a:solidFill>
                <a:srgbClr val="808080"/>
              </a:solidFill>
              <a:prstDash val="solid"/>
              <a:miter lim="400000"/>
            </a:ln>
          </a:bottom>
          <a:insideH>
            <a:ln w="12700" cap="flat">
              <a:solidFill>
                <a:srgbClr val="808080"/>
              </a:solidFill>
              <a:prstDash val="solid"/>
              <a:miter lim="400000"/>
            </a:ln>
          </a:insideH>
          <a:insideV>
            <a:ln w="12700" cap="flat">
              <a:solidFill>
                <a:srgbClr val="808080"/>
              </a:solidFill>
              <a:prstDash val="solid"/>
              <a:miter lim="400000"/>
            </a:ln>
          </a:insideV>
        </a:tcBdr>
        <a:fill>
          <a:solidFill>
            <a:srgbClr val="88FA4F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chemeClr val="accent3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4D4D4D"/>
              </a:solidFill>
              <a:prstDash val="solid"/>
              <a:miter lim="400000"/>
            </a:ln>
          </a:right>
          <a:top>
            <a:ln w="12700" cap="flat">
              <a:solidFill>
                <a:srgbClr val="4D4D4D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4D4D4D"/>
              </a:solidFill>
              <a:prstDash val="solid"/>
              <a:miter lim="400000"/>
            </a:ln>
          </a:insideH>
          <a:insideV>
            <a:ln w="12700" cap="flat">
              <a:solidFill>
                <a:srgbClr val="4D4D4D"/>
              </a:solidFill>
              <a:prstDash val="solid"/>
              <a:miter lim="400000"/>
            </a:ln>
          </a:insideV>
        </a:tcBdr>
        <a:fill>
          <a:solidFill>
            <a:srgbClr val="60D937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chemeClr val="accent4">
              <a:hueOff val="348544"/>
              <a:lumOff val="7139"/>
            </a:schemeClr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8BB00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38100" cap="flat">
              <a:solidFill>
                <a:srgbClr val="F8BA00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464646"/>
              </a:solidFill>
              <a:prstDash val="solid"/>
              <a:miter lim="400000"/>
            </a:ln>
          </a:left>
          <a:right>
            <a:ln w="12700" cap="flat">
              <a:solidFill>
                <a:srgbClr val="464646"/>
              </a:solidFill>
              <a:prstDash val="solid"/>
              <a:miter lim="400000"/>
            </a:ln>
          </a:right>
          <a:top>
            <a:ln w="12700" cap="flat">
              <a:solidFill>
                <a:srgbClr val="464646"/>
              </a:solidFill>
              <a:prstDash val="solid"/>
              <a:miter lim="400000"/>
            </a:ln>
          </a:top>
          <a:bottom>
            <a:ln w="12700" cap="flat">
              <a:solidFill>
                <a:srgbClr val="464646"/>
              </a:solidFill>
              <a:prstDash val="solid"/>
              <a:miter lim="400000"/>
            </a:ln>
          </a:bottom>
          <a:insideH>
            <a:ln w="12700" cap="flat">
              <a:solidFill>
                <a:srgbClr val="464646"/>
              </a:solidFill>
              <a:prstDash val="solid"/>
              <a:miter lim="400000"/>
            </a:ln>
          </a:insideH>
          <a:insideV>
            <a:ln w="12700" cap="flat">
              <a:solidFill>
                <a:srgbClr val="464646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D4D5D5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C3C3C3"/>
              </a:solidFill>
              <a:prstDash val="solid"/>
              <a:miter lim="400000"/>
            </a:ln>
          </a:top>
          <a:bottom>
            <a:ln w="12700" cap="flat">
              <a:solidFill>
                <a:srgbClr val="C3C3C3"/>
              </a:solidFill>
              <a:prstDash val="solid"/>
              <a:miter lim="400000"/>
            </a:ln>
          </a:bottom>
          <a:insideH>
            <a:ln w="12700" cap="flat">
              <a:solidFill>
                <a:srgbClr val="C3C3C3"/>
              </a:solidFill>
              <a:prstDash val="solid"/>
              <a:miter lim="400000"/>
            </a:ln>
          </a:insideH>
          <a:insideV>
            <a:ln w="12700" cap="flat">
              <a:solidFill>
                <a:srgbClr val="C3C3C3"/>
              </a:solidFill>
              <a:prstDash val="solid"/>
              <a:miter lim="400000"/>
            </a:ln>
          </a:insideV>
        </a:tcBdr>
        <a:fill>
          <a:solidFill>
            <a:srgbClr val="CB2A7B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5E5E5E"/>
              </a:solidFill>
              <a:prstDash val="solid"/>
              <a:miter lim="400000"/>
            </a:ln>
          </a:right>
          <a:top>
            <a:ln w="38100" cap="flat">
              <a:solidFill>
                <a:srgbClr val="CB297B"/>
              </a:solidFill>
              <a:prstDash val="solid"/>
              <a:miter lim="400000"/>
            </a:ln>
          </a:top>
          <a:bottom>
            <a:ln w="12700" cap="flat">
              <a:solidFill>
                <a:srgbClr val="5E5E5E"/>
              </a:solidFill>
              <a:prstDash val="solid"/>
              <a:miter lim="400000"/>
            </a:ln>
          </a:bottom>
          <a:insideH>
            <a:ln w="12700" cap="flat">
              <a:solidFill>
                <a:srgbClr val="5E5E5E"/>
              </a:solidFill>
              <a:prstDash val="solid"/>
              <a:miter lim="400000"/>
            </a:ln>
          </a:insideH>
          <a:insideV>
            <a:ln w="12700" cap="flat">
              <a:solidFill>
                <a:srgbClr val="5E5E5E"/>
              </a:solidFill>
              <a:prstDash val="solid"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5E5E5E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991A5F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6C6C6C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6C6C6C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6C6C6C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D6DCE0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C083E6E3-FA7D-4D7B-A595-EF9225AFEA82}" styleName="Φωτεινό στυλ 1 - Έμφαση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408" autoAdjust="0"/>
    <p:restoredTop sz="94632"/>
  </p:normalViewPr>
  <p:slideViewPr>
    <p:cSldViewPr snapToGrid="0" snapToObjects="1">
      <p:cViewPr varScale="1">
        <p:scale>
          <a:sx n="54" d="100"/>
          <a:sy n="54" d="100"/>
        </p:scale>
        <p:origin x="468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kumimoji="0" lang="el-GR" sz="3600" b="0" i="0" u="none" strike="noStrike" kern="1200" cap="none" spc="0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defRPr>
            </a:pPr>
            <a:r>
              <a:rPr kumimoji="0" lang="el-GR" sz="3600" b="0" i="0" u="none" strike="noStrike" cap="none" spc="0" normalizeH="0" baseline="0" dirty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rPr>
              <a:t>Σε ποια από τις παρακάτω ΗΛΙΚΙΑΚΕΣ κατηγορίες ανήκετε;</a:t>
            </a:r>
          </a:p>
        </c:rich>
      </c:tx>
      <c:layout>
        <c:manualLayout>
          <c:xMode val="edge"/>
          <c:yMode val="edge"/>
          <c:x val="0.153340250748665"/>
          <c:y val="8.2852267214492785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kumimoji="0" lang="el-GR" sz="3600" b="0" i="0" u="none" strike="noStrike" kern="1200" cap="none" spc="0" normalizeH="0" baseline="0">
              <a:ln>
                <a:noFill/>
              </a:ln>
              <a:solidFill>
                <a:srgbClr val="5E5E5E"/>
              </a:solidFill>
              <a:effectLst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Helvetica"/>
            </a:defRPr>
          </a:pPr>
          <a:endParaRPr lang="el-GR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Φύλλο1!$A$2:$A$9</c:f>
              <c:strCache>
                <c:ptCount val="7"/>
                <c:pt idx="0">
                  <c:v>17-24 ετών</c:v>
                </c:pt>
                <c:pt idx="1">
                  <c:v>25-34 ετών</c:v>
                </c:pt>
                <c:pt idx="2">
                  <c:v>35-44 ετών</c:v>
                </c:pt>
                <c:pt idx="3">
                  <c:v>45-54 ετών</c:v>
                </c:pt>
                <c:pt idx="4">
                  <c:v>55-64 ετών</c:v>
                </c:pt>
                <c:pt idx="5">
                  <c:v>65-74 ετών</c:v>
                </c:pt>
                <c:pt idx="6">
                  <c:v>75+ ετών</c:v>
                </c:pt>
              </c:strCache>
            </c:strRef>
          </c:cat>
          <c:val>
            <c:numRef>
              <c:f>Φύλλο1!$B$2:$B$9</c:f>
              <c:numCache>
                <c:formatCode>0.00%</c:formatCode>
                <c:ptCount val="8"/>
                <c:pt idx="0">
                  <c:v>2.1999999999999999E-2</c:v>
                </c:pt>
                <c:pt idx="1">
                  <c:v>7.0999999999999994E-2</c:v>
                </c:pt>
                <c:pt idx="2">
                  <c:v>0.158</c:v>
                </c:pt>
                <c:pt idx="3">
                  <c:v>0.255</c:v>
                </c:pt>
                <c:pt idx="4">
                  <c:v>0.25600000000000001</c:v>
                </c:pt>
                <c:pt idx="5">
                  <c:v>0.151</c:v>
                </c:pt>
                <c:pt idx="6">
                  <c:v>8.6999999999999994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CFB-4CEC-B389-26248B7437FF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58"/>
        <c:axId val="166778192"/>
        <c:axId val="272172784"/>
      </c:barChart>
      <c:catAx>
        <c:axId val="16677819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l-GR"/>
          </a:p>
        </c:txPr>
        <c:crossAx val="272172784"/>
        <c:crosses val="autoZero"/>
        <c:auto val="1"/>
        <c:lblAlgn val="ctr"/>
        <c:lblOffset val="100"/>
        <c:noMultiLvlLbl val="0"/>
      </c:catAx>
      <c:valAx>
        <c:axId val="272172784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l-GR"/>
          </a:p>
        </c:txPr>
        <c:crossAx val="166778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211953317673786"/>
          <c:y val="1.3613938989891711E-2"/>
          <c:w val="0.47395463258194254"/>
          <c:h val="0.9666699099683477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Φύλλο1!$B$1</c:f>
              <c:strCache>
                <c:ptCount val="1"/>
                <c:pt idx="0">
                  <c:v>Σειρά 1</c:v>
                </c:pt>
              </c:strCache>
            </c:strRef>
          </c:tx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32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Φύλλο1!$A$2:$A$14</c:f>
              <c:strCache>
                <c:ptCount val="13"/>
                <c:pt idx="0">
                  <c:v>Δεν απαντώ</c:v>
                </c:pt>
                <c:pt idx="1">
                  <c:v>Παροχή γενικών συμβουλών για έναν υγιεινό τρόπο ζωής (π.χ. διατροφή, φυσική άσκηση, διακοπή καπνίσματος κ.λπ.)</c:v>
                </c:pt>
                <c:pt idx="2">
                  <c:v>Παροχή συμβουλών για την επιλογή φυτικών φαρμάκων/ συμπληρωμάτων διατροφής</c:v>
                </c:pt>
                <c:pt idx="3">
                  <c:v>Παροχή συμβουλών για πιθανές αλληλεπιδράσεις και προβλήματα συγχορήγησης των φαρμάκων σας</c:v>
                </c:pt>
                <c:pt idx="4">
                  <c:v>Παροχή συμβουλών για τη διαχείριση κάποιας χρόνιας κατάστασης υγείας</c:v>
                </c:pt>
                <c:pt idx="5">
                  <c:v>Πληροφορίες για την απόρριψη φαρμάκων που δεν χρειάζεστε πλέον</c:v>
                </c:pt>
                <c:pt idx="6">
                  <c:v>Διαχείριση ραντεβού (κλείσιμο, τροποποίηση, κατάργηση) με άλλες υπηρεσίες του συστήματος υγείας</c:v>
                </c:pt>
                <c:pt idx="7">
                  <c:v>Αντιμετώπιση μικροτραυματισμού - φροντίδα πληγής / τραύματος</c:v>
                </c:pt>
                <c:pt idx="8">
                  <c:v>Παροχή συμβουλών για την ορθή χρήση μη συνταγογραφούμενων φαρμάκων</c:v>
                </c:pt>
                <c:pt idx="9">
                  <c:v>Μέτρηση βασικών δεικτών υγείας (π.χ. , βάρος, αρτηριακή πίεση, σάκχαρο)</c:v>
                </c:pt>
                <c:pt idx="10">
                  <c:v>Παροχή συμβουλών/ υπενθυμίσεων για την ορθή χρήση των φαρμάκων σας</c:v>
                </c:pt>
                <c:pt idx="11">
                  <c:v>Παροχή συμβουλών για την αντιμετώπιση ενός έκτακτου προβλήματος υγείας</c:v>
                </c:pt>
                <c:pt idx="12">
                  <c:v>Εμβολιασμός / χορήγηση υποδόριας / ενδομυϊκής ενέσιμης θεραπείας</c:v>
                </c:pt>
              </c:strCache>
            </c:strRef>
          </c:cat>
          <c:val>
            <c:numRef>
              <c:f>Φύλλο1!$B$2:$B$14</c:f>
              <c:numCache>
                <c:formatCode>0.0</c:formatCode>
                <c:ptCount val="13"/>
                <c:pt idx="0">
                  <c:v>6.4</c:v>
                </c:pt>
                <c:pt idx="1">
                  <c:v>13</c:v>
                </c:pt>
                <c:pt idx="2">
                  <c:v>19.3</c:v>
                </c:pt>
                <c:pt idx="3">
                  <c:v>21.8</c:v>
                </c:pt>
                <c:pt idx="4">
                  <c:v>23.5</c:v>
                </c:pt>
                <c:pt idx="5">
                  <c:v>24.8</c:v>
                </c:pt>
                <c:pt idx="6">
                  <c:v>26.9</c:v>
                </c:pt>
                <c:pt idx="7">
                  <c:v>28.5</c:v>
                </c:pt>
                <c:pt idx="8">
                  <c:v>29.7</c:v>
                </c:pt>
                <c:pt idx="9">
                  <c:v>30.2</c:v>
                </c:pt>
                <c:pt idx="10">
                  <c:v>31.2</c:v>
                </c:pt>
                <c:pt idx="11">
                  <c:v>44.4</c:v>
                </c:pt>
                <c:pt idx="12">
                  <c:v>5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C58-42DA-A2E8-80CEEAB6C57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285102864"/>
        <c:axId val="285103424"/>
      </c:barChart>
      <c:catAx>
        <c:axId val="285102864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endParaRPr lang="el-GR"/>
          </a:p>
        </c:txPr>
        <c:crossAx val="285103424"/>
        <c:crosses val="autoZero"/>
        <c:auto val="1"/>
        <c:lblAlgn val="ctr"/>
        <c:lblOffset val="100"/>
        <c:noMultiLvlLbl val="0"/>
      </c:catAx>
      <c:valAx>
        <c:axId val="285103424"/>
        <c:scaling>
          <c:orientation val="minMax"/>
          <c:max val="80"/>
        </c:scaling>
        <c:delete val="1"/>
        <c:axPos val="b"/>
        <c:numFmt formatCode="0.0" sourceLinked="1"/>
        <c:majorTickMark val="out"/>
        <c:minorTickMark val="none"/>
        <c:tickLblPos val="nextTo"/>
        <c:crossAx val="285102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l-GR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695175892115796"/>
          <c:y val="3.8022813688212927E-2"/>
          <c:w val="0.6439370696067932"/>
          <c:h val="0.923954372623574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Φύλλο1!$B$1</c:f>
              <c:strCache>
                <c:ptCount val="1"/>
                <c:pt idx="0">
                  <c:v>Σειρά 1</c:v>
                </c:pt>
              </c:strCache>
            </c:strRef>
          </c:tx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32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Φύλλο1!$A$2:$A$6</c:f>
              <c:strCache>
                <c:ptCount val="5"/>
                <c:pt idx="0">
                  <c:v>Δεν ξέρω / Δεν απαντώ</c:v>
                </c:pt>
                <c:pt idx="1">
                  <c:v>Όχι</c:v>
                </c:pt>
                <c:pt idx="2">
                  <c:v>Μάλλον Όχι</c:v>
                </c:pt>
                <c:pt idx="3">
                  <c:v>Μάλλον Ναι</c:v>
                </c:pt>
                <c:pt idx="4">
                  <c:v>Ναι</c:v>
                </c:pt>
              </c:strCache>
            </c:strRef>
          </c:cat>
          <c:val>
            <c:numRef>
              <c:f>Φύλλο1!$B$2:$B$6</c:f>
              <c:numCache>
                <c:formatCode>General</c:formatCode>
                <c:ptCount val="5"/>
                <c:pt idx="0" formatCode="0.0">
                  <c:v>3</c:v>
                </c:pt>
                <c:pt idx="1">
                  <c:v>19.399999999999999</c:v>
                </c:pt>
                <c:pt idx="2" formatCode="0.0">
                  <c:v>23.3</c:v>
                </c:pt>
                <c:pt idx="3" formatCode="0.0">
                  <c:v>35.299999999999997</c:v>
                </c:pt>
                <c:pt idx="4" formatCode="0.0">
                  <c:v>19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C19-4E9B-A9ED-04F5AC4A315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265687088"/>
        <c:axId val="265687648"/>
      </c:barChart>
      <c:catAx>
        <c:axId val="265687088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1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endParaRPr lang="el-GR"/>
          </a:p>
        </c:txPr>
        <c:crossAx val="265687648"/>
        <c:crosses val="autoZero"/>
        <c:auto val="1"/>
        <c:lblAlgn val="ctr"/>
        <c:lblOffset val="100"/>
        <c:noMultiLvlLbl val="0"/>
      </c:catAx>
      <c:valAx>
        <c:axId val="265687648"/>
        <c:scaling>
          <c:orientation val="minMax"/>
          <c:max val="45"/>
        </c:scaling>
        <c:delete val="1"/>
        <c:axPos val="b"/>
        <c:numFmt formatCode="0.0" sourceLinked="1"/>
        <c:majorTickMark val="out"/>
        <c:minorTickMark val="none"/>
        <c:tickLblPos val="nextTo"/>
        <c:crossAx val="265687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l-GR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983211771205984"/>
          <c:y val="1.3613938989891711E-2"/>
          <c:w val="0.46252774116681122"/>
          <c:h val="0.9666699099683477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Φύλλο1!$B$1</c:f>
              <c:strCache>
                <c:ptCount val="1"/>
                <c:pt idx="0">
                  <c:v>Σειρά 1</c:v>
                </c:pt>
              </c:strCache>
            </c:strRef>
          </c:tx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32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Φύλλο1!$A$2:$A$13</c:f>
              <c:strCache>
                <c:ptCount val="12"/>
                <c:pt idx="0">
                  <c:v>Δεν απαντώ</c:v>
                </c:pt>
                <c:pt idx="1">
                  <c:v>Παροχή συμβουλών για έναν υγιεινό τρόπο ζωής (π.χ. διατροφή, φυσική άσκηση, διακοπή καπνίσματος κ.λπ.)</c:v>
                </c:pt>
                <c:pt idx="2">
                  <c:v>Παροχή συμβουλών για την επιλογή φυτικών φαρμάκων/ συμπληρωμάτων διατροφής</c:v>
                </c:pt>
                <c:pt idx="3">
                  <c:v>Διαχείριση ραντεβού (κλείσιμο, τροποποίηση, κατάργηση) με άλλες υπηρεσίες του συστήματος υγείας</c:v>
                </c:pt>
                <c:pt idx="4">
                  <c:v>Συμμετοχή από κοινού με τον ιατρό στην παρακολούθηση της διαχείρισης κάποιας χρόνιας κατάστασης υγείας</c:v>
                </c:pt>
                <c:pt idx="5">
                  <c:v>Πληροφορίες για την απόρριψη φαρμάκων που δεν χρειάζεστε πλέον</c:v>
                </c:pt>
                <c:pt idx="6">
                  <c:v>Παροχή συμβουλών για πιθανές αλληλεπιδράσεις και προβλήματα συγχορήγησης των φαρμάκων σας</c:v>
                </c:pt>
                <c:pt idx="7">
                  <c:v>Παροχή συμβουλών/ υπενθυμίσεων για την ορθή χρήση των φαρμάκων σας</c:v>
                </c:pt>
                <c:pt idx="8">
                  <c:v>Παροχή συμβουλών για την ορθή χρήση μη συνταγογραφούμενων φαρμάκων</c:v>
                </c:pt>
                <c:pt idx="9">
                  <c:v>Μέτρηση βασικών δεικτών υγείας (π.χ. , βάρος, αρτηριακή πίεση, σάκχαρο)</c:v>
                </c:pt>
                <c:pt idx="10">
                  <c:v>Αντιμετώπιση μικροτραυματισμού - φροντίδα πληγής / τραύματος</c:v>
                </c:pt>
                <c:pt idx="11">
                  <c:v>Εμβολιασμός / χορήγηση υποδόριας / ενδομυϊκής ενέσιμης θεραπείας</c:v>
                </c:pt>
              </c:strCache>
            </c:strRef>
          </c:cat>
          <c:val>
            <c:numRef>
              <c:f>Φύλλο1!$B$2:$B$13</c:f>
              <c:numCache>
                <c:formatCode>0.0</c:formatCode>
                <c:ptCount val="12"/>
                <c:pt idx="0" formatCode="General">
                  <c:v>4.4000000000000004</c:v>
                </c:pt>
                <c:pt idx="1">
                  <c:v>37.799999999999997</c:v>
                </c:pt>
                <c:pt idx="2">
                  <c:v>41.8</c:v>
                </c:pt>
                <c:pt idx="3">
                  <c:v>43.6</c:v>
                </c:pt>
                <c:pt idx="4">
                  <c:v>45.8</c:v>
                </c:pt>
                <c:pt idx="5" formatCode="General">
                  <c:v>47.6</c:v>
                </c:pt>
                <c:pt idx="6">
                  <c:v>50.2</c:v>
                </c:pt>
                <c:pt idx="7">
                  <c:v>54.3</c:v>
                </c:pt>
                <c:pt idx="8">
                  <c:v>55.7</c:v>
                </c:pt>
                <c:pt idx="9">
                  <c:v>55.8</c:v>
                </c:pt>
                <c:pt idx="10">
                  <c:v>59.6</c:v>
                </c:pt>
                <c:pt idx="11">
                  <c:v>67.59999999999999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543-4C42-8199-7FDC4F298EC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285679440"/>
        <c:axId val="285680000"/>
      </c:barChart>
      <c:catAx>
        <c:axId val="285679440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endParaRPr lang="el-GR"/>
          </a:p>
        </c:txPr>
        <c:crossAx val="285680000"/>
        <c:crosses val="autoZero"/>
        <c:auto val="1"/>
        <c:lblAlgn val="ctr"/>
        <c:lblOffset val="100"/>
        <c:noMultiLvlLbl val="0"/>
      </c:catAx>
      <c:valAx>
        <c:axId val="285680000"/>
        <c:scaling>
          <c:orientation val="minMax"/>
          <c:max val="90"/>
        </c:scaling>
        <c:delete val="1"/>
        <c:axPos val="b"/>
        <c:numFmt formatCode="General" sourceLinked="1"/>
        <c:majorTickMark val="out"/>
        <c:minorTickMark val="none"/>
        <c:tickLblPos val="nextTo"/>
        <c:crossAx val="2856794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l-GR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695175892115796"/>
          <c:y val="3.8022813688212927E-2"/>
          <c:w val="0.6439370696067932"/>
          <c:h val="0.923954372623574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Φύλλο1!$B$1</c:f>
              <c:strCache>
                <c:ptCount val="1"/>
                <c:pt idx="0">
                  <c:v>Σειρά 1</c:v>
                </c:pt>
              </c:strCache>
            </c:strRef>
          </c:tx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32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Φύλλο1!$A$2:$A$6</c:f>
              <c:strCache>
                <c:ptCount val="5"/>
                <c:pt idx="0">
                  <c:v>Δεν απαντώ</c:v>
                </c:pt>
                <c:pt idx="1">
                  <c:v>Κακή</c:v>
                </c:pt>
                <c:pt idx="2">
                  <c:v>Ικανοποιητική</c:v>
                </c:pt>
                <c:pt idx="3">
                  <c:v>Πολύ καλή</c:v>
                </c:pt>
                <c:pt idx="4">
                  <c:v>Εξαιρετική</c:v>
                </c:pt>
              </c:strCache>
            </c:strRef>
          </c:cat>
          <c:val>
            <c:numRef>
              <c:f>Φύλλο1!$B$2:$B$6</c:f>
              <c:numCache>
                <c:formatCode>General</c:formatCode>
                <c:ptCount val="5"/>
                <c:pt idx="0">
                  <c:v>0.5</c:v>
                </c:pt>
                <c:pt idx="1">
                  <c:v>1.1000000000000001</c:v>
                </c:pt>
                <c:pt idx="2" formatCode="0.0">
                  <c:v>17.600000000000001</c:v>
                </c:pt>
                <c:pt idx="3" formatCode="0.0">
                  <c:v>39.9</c:v>
                </c:pt>
                <c:pt idx="4" formatCode="0.0">
                  <c:v>40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D3E-452F-B9F8-9C23704F921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285682240"/>
        <c:axId val="285682800"/>
      </c:barChart>
      <c:catAx>
        <c:axId val="285682240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1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endParaRPr lang="el-GR"/>
          </a:p>
        </c:txPr>
        <c:crossAx val="285682800"/>
        <c:crosses val="autoZero"/>
        <c:auto val="1"/>
        <c:lblAlgn val="ctr"/>
        <c:lblOffset val="100"/>
        <c:noMultiLvlLbl val="0"/>
      </c:catAx>
      <c:valAx>
        <c:axId val="285682800"/>
        <c:scaling>
          <c:orientation val="minMax"/>
          <c:max val="50"/>
        </c:scaling>
        <c:delete val="1"/>
        <c:axPos val="b"/>
        <c:numFmt formatCode="General" sourceLinked="1"/>
        <c:majorTickMark val="out"/>
        <c:minorTickMark val="none"/>
        <c:tickLblPos val="nextTo"/>
        <c:crossAx val="2856822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l-GR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695175892115796"/>
          <c:y val="3.8022813688212927E-2"/>
          <c:w val="0.6439370696067932"/>
          <c:h val="0.923954372623574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Φύλλο1!$B$1</c:f>
              <c:strCache>
                <c:ptCount val="1"/>
                <c:pt idx="0">
                  <c:v>Σειρά 1</c:v>
                </c:pt>
              </c:strCache>
            </c:strRef>
          </c:tx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32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Φύλλο1!$A$2:$A$6</c:f>
              <c:strCache>
                <c:ptCount val="5"/>
                <c:pt idx="0">
                  <c:v>Δεν απαντώ</c:v>
                </c:pt>
                <c:pt idx="1">
                  <c:v>Καθόλου</c:v>
                </c:pt>
                <c:pt idx="2">
                  <c:v>Λίγο</c:v>
                </c:pt>
                <c:pt idx="3">
                  <c:v>Αρκετά</c:v>
                </c:pt>
                <c:pt idx="4">
                  <c:v>Πολύ</c:v>
                </c:pt>
              </c:strCache>
            </c:strRef>
          </c:cat>
          <c:val>
            <c:numRef>
              <c:f>Φύλλο1!$B$2:$B$6</c:f>
              <c:numCache>
                <c:formatCode>General</c:formatCode>
                <c:ptCount val="5"/>
                <c:pt idx="0" formatCode="0.0">
                  <c:v>0.3</c:v>
                </c:pt>
                <c:pt idx="1">
                  <c:v>1.4</c:v>
                </c:pt>
                <c:pt idx="2">
                  <c:v>5.3</c:v>
                </c:pt>
                <c:pt idx="3" formatCode="0.0">
                  <c:v>34</c:v>
                </c:pt>
                <c:pt idx="4" formatCode="0.0">
                  <c:v>5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9CF-4209-BA7F-125513108AD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284492992"/>
        <c:axId val="284493552"/>
      </c:barChart>
      <c:catAx>
        <c:axId val="284492992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1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endParaRPr lang="el-GR"/>
          </a:p>
        </c:txPr>
        <c:crossAx val="284493552"/>
        <c:crosses val="autoZero"/>
        <c:auto val="1"/>
        <c:lblAlgn val="ctr"/>
        <c:lblOffset val="100"/>
        <c:noMultiLvlLbl val="0"/>
      </c:catAx>
      <c:valAx>
        <c:axId val="284493552"/>
        <c:scaling>
          <c:orientation val="minMax"/>
        </c:scaling>
        <c:delete val="1"/>
        <c:axPos val="b"/>
        <c:numFmt formatCode="0.0" sourceLinked="1"/>
        <c:majorTickMark val="out"/>
        <c:minorTickMark val="none"/>
        <c:tickLblPos val="nextTo"/>
        <c:crossAx val="284492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l-GR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9947233908579932"/>
          <c:y val="3.8022813688212927E-2"/>
          <c:w val="0.54789630128064648"/>
          <c:h val="0.92395437262357416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Φύλλο1!$B$1</c:f>
              <c:strCache>
                <c:ptCount val="1"/>
                <c:pt idx="0">
                  <c:v>Πολύ &amp; Αρκετά</c:v>
                </c:pt>
              </c:strCache>
            </c:strRef>
          </c:tx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Φύλλο1!$A$2:$A$11</c:f>
              <c:strCache>
                <c:ptCount val="10"/>
                <c:pt idx="0">
                  <c:v>Τις γνώσεις του φαρμακοποιού σας σχετικά με ζητήματα ομορφιάς/ ευ ζην</c:v>
                </c:pt>
                <c:pt idx="1">
                  <c:v>Τον έλεγχο π.χ., σχετικά με αλλεργίες, αλληλεπιδράσεις κλπ. που κάνει ο φαρμακοποιός σας πριν σας δώσει ένα συγκεκριμένο φάρμακο</c:v>
                </c:pt>
                <c:pt idx="2">
                  <c:v>Τις γνώσεις του φαρμακοποιού σας σχετικά με άλλα ζητήματα υγείας που σας απασχολούν</c:v>
                </c:pt>
                <c:pt idx="3">
                  <c:v>Την άνεση των χώρων αναμονής</c:v>
                </c:pt>
                <c:pt idx="4">
                  <c:v>Τη διακριτικότητα για συζητήσεις που αφορούν σε κατάσταση της υγείας σας</c:v>
                </c:pt>
                <c:pt idx="5">
                  <c:v>Την επάρκεια προϊόντων</c:v>
                </c:pt>
                <c:pt idx="6">
                  <c:v>Τη λειτουργικότητα των χώρων και της παράθεσης προϊόντων</c:v>
                </c:pt>
                <c:pt idx="7">
                  <c:v>Τον χρόνο που διαθέτει για εσάς ο φαρμακοποιός σας</c:v>
                </c:pt>
                <c:pt idx="8">
                  <c:v>Τις γνώσεις του φαρμακοποιού σας σχετικά με τα φαρμακευτικά σκευάσματα που λαμβάνετε</c:v>
                </c:pt>
                <c:pt idx="9">
                  <c:v>Την καθαριότητα του χώρου του φαρμακείου</c:v>
                </c:pt>
              </c:strCache>
            </c:strRef>
          </c:cat>
          <c:val>
            <c:numRef>
              <c:f>Φύλλο1!$B$2:$B$11</c:f>
              <c:numCache>
                <c:formatCode>0.0</c:formatCode>
                <c:ptCount val="10"/>
                <c:pt idx="0">
                  <c:v>60.7</c:v>
                </c:pt>
                <c:pt idx="1">
                  <c:v>75.099999999999994</c:v>
                </c:pt>
                <c:pt idx="2">
                  <c:v>78.599999999999994</c:v>
                </c:pt>
                <c:pt idx="3">
                  <c:v>88.4</c:v>
                </c:pt>
                <c:pt idx="4">
                  <c:v>89.2</c:v>
                </c:pt>
                <c:pt idx="5">
                  <c:v>89.5</c:v>
                </c:pt>
                <c:pt idx="6">
                  <c:v>90.3</c:v>
                </c:pt>
                <c:pt idx="7">
                  <c:v>92.800000000000011</c:v>
                </c:pt>
                <c:pt idx="8">
                  <c:v>93.800000000000011</c:v>
                </c:pt>
                <c:pt idx="9">
                  <c:v>98.89999999999999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B76-4159-AB60-1FDB869CBDF3}"/>
            </c:ext>
          </c:extLst>
        </c:ser>
        <c:ser>
          <c:idx val="1"/>
          <c:order val="1"/>
          <c:tx>
            <c:strRef>
              <c:f>Φύλλο1!$C$1</c:f>
              <c:strCache>
                <c:ptCount val="1"/>
                <c:pt idx="0">
                  <c:v>Λίγο &amp; Καθόλου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800" b="1">
                    <a:solidFill>
                      <a:schemeClr val="bg1"/>
                    </a:solidFill>
                  </a:defRPr>
                </a:pPr>
                <a:endParaRPr lang="el-G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Φύλλο1!$A$2:$A$11</c:f>
              <c:strCache>
                <c:ptCount val="10"/>
                <c:pt idx="0">
                  <c:v>Τις γνώσεις του φαρμακοποιού σας σχετικά με ζητήματα ομορφιάς/ ευ ζην</c:v>
                </c:pt>
                <c:pt idx="1">
                  <c:v>Τον έλεγχο π.χ., σχετικά με αλλεργίες, αλληλεπιδράσεις κλπ. που κάνει ο φαρμακοποιός σας πριν σας δώσει ένα συγκεκριμένο φάρμακο</c:v>
                </c:pt>
                <c:pt idx="2">
                  <c:v>Τις γνώσεις του φαρμακοποιού σας σχετικά με άλλα ζητήματα υγείας που σας απασχολούν</c:v>
                </c:pt>
                <c:pt idx="3">
                  <c:v>Την άνεση των χώρων αναμονής</c:v>
                </c:pt>
                <c:pt idx="4">
                  <c:v>Τη διακριτικότητα για συζητήσεις που αφορούν σε κατάσταση της υγείας σας</c:v>
                </c:pt>
                <c:pt idx="5">
                  <c:v>Την επάρκεια προϊόντων</c:v>
                </c:pt>
                <c:pt idx="6">
                  <c:v>Τη λειτουργικότητα των χώρων και της παράθεσης προϊόντων</c:v>
                </c:pt>
                <c:pt idx="7">
                  <c:v>Τον χρόνο που διαθέτει για εσάς ο φαρμακοποιός σας</c:v>
                </c:pt>
                <c:pt idx="8">
                  <c:v>Τις γνώσεις του φαρμακοποιού σας σχετικά με τα φαρμακευτικά σκευάσματα που λαμβάνετε</c:v>
                </c:pt>
                <c:pt idx="9">
                  <c:v>Την καθαριότητα του χώρου του φαρμακείου</c:v>
                </c:pt>
              </c:strCache>
            </c:strRef>
          </c:cat>
          <c:val>
            <c:numRef>
              <c:f>Φύλλο1!$C$2:$C$11</c:f>
              <c:numCache>
                <c:formatCode>0.0</c:formatCode>
                <c:ptCount val="10"/>
                <c:pt idx="0">
                  <c:v>11.799999999999999</c:v>
                </c:pt>
                <c:pt idx="1">
                  <c:v>14.5</c:v>
                </c:pt>
                <c:pt idx="2">
                  <c:v>8.1</c:v>
                </c:pt>
                <c:pt idx="3">
                  <c:v>11.2</c:v>
                </c:pt>
                <c:pt idx="4">
                  <c:v>8.3000000000000007</c:v>
                </c:pt>
                <c:pt idx="5">
                  <c:v>9.8000000000000007</c:v>
                </c:pt>
                <c:pt idx="6">
                  <c:v>7.8</c:v>
                </c:pt>
                <c:pt idx="7">
                  <c:v>6</c:v>
                </c:pt>
                <c:pt idx="8">
                  <c:v>3.7</c:v>
                </c:pt>
                <c:pt idx="9">
                  <c:v>1.10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B76-4159-AB60-1FDB869CBDF3}"/>
            </c:ext>
          </c:extLst>
        </c:ser>
        <c:ser>
          <c:idx val="2"/>
          <c:order val="2"/>
          <c:tx>
            <c:strRef>
              <c:f>Φύλλο1!$D$1</c:f>
              <c:strCache>
                <c:ptCount val="1"/>
                <c:pt idx="0">
                  <c:v>Δεν απαντώ</c:v>
                </c:pt>
              </c:strCache>
            </c:strRef>
          </c:tx>
          <c:spPr>
            <a:solidFill>
              <a:srgbClr val="FFFF00"/>
            </a:solidFill>
          </c:spPr>
          <c:invertIfNegative val="0"/>
          <c:dLbls>
            <c:dLbl>
              <c:idx val="3"/>
              <c:layout>
                <c:manualLayout>
                  <c:x val="2.3520188161505293E-2"/>
                  <c:y val="1.68388825105243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2B76-4159-AB60-1FDB869CBDF3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2.7440219521756175E-2"/>
                  <c:y val="1.53080750095675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2B76-4159-AB60-1FDB869CBDF3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2.3520188161505293E-2"/>
                  <c:y val="1.83696900114810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2B76-4159-AB60-1FDB869CBDF3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2.3520188161505293E-2"/>
                  <c:y val="1.99004975124377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2B76-4159-AB60-1FDB869CBDF3}"/>
                </c:ex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2.3520188161505293E-2"/>
                  <c:y val="1.53080750095675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2B76-4159-AB60-1FDB869CBDF3}"/>
                </c:ex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2.3520188161505293E-2"/>
                  <c:y val="1.68388825105243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2B76-4159-AB60-1FDB869CBDF3}"/>
                </c:ext>
                <c:ext xmlns:c15="http://schemas.microsoft.com/office/drawing/2012/chart" uri="{CE6537A1-D6FC-4f65-9D91-7224C49458BB}"/>
              </c:extLst>
            </c:dLbl>
            <c:dLbl>
              <c:idx val="9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2B76-4159-AB60-1FDB869CBDF3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800" b="1"/>
                </a:pPr>
                <a:endParaRPr lang="el-G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Φύλλο1!$A$2:$A$11</c:f>
              <c:strCache>
                <c:ptCount val="10"/>
                <c:pt idx="0">
                  <c:v>Τις γνώσεις του φαρμακοποιού σας σχετικά με ζητήματα ομορφιάς/ ευ ζην</c:v>
                </c:pt>
                <c:pt idx="1">
                  <c:v>Τον έλεγχο π.χ., σχετικά με αλλεργίες, αλληλεπιδράσεις κλπ. που κάνει ο φαρμακοποιός σας πριν σας δώσει ένα συγκεκριμένο φάρμακο</c:v>
                </c:pt>
                <c:pt idx="2">
                  <c:v>Τις γνώσεις του φαρμακοποιού σας σχετικά με άλλα ζητήματα υγείας που σας απασχολούν</c:v>
                </c:pt>
                <c:pt idx="3">
                  <c:v>Την άνεση των χώρων αναμονής</c:v>
                </c:pt>
                <c:pt idx="4">
                  <c:v>Τη διακριτικότητα για συζητήσεις που αφορούν σε κατάσταση της υγείας σας</c:v>
                </c:pt>
                <c:pt idx="5">
                  <c:v>Την επάρκεια προϊόντων</c:v>
                </c:pt>
                <c:pt idx="6">
                  <c:v>Τη λειτουργικότητα των χώρων και της παράθεσης προϊόντων</c:v>
                </c:pt>
                <c:pt idx="7">
                  <c:v>Τον χρόνο που διαθέτει για εσάς ο φαρμακοποιός σας</c:v>
                </c:pt>
                <c:pt idx="8">
                  <c:v>Τις γνώσεις του φαρμακοποιού σας σχετικά με τα φαρμακευτικά σκευάσματα που λαμβάνετε</c:v>
                </c:pt>
                <c:pt idx="9">
                  <c:v>Την καθαριότητα του χώρου του φαρμακείου</c:v>
                </c:pt>
              </c:strCache>
            </c:strRef>
          </c:cat>
          <c:val>
            <c:numRef>
              <c:f>Φύλλο1!$D$2:$D$11</c:f>
              <c:numCache>
                <c:formatCode>0.0</c:formatCode>
                <c:ptCount val="10"/>
                <c:pt idx="0">
                  <c:v>27.5</c:v>
                </c:pt>
                <c:pt idx="1">
                  <c:v>10.4</c:v>
                </c:pt>
                <c:pt idx="2">
                  <c:v>13.3</c:v>
                </c:pt>
                <c:pt idx="3">
                  <c:v>0.4</c:v>
                </c:pt>
                <c:pt idx="4">
                  <c:v>2.5</c:v>
                </c:pt>
                <c:pt idx="5">
                  <c:v>0.7</c:v>
                </c:pt>
                <c:pt idx="6">
                  <c:v>1.9</c:v>
                </c:pt>
                <c:pt idx="7">
                  <c:v>1.2</c:v>
                </c:pt>
                <c:pt idx="8">
                  <c:v>2.5</c:v>
                </c:pt>
                <c:pt idx="9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2B76-4159-AB60-1FDB869CBDF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1"/>
        <c:overlap val="100"/>
        <c:axId val="284496912"/>
        <c:axId val="284497472"/>
      </c:barChart>
      <c:catAx>
        <c:axId val="284496912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600" b="1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endParaRPr lang="el-GR"/>
          </a:p>
        </c:txPr>
        <c:crossAx val="284497472"/>
        <c:crosses val="autoZero"/>
        <c:auto val="1"/>
        <c:lblAlgn val="ctr"/>
        <c:lblOffset val="100"/>
        <c:noMultiLvlLbl val="0"/>
      </c:catAx>
      <c:valAx>
        <c:axId val="284497472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2844969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9317312648737412"/>
          <c:y val="0.96160288804312766"/>
          <c:w val="0.49589600496331532"/>
          <c:h val="2.7681459450174927E-2"/>
        </c:manualLayout>
      </c:layout>
      <c:overlay val="0"/>
      <c:txPr>
        <a:bodyPr/>
        <a:lstStyle/>
        <a:p>
          <a:pPr>
            <a:defRPr sz="2400"/>
          </a:pPr>
          <a:endParaRPr lang="el-G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l-GR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141565604965778"/>
          <c:y val="1.3613938989891711E-2"/>
          <c:w val="0.66157721072792208"/>
          <c:h val="0.9666699099683477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Φύλλο1!$B$1</c:f>
              <c:strCache>
                <c:ptCount val="1"/>
                <c:pt idx="0">
                  <c:v>Σειρά 1</c:v>
                </c:pt>
              </c:strCache>
            </c:strRef>
          </c:tx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3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Φύλλο1!$A$2:$A$5</c:f>
              <c:strCache>
                <c:ptCount val="4"/>
                <c:pt idx="0">
                  <c:v>Κλείσιμο ραντεβού για εμβολιασμό κατά της COVID-19</c:v>
                </c:pt>
                <c:pt idx="1">
                  <c:v>Διενέργεια rapid test</c:v>
                </c:pt>
                <c:pt idx="2">
                  <c:v>Αγορά προστατευτικών μέσων (μάσκες, γάντια, απολυμαντικά κ.λπ.)</c:v>
                </c:pt>
                <c:pt idx="3">
                  <c:v>Αγορά κιτ αυτοδιαγνωστικού ελέγχου (self-test)</c:v>
                </c:pt>
              </c:strCache>
            </c:strRef>
          </c:cat>
          <c:val>
            <c:numRef>
              <c:f>Φύλλο1!$B$2:$B$5</c:f>
              <c:numCache>
                <c:formatCode>General</c:formatCode>
                <c:ptCount val="4"/>
                <c:pt idx="0">
                  <c:v>42.2</c:v>
                </c:pt>
                <c:pt idx="1">
                  <c:v>70.2</c:v>
                </c:pt>
                <c:pt idx="2">
                  <c:v>82.7</c:v>
                </c:pt>
                <c:pt idx="3">
                  <c:v>85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108-41A0-9505-052859BACE5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286446992"/>
        <c:axId val="286447552"/>
      </c:barChart>
      <c:catAx>
        <c:axId val="286446992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1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endParaRPr lang="el-GR"/>
          </a:p>
        </c:txPr>
        <c:crossAx val="286447552"/>
        <c:crosses val="autoZero"/>
        <c:auto val="1"/>
        <c:lblAlgn val="ctr"/>
        <c:lblOffset val="100"/>
        <c:noMultiLvlLbl val="0"/>
      </c:catAx>
      <c:valAx>
        <c:axId val="286447552"/>
        <c:scaling>
          <c:orientation val="minMax"/>
          <c:max val="100"/>
        </c:scaling>
        <c:delete val="1"/>
        <c:axPos val="b"/>
        <c:numFmt formatCode="General" sourceLinked="1"/>
        <c:majorTickMark val="out"/>
        <c:minorTickMark val="none"/>
        <c:tickLblPos val="nextTo"/>
        <c:crossAx val="286446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l-GR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695175892115796"/>
          <c:y val="3.8022892006048914E-2"/>
          <c:w val="0.6439370696067932"/>
          <c:h val="0.923954372623574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Φύλλο1!$B$1</c:f>
              <c:strCache>
                <c:ptCount val="1"/>
                <c:pt idx="0">
                  <c:v>Σειρά 1</c:v>
                </c:pt>
              </c:strCache>
            </c:strRef>
          </c:tx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32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Φύλλο1!$A$2:$A$6</c:f>
              <c:strCache>
                <c:ptCount val="5"/>
                <c:pt idx="0">
                  <c:v>Δεν απαντώ</c:v>
                </c:pt>
                <c:pt idx="1">
                  <c:v>Καθόλου</c:v>
                </c:pt>
                <c:pt idx="2">
                  <c:v>Λίγο</c:v>
                </c:pt>
                <c:pt idx="3">
                  <c:v>Αρκετά</c:v>
                </c:pt>
                <c:pt idx="4">
                  <c:v>Πολύ</c:v>
                </c:pt>
              </c:strCache>
            </c:strRef>
          </c:cat>
          <c:val>
            <c:numRef>
              <c:f>Φύλλο1!$B$2:$B$6</c:f>
              <c:numCache>
                <c:formatCode>General</c:formatCode>
                <c:ptCount val="5"/>
                <c:pt idx="0" formatCode="0.0">
                  <c:v>0.3</c:v>
                </c:pt>
                <c:pt idx="1">
                  <c:v>1.6</c:v>
                </c:pt>
                <c:pt idx="2" formatCode="0.0">
                  <c:v>4.5999999999999996</c:v>
                </c:pt>
                <c:pt idx="3">
                  <c:v>27.5</c:v>
                </c:pt>
                <c:pt idx="4" formatCode="0.0">
                  <c:v>6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32F-4AC5-A419-4110E6C01DD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286449792"/>
        <c:axId val="286450352"/>
      </c:barChart>
      <c:catAx>
        <c:axId val="286449792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1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endParaRPr lang="el-GR"/>
          </a:p>
        </c:txPr>
        <c:crossAx val="286450352"/>
        <c:crosses val="autoZero"/>
        <c:auto val="1"/>
        <c:lblAlgn val="ctr"/>
        <c:lblOffset val="100"/>
        <c:noMultiLvlLbl val="0"/>
      </c:catAx>
      <c:valAx>
        <c:axId val="286450352"/>
        <c:scaling>
          <c:orientation val="minMax"/>
        </c:scaling>
        <c:delete val="1"/>
        <c:axPos val="b"/>
        <c:numFmt formatCode="0.0" sourceLinked="1"/>
        <c:majorTickMark val="out"/>
        <c:minorTickMark val="none"/>
        <c:tickLblPos val="nextTo"/>
        <c:crossAx val="286449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l-GR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695175892115796"/>
          <c:y val="3.8022813688212927E-2"/>
          <c:w val="0.6439370696067932"/>
          <c:h val="0.923954372623574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Φύλλο1!$B$1</c:f>
              <c:strCache>
                <c:ptCount val="1"/>
                <c:pt idx="0">
                  <c:v>Σειρά 1</c:v>
                </c:pt>
              </c:strCache>
            </c:strRef>
          </c:tx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32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Φύλλο1!$A$2:$A$6</c:f>
              <c:strCache>
                <c:ptCount val="5"/>
                <c:pt idx="0">
                  <c:v>Δεν απαντώ</c:v>
                </c:pt>
                <c:pt idx="1">
                  <c:v>Καθόλου</c:v>
                </c:pt>
                <c:pt idx="2">
                  <c:v>Λίγο</c:v>
                </c:pt>
                <c:pt idx="3">
                  <c:v>Αρκετά</c:v>
                </c:pt>
                <c:pt idx="4">
                  <c:v>Πολύ</c:v>
                </c:pt>
              </c:strCache>
            </c:strRef>
          </c:cat>
          <c:val>
            <c:numRef>
              <c:f>Φύλλο1!$B$2:$B$6</c:f>
              <c:numCache>
                <c:formatCode>0.0</c:formatCode>
                <c:ptCount val="5"/>
                <c:pt idx="0">
                  <c:v>0.8</c:v>
                </c:pt>
                <c:pt idx="1">
                  <c:v>0.8</c:v>
                </c:pt>
                <c:pt idx="2">
                  <c:v>4.2</c:v>
                </c:pt>
                <c:pt idx="3">
                  <c:v>25</c:v>
                </c:pt>
                <c:pt idx="4">
                  <c:v>69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A26-4B22-8149-5C3FFE04582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286452592"/>
        <c:axId val="286453152"/>
      </c:barChart>
      <c:catAx>
        <c:axId val="286452592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1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endParaRPr lang="el-GR"/>
          </a:p>
        </c:txPr>
        <c:crossAx val="286453152"/>
        <c:crosses val="autoZero"/>
        <c:auto val="1"/>
        <c:lblAlgn val="ctr"/>
        <c:lblOffset val="100"/>
        <c:noMultiLvlLbl val="0"/>
      </c:catAx>
      <c:valAx>
        <c:axId val="286453152"/>
        <c:scaling>
          <c:orientation val="minMax"/>
        </c:scaling>
        <c:delete val="1"/>
        <c:axPos val="b"/>
        <c:numFmt formatCode="0.0" sourceLinked="1"/>
        <c:majorTickMark val="out"/>
        <c:minorTickMark val="none"/>
        <c:tickLblPos val="nextTo"/>
        <c:crossAx val="2864525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l-GR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695175892115796"/>
          <c:y val="3.8022813688212927E-2"/>
          <c:w val="0.6439370696067932"/>
          <c:h val="0.923954372623574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Φύλλο1!$B$1</c:f>
              <c:strCache>
                <c:ptCount val="1"/>
                <c:pt idx="0">
                  <c:v>Σειρά 1</c:v>
                </c:pt>
              </c:strCache>
            </c:strRef>
          </c:tx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32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Φύλλο1!$A$2:$A$6</c:f>
              <c:strCache>
                <c:ptCount val="5"/>
                <c:pt idx="0">
                  <c:v>Δεν απαντώ</c:v>
                </c:pt>
                <c:pt idx="1">
                  <c:v>Καθόλου</c:v>
                </c:pt>
                <c:pt idx="2">
                  <c:v>Λίγο</c:v>
                </c:pt>
                <c:pt idx="3">
                  <c:v>Αρκετά</c:v>
                </c:pt>
                <c:pt idx="4">
                  <c:v>Πολύ</c:v>
                </c:pt>
              </c:strCache>
            </c:strRef>
          </c:cat>
          <c:val>
            <c:numRef>
              <c:f>Φύλλο1!$B$2:$B$6</c:f>
              <c:numCache>
                <c:formatCode>General</c:formatCode>
                <c:ptCount val="5"/>
                <c:pt idx="0">
                  <c:v>0.8</c:v>
                </c:pt>
                <c:pt idx="1">
                  <c:v>2.2000000000000002</c:v>
                </c:pt>
                <c:pt idx="2" formatCode="0.0">
                  <c:v>3.9</c:v>
                </c:pt>
                <c:pt idx="3">
                  <c:v>22.2</c:v>
                </c:pt>
                <c:pt idx="4" formatCode="0.0">
                  <c:v>70.9000000000000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E63-4F3E-922E-C5A6AB34FD7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287002592"/>
        <c:axId val="287003152"/>
      </c:barChart>
      <c:catAx>
        <c:axId val="287002592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1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endParaRPr lang="el-GR"/>
          </a:p>
        </c:txPr>
        <c:crossAx val="287003152"/>
        <c:crosses val="autoZero"/>
        <c:auto val="1"/>
        <c:lblAlgn val="ctr"/>
        <c:lblOffset val="100"/>
        <c:noMultiLvlLbl val="0"/>
      </c:catAx>
      <c:valAx>
        <c:axId val="2870031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870025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l-G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layout>
        <c:manualLayout>
          <c:xMode val="edge"/>
          <c:yMode val="edge"/>
          <c:x val="0.17694461098548284"/>
          <c:y val="6.3107167680058495E-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kumimoji="0" lang="el-GR" sz="3600" b="0" i="0" u="none" strike="noStrike" kern="1200" cap="none" spc="0" normalizeH="0" baseline="0">
              <a:ln>
                <a:noFill/>
              </a:ln>
              <a:solidFill>
                <a:srgbClr val="5E5E5E"/>
              </a:solidFill>
              <a:effectLst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l-GR"/>
        </a:p>
      </c:txPr>
    </c:title>
    <c:autoTitleDeleted val="0"/>
    <c:plotArea>
      <c:layout>
        <c:manualLayout>
          <c:layoutTarget val="inner"/>
          <c:xMode val="edge"/>
          <c:yMode val="edge"/>
          <c:x val="5.6760036212138341E-2"/>
          <c:y val="0.11934890165497755"/>
          <c:w val="0.94323996378786168"/>
          <c:h val="0.561837023001913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Φύλλο1!$B$1</c:f>
              <c:strCache>
                <c:ptCount val="1"/>
                <c:pt idx="0">
                  <c:v>Παρακαλούμε επιλέξτε το επίπεδο εκπαίδευσης που έχετε ολοκληρώσει: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5"/>
              <c:tx>
                <c:rich>
                  <a:bodyPr/>
                  <a:lstStyle/>
                  <a:p>
                    <a:fld id="{9C934BD8-C198-4046-9166-5228427F795D}" type="VALUE">
                      <a:rPr lang="en-US">
                        <a:solidFill>
                          <a:schemeClr val="accent1"/>
                        </a:solidFill>
                      </a:rPr>
                      <a:pPr/>
                      <a:t>[VALUE]</a:t>
                    </a:fld>
                    <a:endParaRPr lang="el-GR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E89F-4E31-97A3-F087849C8D9C}"/>
                </c:ex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Φύλλο1!$A$2:$A$7</c:f>
              <c:strCache>
                <c:ptCount val="6"/>
                <c:pt idx="0">
                  <c:v>Δημοτικό</c:v>
                </c:pt>
                <c:pt idx="1">
                  <c:v>Γυμνάσιο</c:v>
                </c:pt>
                <c:pt idx="2">
                  <c:v>Λύκειο</c:v>
                </c:pt>
                <c:pt idx="3">
                  <c:v>ΑΕΙ/ΤΕΙ</c:v>
                </c:pt>
                <c:pt idx="4">
                  <c:v>Μεταπτυχιακό/Διδακτορικό</c:v>
                </c:pt>
                <c:pt idx="5">
                  <c:v>Δεν απαντώ</c:v>
                </c:pt>
              </c:strCache>
            </c:strRef>
          </c:cat>
          <c:val>
            <c:numRef>
              <c:f>Φύλλο1!$B$2:$B$7</c:f>
              <c:numCache>
                <c:formatCode>0.00%</c:formatCode>
                <c:ptCount val="6"/>
                <c:pt idx="0">
                  <c:v>5.2999999999999999E-2</c:v>
                </c:pt>
                <c:pt idx="1">
                  <c:v>6.6000000000000003E-2</c:v>
                </c:pt>
                <c:pt idx="2">
                  <c:v>0.28199999999999997</c:v>
                </c:pt>
                <c:pt idx="3">
                  <c:v>0.41199999999999998</c:v>
                </c:pt>
                <c:pt idx="4">
                  <c:v>0.17799999999999999</c:v>
                </c:pt>
                <c:pt idx="5">
                  <c:v>8.9999999999999993E-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89F-4E31-97A3-F087849C8D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7"/>
        <c:axId val="272175024"/>
        <c:axId val="272175584"/>
      </c:barChart>
      <c:catAx>
        <c:axId val="272175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5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l-GR"/>
          </a:p>
        </c:txPr>
        <c:crossAx val="272175584"/>
        <c:crosses val="autoZero"/>
        <c:auto val="1"/>
        <c:lblAlgn val="ctr"/>
        <c:lblOffset val="100"/>
        <c:noMultiLvlLbl val="0"/>
      </c:catAx>
      <c:valAx>
        <c:axId val="27217558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272175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l-GR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695175892115796"/>
          <c:y val="3.8022813688212927E-2"/>
          <c:w val="0.6439370696067932"/>
          <c:h val="0.923954372623574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Φύλλο1!$B$1</c:f>
              <c:strCache>
                <c:ptCount val="1"/>
                <c:pt idx="0">
                  <c:v>Σειρά 1</c:v>
                </c:pt>
              </c:strCache>
            </c:strRef>
          </c:tx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32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Φύλλο1!$A$2:$A$6</c:f>
              <c:strCache>
                <c:ptCount val="5"/>
                <c:pt idx="0">
                  <c:v>Δεν απαντώ</c:v>
                </c:pt>
                <c:pt idx="1">
                  <c:v>Καθόλου</c:v>
                </c:pt>
                <c:pt idx="2">
                  <c:v>Λίγο</c:v>
                </c:pt>
                <c:pt idx="3">
                  <c:v>Αρκετά</c:v>
                </c:pt>
                <c:pt idx="4">
                  <c:v>Πολύ</c:v>
                </c:pt>
              </c:strCache>
            </c:strRef>
          </c:cat>
          <c:val>
            <c:numRef>
              <c:f>Φύλλο1!$B$2:$B$6</c:f>
              <c:numCache>
                <c:formatCode>0.0</c:formatCode>
                <c:ptCount val="5"/>
                <c:pt idx="0" formatCode="General">
                  <c:v>0.7</c:v>
                </c:pt>
                <c:pt idx="1">
                  <c:v>0</c:v>
                </c:pt>
                <c:pt idx="2" formatCode="General">
                  <c:v>0.5</c:v>
                </c:pt>
                <c:pt idx="3">
                  <c:v>12.4</c:v>
                </c:pt>
                <c:pt idx="4" formatCode="General">
                  <c:v>86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CE2-41FF-902D-C2683A57C66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287005392"/>
        <c:axId val="287005952"/>
      </c:barChart>
      <c:catAx>
        <c:axId val="287005392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1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endParaRPr lang="el-GR"/>
          </a:p>
        </c:txPr>
        <c:crossAx val="287005952"/>
        <c:crosses val="autoZero"/>
        <c:auto val="1"/>
        <c:lblAlgn val="ctr"/>
        <c:lblOffset val="100"/>
        <c:noMultiLvlLbl val="0"/>
      </c:catAx>
      <c:valAx>
        <c:axId val="2870059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870053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l-G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1456423507379829"/>
          <c:y val="1.3651476900751898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indent="0" algn="ctr" defTabSz="2438338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lang="el-GR" sz="3600" b="0" i="0" u="none" strike="noStrike" kern="1200" cap="none" spc="0" normalizeH="0" baseline="0" dirty="0">
              <a:ln>
                <a:noFill/>
              </a:ln>
              <a:solidFill>
                <a:srgbClr val="5E5E5E"/>
              </a:solidFill>
              <a:effectLst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Helvetica"/>
            </a:defRPr>
          </a:pPr>
          <a:endParaRPr lang="el-GR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1028590695381482"/>
          <c:y val="0.31741511178001247"/>
          <c:w val="0.84673481038186249"/>
          <c:h val="0.67673938691921187"/>
        </c:manualLayout>
      </c:layout>
      <c:pie3DChart>
        <c:varyColors val="1"/>
        <c:ser>
          <c:idx val="0"/>
          <c:order val="0"/>
          <c:tx>
            <c:strRef>
              <c:f>Φύλλο1!$B$1</c:f>
              <c:strCache>
                <c:ptCount val="1"/>
                <c:pt idx="0">
                  <c:v>Παρακαλούμε επιλέξτε τον τύπο που χαρακτηρίζει καλύτερα τον τόπο στον οποίο διαμένετε:</c:v>
                </c:pt>
              </c:strCache>
            </c:strRef>
          </c:tx>
          <c:explosion val="22"/>
          <c:dPt>
            <c:idx val="0"/>
            <c:bubble3D val="0"/>
            <c:explosion val="6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C64-4F34-9DC0-2B826EF3AC7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C64-4F34-9DC0-2B826EF3AC7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BC64-4F34-9DC0-2B826EF3AC7E}"/>
              </c:ext>
            </c:extLst>
          </c:dPt>
          <c:dLbls>
            <c:dLbl>
              <c:idx val="0"/>
              <c:layout>
                <c:manualLayout>
                  <c:x val="-4.1435449065347067E-2"/>
                  <c:y val="3.7617842192400233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C64-4F34-9DC0-2B826EF3AC7E}"/>
                </c:ext>
                <c:ext xmlns:c15="http://schemas.microsoft.com/office/drawing/2012/chart" uri="{CE6537A1-D6FC-4f65-9D91-7224C49458BB}">
                  <c15:layout>
                    <c:manualLayout>
                      <c:w val="0.15807416908633209"/>
                      <c:h val="0.12414561600466598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4.6770443929852211E-2"/>
                  <c:y val="-0.11011951845717216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BC64-4F34-9DC0-2B826EF3AC7E}"/>
                </c:ext>
                <c:ext xmlns:c15="http://schemas.microsoft.com/office/drawing/2012/chart" uri="{CE6537A1-D6FC-4f65-9D91-7224C49458BB}">
                  <c15:layout>
                    <c:manualLayout>
                      <c:w val="0.20428142950154438"/>
                      <c:h val="0.14804382756405735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0.13433110164847753"/>
                  <c:y val="-2.6937040524390686E-2"/>
                </c:manualLayout>
              </c:layout>
              <c:tx>
                <c:rich>
                  <a:bodyPr/>
                  <a:lstStyle/>
                  <a:p>
                    <a:fld id="{BCDE1E59-A383-4463-A18B-C755C0360C39}" type="CATEGORYNAME">
                      <a:rPr lang="el-GR" dirty="0"/>
                      <a:pPr/>
                      <a:t>[CATEGORY NAME]</a:t>
                    </a:fld>
                    <a:r>
                      <a:rPr lang="el-GR" baseline="0" dirty="0"/>
                      <a:t>
</a:t>
                    </a:r>
                    <a:fld id="{2254BB36-982F-4501-8AC0-DA5B9DE4B71E}" type="PERCENTAGE">
                      <a:rPr lang="el-GR" baseline="0" smtClean="0"/>
                      <a:pPr/>
                      <a:t>[PERCENTAGE]</a:t>
                    </a:fld>
                    <a:endParaRPr lang="el-GR" baseline="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BC64-4F34-9DC0-2B826EF3AC7E}"/>
                </c:ex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numFmt formatCode="0.0%" sourceLinked="0"/>
            <c:spPr>
              <a:solidFill>
                <a:srgbClr val="FFFFFF"/>
              </a:solidFill>
              <a:ln>
                <a:solidFill>
                  <a:srgbClr val="737572">
                    <a:lumMod val="25000"/>
                    <a:lumOff val="75000"/>
                  </a:srgb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0">
                <a:spAutoFit/>
              </a:bodyPr>
              <a:lstStyle/>
              <a:p>
                <a:pPr marL="0" marR="0" indent="0" algn="ctr" defTabSz="2438338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lang="en-US" sz="2800" b="0" i="0" u="none" strike="noStrike" kern="1200" cap="none" spc="0" normalizeH="0" baseline="0">
                    <a:ln>
                      <a:noFill/>
                    </a:ln>
                    <a:solidFill>
                      <a:srgbClr val="5E5E5E"/>
                    </a:solidFill>
                    <a:effectLst/>
                    <a:uFillTx/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  <a:sym typeface="Helvetica"/>
                  </a:defRPr>
                </a:pPr>
                <a:endParaRPr lang="el-GR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Φύλλο1!$A$2:$A$4</c:f>
              <c:strCache>
                <c:ptCount val="3"/>
                <c:pt idx="0">
                  <c:v>Αστικός</c:v>
                </c:pt>
                <c:pt idx="1">
                  <c:v>Ημιαστικός</c:v>
                </c:pt>
                <c:pt idx="2">
                  <c:v>Αγροτικός</c:v>
                </c:pt>
              </c:strCache>
            </c:strRef>
          </c:cat>
          <c:val>
            <c:numRef>
              <c:f>Φύλλο1!$B$2:$B$4</c:f>
              <c:numCache>
                <c:formatCode>General</c:formatCode>
                <c:ptCount val="3"/>
                <c:pt idx="0">
                  <c:v>75.3</c:v>
                </c:pt>
                <c:pt idx="1">
                  <c:v>14.7</c:v>
                </c:pt>
                <c:pt idx="2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BC64-4F34-9DC0-2B826EF3AC7E}"/>
            </c:ext>
          </c:extLst>
        </c:ser>
        <c:ser>
          <c:idx val="1"/>
          <c:order val="1"/>
          <c:tx>
            <c:strRef>
              <c:f>Φύλλο1!$B$1:$B$4</c:f>
              <c:strCache>
                <c:ptCount val="4"/>
                <c:pt idx="0">
                  <c:v>Παρακαλούμε επιλέξτε τον τύπο που χαρακτηρίζει καλύτερα τον τόπο στον οποίο διαμένετε:</c:v>
                </c:pt>
                <c:pt idx="1">
                  <c:v>75,3</c:v>
                </c:pt>
                <c:pt idx="2">
                  <c:v>14,7</c:v>
                </c:pt>
                <c:pt idx="3">
                  <c:v>10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BC64-4F34-9DC0-2B826EF3AC7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Lit>
              <c:formatCode>General</c:formatCode>
              <c:ptCount val="1"/>
              <c:pt idx="0">
                <c:v>1</c:v>
              </c:pt>
            </c:numLit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BC64-4F34-9DC0-2B826EF3AC7E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layout>
        <c:manualLayout>
          <c:xMode val="edge"/>
          <c:yMode val="edge"/>
          <c:x val="0.13114816813046842"/>
          <c:y val="8.2618149646189395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36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l-GR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bar"/>
        <c:grouping val="clustered"/>
        <c:varyColors val="0"/>
        <c:ser>
          <c:idx val="0"/>
          <c:order val="0"/>
          <c:tx>
            <c:strRef>
              <c:f>Φύλλο1!$B$1</c:f>
              <c:strCache>
                <c:ptCount val="1"/>
                <c:pt idx="0">
                  <c:v>Παρακαλούμε επιλέξτε την εργασιακή σας κατάσταση: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dLbl>
              <c:idx val="7"/>
              <c:layout>
                <c:manualLayout>
                  <c:x val="1.8279530304703785E-2"/>
                  <c:y val="2.574439678540143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8291-4DAA-B458-E4C082185D9E}"/>
                </c:ext>
                <c:ext xmlns:c15="http://schemas.microsoft.com/office/drawing/2012/chart" uri="{CE6537A1-D6FC-4f65-9D91-7224C49458BB}"/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1800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Φύλλο1!$A$2:$A$9</c:f>
              <c:strCache>
                <c:ptCount val="8"/>
                <c:pt idx="0">
                  <c:v>Δημόσιος Υπάλληλος</c:v>
                </c:pt>
                <c:pt idx="1">
                  <c:v>Ιδιωτικός Υπάλληλος</c:v>
                </c:pt>
                <c:pt idx="2">
                  <c:v>Ελεύθερος επαγγελματίας</c:v>
                </c:pt>
                <c:pt idx="3">
                  <c:v>Οικιακά</c:v>
                </c:pt>
                <c:pt idx="4">
                  <c:v>Άνεργος/η</c:v>
                </c:pt>
                <c:pt idx="5">
                  <c:v>Συνταξιούχος</c:v>
                </c:pt>
                <c:pt idx="6">
                  <c:v>Άλλο</c:v>
                </c:pt>
                <c:pt idx="7">
                  <c:v>Δεν απαντώ</c:v>
                </c:pt>
              </c:strCache>
            </c:strRef>
          </c:cat>
          <c:val>
            <c:numRef>
              <c:f>Φύλλο1!$B$2:$B$9</c:f>
              <c:numCache>
                <c:formatCode>0.00%</c:formatCode>
                <c:ptCount val="8"/>
                <c:pt idx="0">
                  <c:v>0.11899999999999999</c:v>
                </c:pt>
                <c:pt idx="1">
                  <c:v>0.19500000000000001</c:v>
                </c:pt>
                <c:pt idx="2">
                  <c:v>0.25800000000000001</c:v>
                </c:pt>
                <c:pt idx="3">
                  <c:v>5.3999999999999999E-2</c:v>
                </c:pt>
                <c:pt idx="4">
                  <c:v>5.2999999999999999E-2</c:v>
                </c:pt>
                <c:pt idx="5">
                  <c:v>0.27400000000000002</c:v>
                </c:pt>
                <c:pt idx="6">
                  <c:v>3.3000000000000002E-2</c:v>
                </c:pt>
                <c:pt idx="7">
                  <c:v>1.4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291-4DAA-B458-E4C082185D9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280954992"/>
        <c:axId val="284634400"/>
        <c:axId val="0"/>
      </c:bar3DChart>
      <c:catAx>
        <c:axId val="28095499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l-GR"/>
          </a:p>
        </c:txPr>
        <c:crossAx val="284634400"/>
        <c:crosses val="autoZero"/>
        <c:auto val="1"/>
        <c:lblAlgn val="ctr"/>
        <c:lblOffset val="100"/>
        <c:noMultiLvlLbl val="0"/>
      </c:catAx>
      <c:valAx>
        <c:axId val="284634400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l-GR"/>
          </a:p>
        </c:txPr>
        <c:crossAx val="280954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10852436539791965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36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l-GR"/>
        </a:p>
      </c:txPr>
    </c:title>
    <c:autoTitleDeleted val="0"/>
    <c:plotArea>
      <c:layout>
        <c:manualLayout>
          <c:layoutTarget val="inner"/>
          <c:xMode val="edge"/>
          <c:yMode val="edge"/>
          <c:x val="0.25451798737653109"/>
          <c:y val="0.1484982656342492"/>
          <c:w val="0.54176495417820969"/>
          <c:h val="0.53321522492387385"/>
        </c:manualLayout>
      </c:layout>
      <c:doughnutChart>
        <c:varyColors val="1"/>
        <c:ser>
          <c:idx val="0"/>
          <c:order val="0"/>
          <c:tx>
            <c:strRef>
              <c:f>Φύλλο1!$B$1</c:f>
              <c:strCache>
                <c:ptCount val="1"/>
                <c:pt idx="0">
                  <c:v>Παρακαλούμε επιλέξτε την οικογενειακή σας κατάσταση: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05D7-43D7-B0B1-677099802C1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05D7-43D7-B0B1-677099802C1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05D7-43D7-B0B1-677099802C1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05D7-43D7-B0B1-677099802C1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05D7-43D7-B0B1-677099802C12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05D7-43D7-B0B1-677099802C12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05D7-43D7-B0B1-677099802C12}"/>
              </c:ext>
            </c:extLst>
          </c:dPt>
          <c:dLbls>
            <c:dLbl>
              <c:idx val="1"/>
              <c:layout>
                <c:manualLayout>
                  <c:x val="9.4344582300933497E-2"/>
                  <c:y val="-2.3809155557680695E-3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square" lIns="360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; 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05D7-43D7-B0B1-677099802C12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</c:extLst>
            </c:dLbl>
            <c:dLbl>
              <c:idx val="5"/>
              <c:layout>
                <c:manualLayout>
                  <c:x val="-3.5076831881116301E-2"/>
                  <c:y val="-4.9999226671128563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square" lIns="360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; 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05D7-43D7-B0B1-677099802C12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</c:extLst>
            </c:dLbl>
            <c:dLbl>
              <c:idx val="6"/>
              <c:layout>
                <c:manualLayout>
                  <c:x val="2.7819556319506031E-2"/>
                  <c:y val="-5.4761057782664602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square" lIns="360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separator>; 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05D7-43D7-B0B1-677099802C12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60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; 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Φύλλο1!$A$2:$A$8</c:f>
              <c:strCache>
                <c:ptCount val="7"/>
                <c:pt idx="0">
                  <c:v>Άγαμος/η</c:v>
                </c:pt>
                <c:pt idx="1">
                  <c:v>Έγγαμος/η ή σύμφωνο συμβίωσης χωρίς τέκνα</c:v>
                </c:pt>
                <c:pt idx="2">
                  <c:v>Έγγαμος/η ή σύμφωνο συμβίωσης με τέκνα</c:v>
                </c:pt>
                <c:pt idx="3">
                  <c:v>Διαζευγμένος/η</c:v>
                </c:pt>
                <c:pt idx="4">
                  <c:v>Χήρος/α</c:v>
                </c:pt>
                <c:pt idx="5">
                  <c:v>Άλλο</c:v>
                </c:pt>
                <c:pt idx="6">
                  <c:v>Δεν απαντώ</c:v>
                </c:pt>
              </c:strCache>
            </c:strRef>
          </c:cat>
          <c:val>
            <c:numRef>
              <c:f>Φύλλο1!$B$2:$B$8</c:f>
              <c:numCache>
                <c:formatCode>0%</c:formatCode>
                <c:ptCount val="7"/>
                <c:pt idx="0" formatCode="0.00%">
                  <c:v>0.20300000000000001</c:v>
                </c:pt>
                <c:pt idx="1">
                  <c:v>0.1</c:v>
                </c:pt>
                <c:pt idx="2" formatCode="0.00%">
                  <c:v>0.52800000000000002</c:v>
                </c:pt>
                <c:pt idx="3" formatCode="0.00%">
                  <c:v>7.8E-2</c:v>
                </c:pt>
                <c:pt idx="4" formatCode="0.00%">
                  <c:v>6.2E-2</c:v>
                </c:pt>
                <c:pt idx="5" formatCode="0.00%">
                  <c:v>8.9999999999999993E-3</c:v>
                </c:pt>
                <c:pt idx="6">
                  <c:v>0.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5D7-43D7-B0B1-677099802C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l-GR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8095332988975631"/>
          <c:y val="2.2424609460566539E-4"/>
          <c:w val="0.53613620719989385"/>
          <c:h val="0.923954372623574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Φύλλο1!$B$1</c:f>
              <c:strCache>
                <c:ptCount val="1"/>
                <c:pt idx="0">
                  <c:v>Σειρά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1F497D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094D-4601-AFA4-07891A8D8251}"/>
              </c:ext>
            </c:extLst>
          </c:dPt>
          <c:dLbls>
            <c:dLbl>
              <c:idx val="3"/>
              <c:layout>
                <c:manualLayout>
                  <c:x val="2.577861960870904E-3"/>
                  <c:y val="1.319705932109290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CB20-4740-BA03-6F7F22A43631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numFmt formatCode="General" sourceLinked="0"/>
              <c:spPr>
                <a:solidFill>
                  <a:srgbClr val="1F497D"/>
                </a:solidFill>
                <a:ln>
                  <a:noFill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094D-4601-AFA4-07891A8D825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</c:extLst>
            </c:dLbl>
            <c:numFmt formatCode="General" sourceLinked="0"/>
            <c:spPr>
              <a:solidFill>
                <a:schemeClr val="lt1"/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Φύλλο1!$A$2:$A$7</c:f>
              <c:strCache>
                <c:ptCount val="6"/>
                <c:pt idx="0">
                  <c:v>Δεν απαντώ</c:v>
                </c:pt>
                <c:pt idx="1">
                  <c:v>Άλλο</c:v>
                </c:pt>
                <c:pt idx="2">
                  <c:v>Το φαρμακείο που γνωρίζω ότι πραγματοποιεί συχνά πολλές προσφορές</c:v>
                </c:pt>
                <c:pt idx="3">
                  <c:v>Ένα από περισσότερα φαρμακεία, που έχετε ήδη επισκεφτεί στο παρελθόν</c:v>
                </c:pt>
                <c:pt idx="4">
                  <c:v>Το πλησιέστερο φαρμακείο στη θέση που βρίσκεστε</c:v>
                </c:pt>
                <c:pt idx="5">
                  <c:v>Συγκεκριμένο φαρμακείο, στο οποίο γνωρίζετε τον φαρμακοποιό, νιώθετε εμπιστοσύνη και είστε πελάτης</c:v>
                </c:pt>
              </c:strCache>
            </c:strRef>
          </c:cat>
          <c:val>
            <c:numRef>
              <c:f>Φύλλο1!$B$2:$B$7</c:f>
              <c:numCache>
                <c:formatCode>0.0</c:formatCode>
                <c:ptCount val="6"/>
                <c:pt idx="0">
                  <c:v>0.2</c:v>
                </c:pt>
                <c:pt idx="1">
                  <c:v>0.5</c:v>
                </c:pt>
                <c:pt idx="2">
                  <c:v>1.6</c:v>
                </c:pt>
                <c:pt idx="3">
                  <c:v>9.6</c:v>
                </c:pt>
                <c:pt idx="4">
                  <c:v>15</c:v>
                </c:pt>
                <c:pt idx="5">
                  <c:v>73.09999999999999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B20-4740-BA03-6F7F22A4363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284176976"/>
        <c:axId val="284177536"/>
      </c:barChart>
      <c:catAx>
        <c:axId val="284176976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l-GR"/>
          </a:p>
        </c:txPr>
        <c:crossAx val="284177536"/>
        <c:crosses val="autoZero"/>
        <c:auto val="1"/>
        <c:lblAlgn val="ctr"/>
        <c:lblOffset val="100"/>
        <c:noMultiLvlLbl val="0"/>
      </c:catAx>
      <c:valAx>
        <c:axId val="284177536"/>
        <c:scaling>
          <c:orientation val="minMax"/>
          <c:max val="1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l-GR"/>
          </a:p>
        </c:txPr>
        <c:crossAx val="284176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225454276075155"/>
          <c:y val="8.1768854319000883E-2"/>
          <c:w val="0.62237689712541311"/>
          <c:h val="0.85843928876287046"/>
        </c:manualLayout>
      </c:layout>
      <c:doughnutChart>
        <c:varyColors val="1"/>
        <c:ser>
          <c:idx val="0"/>
          <c:order val="0"/>
          <c:tx>
            <c:strRef>
              <c:f>Φύλλο1!$B$1</c:f>
              <c:strCache>
                <c:ptCount val="1"/>
                <c:pt idx="0">
                  <c:v>Σειρά 1</c:v>
                </c:pt>
              </c:strCache>
            </c:strRef>
          </c:tx>
          <c:spPr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explosion val="5"/>
          <c:dPt>
            <c:idx val="1"/>
            <c:bubble3D val="0"/>
            <c:spPr>
              <a:solidFill>
                <a:srgbClr val="FFC000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A82-41A2-8E0A-797C408716E7}"/>
              </c:ext>
            </c:extLst>
          </c:dPt>
          <c:dLbls>
            <c:dLbl>
              <c:idx val="0"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lIns="38100" tIns="19050" rIns="38100" bIns="19050" anchor="ctr" anchorCtr="1">
                  <a:spAutoFit/>
                </a:bodyPr>
                <a:lstStyle/>
                <a:p>
                  <a:pPr>
                    <a:defRPr sz="3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l-GR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8A82-41A2-8E0A-797C408716E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32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Φύλλο1!$A$2:$A$3</c:f>
              <c:strCache>
                <c:ptCount val="2"/>
                <c:pt idx="0">
                  <c:v>Όχι</c:v>
                </c:pt>
                <c:pt idx="1">
                  <c:v>Ναι</c:v>
                </c:pt>
              </c:strCache>
            </c:strRef>
          </c:cat>
          <c:val>
            <c:numRef>
              <c:f>Φύλλο1!$B$2:$B$3</c:f>
              <c:numCache>
                <c:formatCode>0.00%</c:formatCode>
                <c:ptCount val="2"/>
                <c:pt idx="0">
                  <c:v>0.85899999999999999</c:v>
                </c:pt>
                <c:pt idx="1">
                  <c:v>0.14099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A82-41A2-8E0A-797C408716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solidFill>
        <a:schemeClr val="bg1"/>
      </a:solidFill>
      <a:round/>
    </a:ln>
    <a:effectLst/>
  </c:spPr>
  <c:txPr>
    <a:bodyPr/>
    <a:lstStyle/>
    <a:p>
      <a:pPr>
        <a:defRPr/>
      </a:pPr>
      <a:endParaRPr lang="el-GR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705658117705888"/>
          <c:y val="3.8022813688212927E-2"/>
          <c:w val="0.54593628560052099"/>
          <c:h val="0.923954372623574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Φύλλο1!$B$1</c:f>
              <c:strCache>
                <c:ptCount val="1"/>
                <c:pt idx="0">
                  <c:v>Σειρά 1</c:v>
                </c:pt>
              </c:strCache>
            </c:strRef>
          </c:tx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32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Φύλλο1!$A$2:$A$5</c:f>
              <c:strCache>
                <c:ptCount val="4"/>
                <c:pt idx="0">
                  <c:v>Δεν απαντώ</c:v>
                </c:pt>
                <c:pt idx="1">
                  <c:v>Άλλο</c:v>
                </c:pt>
                <c:pt idx="2">
                  <c:v>Βρισκόμουν σε απομακρυσμένη τοποθεσία και λόγω συνθηκών δεν μπορούσα να μετακινηθώ για να έχω πρόσβαση σε φαρμακείο</c:v>
                </c:pt>
                <c:pt idx="3">
                  <c:v>Ήταν εκτός κανονικού ωραρίου και δεν έβρισκα διημερεύον ή διανυκτερεύον φαρμακείο</c:v>
                </c:pt>
              </c:strCache>
            </c:strRef>
          </c:cat>
          <c:val>
            <c:numRef>
              <c:f>Φύλλο1!$B$2:$B$5</c:f>
              <c:numCache>
                <c:formatCode>General</c:formatCode>
                <c:ptCount val="4"/>
                <c:pt idx="0" formatCode="0.0">
                  <c:v>2</c:v>
                </c:pt>
                <c:pt idx="1">
                  <c:v>13.5</c:v>
                </c:pt>
                <c:pt idx="2">
                  <c:v>13.5</c:v>
                </c:pt>
                <c:pt idx="3" formatCode="0.0">
                  <c:v>70.9000000000000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E5E-4FFE-A180-0FEDB15B181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284936512"/>
        <c:axId val="284937072"/>
      </c:barChart>
      <c:catAx>
        <c:axId val="284936512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1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endParaRPr lang="el-GR"/>
          </a:p>
        </c:txPr>
        <c:crossAx val="284937072"/>
        <c:crosses val="autoZero"/>
        <c:auto val="1"/>
        <c:lblAlgn val="ctr"/>
        <c:lblOffset val="100"/>
        <c:noMultiLvlLbl val="0"/>
      </c:catAx>
      <c:valAx>
        <c:axId val="284937072"/>
        <c:scaling>
          <c:orientation val="minMax"/>
          <c:max val="100"/>
        </c:scaling>
        <c:delete val="1"/>
        <c:axPos val="b"/>
        <c:numFmt formatCode="0.0" sourceLinked="1"/>
        <c:majorTickMark val="out"/>
        <c:minorTickMark val="none"/>
        <c:tickLblPos val="nextTo"/>
        <c:crossAx val="2849365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l-GR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782925875362696"/>
          <c:y val="3.2096924178945926E-2"/>
          <c:w val="0.66157721072792208"/>
          <c:h val="0.9666699099683477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Φύλλο1!$B$1</c:f>
              <c:strCache>
                <c:ptCount val="1"/>
                <c:pt idx="0">
                  <c:v>Σειρά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32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Φύλλο1!$A$2:$A$7</c:f>
              <c:strCache>
                <c:ptCount val="6"/>
                <c:pt idx="0">
                  <c:v>Δεν απαντώ</c:v>
                </c:pt>
                <c:pt idx="1">
                  <c:v>Για συμβουλές υγείας και ομορφιάς / ευ ζην</c:v>
                </c:pt>
                <c:pt idx="2">
                  <c:v>Για μέτρηση βασικών δεικτών υγείας (π.χ., βάρος, αρτηριακή πίεση, σάκχαρο)</c:v>
                </c:pt>
                <c:pt idx="3">
                  <c:v>Για αγορά παραφαρμακευτικών / καλλυντικών προϊόντων</c:v>
                </c:pt>
                <c:pt idx="4">
                  <c:v>Για αγορά μη συνταγογραφούμενων φαρμάκων</c:v>
                </c:pt>
                <c:pt idx="5">
                  <c:v>Για εκτέλεση συνταγής φαρμάκων</c:v>
                </c:pt>
              </c:strCache>
            </c:strRef>
          </c:cat>
          <c:val>
            <c:numRef>
              <c:f>Φύλλο1!$B$2:$B$7</c:f>
              <c:numCache>
                <c:formatCode>General</c:formatCode>
                <c:ptCount val="6"/>
                <c:pt idx="0">
                  <c:v>0.2</c:v>
                </c:pt>
                <c:pt idx="1">
                  <c:v>8.3000000000000007</c:v>
                </c:pt>
                <c:pt idx="2">
                  <c:v>10.5</c:v>
                </c:pt>
                <c:pt idx="3">
                  <c:v>29.8</c:v>
                </c:pt>
                <c:pt idx="4">
                  <c:v>53.8</c:v>
                </c:pt>
                <c:pt idx="5">
                  <c:v>89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1B5-443E-9013-DC6C49565AE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284939312"/>
        <c:axId val="285100624"/>
      </c:barChart>
      <c:catAx>
        <c:axId val="284939312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1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endParaRPr lang="el-GR"/>
          </a:p>
        </c:txPr>
        <c:crossAx val="285100624"/>
        <c:crosses val="autoZero"/>
        <c:auto val="1"/>
        <c:lblAlgn val="ctr"/>
        <c:lblOffset val="100"/>
        <c:noMultiLvlLbl val="0"/>
      </c:catAx>
      <c:valAx>
        <c:axId val="285100624"/>
        <c:scaling>
          <c:orientation val="minMax"/>
          <c:max val="100"/>
        </c:scaling>
        <c:delete val="1"/>
        <c:axPos val="b"/>
        <c:numFmt formatCode="General" sourceLinked="1"/>
        <c:majorTickMark val="out"/>
        <c:minorTickMark val="none"/>
        <c:tickLblPos val="nextTo"/>
        <c:crossAx val="284939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  <a:round/>
    </a:ln>
    <a:effectLst/>
  </c:spPr>
  <c:txPr>
    <a:bodyPr/>
    <a:lstStyle/>
    <a:p>
      <a:pPr>
        <a:defRPr/>
      </a:pPr>
      <a:endParaRPr lang="el-G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2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6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4" name="Shape 774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prstGeom prst="rect">
            <a:avLst/>
          </a:prstGeom>
        </p:spPr>
        <p:txBody>
          <a:bodyPr lIns="91285" tIns="45642" rIns="91285" bIns="45642"/>
          <a:lstStyle/>
          <a:p>
            <a:endParaRPr/>
          </a:p>
        </p:txBody>
      </p:sp>
      <p:sp>
        <p:nvSpPr>
          <p:cNvPr id="775" name="Shape 775"/>
          <p:cNvSpPr>
            <a:spLocks noGrp="1"/>
          </p:cNvSpPr>
          <p:nvPr>
            <p:ph type="body" sz="quarter" idx="1"/>
          </p:nvPr>
        </p:nvSpPr>
        <p:spPr>
          <a:xfrm>
            <a:off x="906357" y="4715908"/>
            <a:ext cx="4984962" cy="4467701"/>
          </a:xfrm>
          <a:prstGeom prst="rect">
            <a:avLst/>
          </a:prstGeom>
        </p:spPr>
        <p:txBody>
          <a:bodyPr lIns="91285" tIns="45642" rIns="91285" bIns="45642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44679683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+mn-lt"/>
        <a:ea typeface="+mn-ea"/>
        <a:cs typeface="+mn-cs"/>
        <a:sym typeface="Helvetica"/>
      </a:defRPr>
    </a:lvl1pPr>
    <a:lvl2pPr indent="228600" defTabSz="457200" latinLnBrk="0">
      <a:lnSpc>
        <a:spcPct val="117999"/>
      </a:lnSpc>
      <a:defRPr sz="2200">
        <a:latin typeface="+mn-lt"/>
        <a:ea typeface="+mn-ea"/>
        <a:cs typeface="+mn-cs"/>
        <a:sym typeface="Helvetica"/>
      </a:defRPr>
    </a:lvl2pPr>
    <a:lvl3pPr indent="457200" defTabSz="457200" latinLnBrk="0">
      <a:lnSpc>
        <a:spcPct val="117999"/>
      </a:lnSpc>
      <a:defRPr sz="2200">
        <a:latin typeface="+mn-lt"/>
        <a:ea typeface="+mn-ea"/>
        <a:cs typeface="+mn-cs"/>
        <a:sym typeface="Helvetica"/>
      </a:defRPr>
    </a:lvl3pPr>
    <a:lvl4pPr indent="685800" defTabSz="457200" latinLnBrk="0">
      <a:lnSpc>
        <a:spcPct val="117999"/>
      </a:lnSpc>
      <a:defRPr sz="2200">
        <a:latin typeface="+mn-lt"/>
        <a:ea typeface="+mn-ea"/>
        <a:cs typeface="+mn-cs"/>
        <a:sym typeface="Helvetica"/>
      </a:defRPr>
    </a:lvl4pPr>
    <a:lvl5pPr indent="914400" defTabSz="457200" latinLnBrk="0">
      <a:lnSpc>
        <a:spcPct val="117999"/>
      </a:lnSpc>
      <a:defRPr sz="2200">
        <a:latin typeface="+mn-lt"/>
        <a:ea typeface="+mn-ea"/>
        <a:cs typeface="+mn-cs"/>
        <a:sym typeface="Helvetica"/>
      </a:defRPr>
    </a:lvl5pPr>
    <a:lvl6pPr indent="1143000" defTabSz="457200" latinLnBrk="0">
      <a:lnSpc>
        <a:spcPct val="117999"/>
      </a:lnSpc>
      <a:defRPr sz="2200">
        <a:latin typeface="+mn-lt"/>
        <a:ea typeface="+mn-ea"/>
        <a:cs typeface="+mn-cs"/>
        <a:sym typeface="Helvetica"/>
      </a:defRPr>
    </a:lvl6pPr>
    <a:lvl7pPr indent="1371600" defTabSz="457200" latinLnBrk="0">
      <a:lnSpc>
        <a:spcPct val="117999"/>
      </a:lnSpc>
      <a:defRPr sz="2200">
        <a:latin typeface="+mn-lt"/>
        <a:ea typeface="+mn-ea"/>
        <a:cs typeface="+mn-cs"/>
        <a:sym typeface="Helvetica"/>
      </a:defRPr>
    </a:lvl7pPr>
    <a:lvl8pPr indent="1600200" defTabSz="457200" latinLnBrk="0">
      <a:lnSpc>
        <a:spcPct val="117999"/>
      </a:lnSpc>
      <a:defRPr sz="2200">
        <a:latin typeface="+mn-lt"/>
        <a:ea typeface="+mn-ea"/>
        <a:cs typeface="+mn-cs"/>
        <a:sym typeface="Helvetica"/>
      </a:defRPr>
    </a:lvl8pPr>
    <a:lvl9pPr indent="1828800" defTabSz="457200" latinLnBrk="0">
      <a:lnSpc>
        <a:spcPct val="117999"/>
      </a:lnSpc>
      <a:defRPr sz="2200">
        <a:latin typeface="+mn-lt"/>
        <a:ea typeface="+mn-ea"/>
        <a:cs typeface="+mn-cs"/>
        <a:sym typeface="Helvetica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7240475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5331641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15833312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2705989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104448040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99175167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9967131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0587043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3851024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8540118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6" name="Google Shape;576;g8cfbd2c2fb_0_666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77" name="Google Shape;577;g8cfbd2c2fb_0_666:notes"/>
          <p:cNvSpPr txBox="1">
            <a:spLocks noGrp="1"/>
          </p:cNvSpPr>
          <p:nvPr>
            <p:ph type="body" idx="1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spcFirstLastPara="1" wrap="square" lIns="91270" tIns="91270" rIns="91270" bIns="91270" anchor="t" anchorCtr="0">
            <a:noAutofit/>
          </a:bodyPr>
          <a:lstStyle/>
          <a:p>
            <a:pPr algn="l" rtl="0"/>
            <a:endParaRPr/>
          </a:p>
        </p:txBody>
      </p:sp>
    </p:spTree>
    <p:extLst>
      <p:ext uri="{BB962C8B-B14F-4D97-AF65-F5344CB8AC3E}">
        <p14:creationId xmlns:p14="http://schemas.microsoft.com/office/powerpoint/2010/main" val="22553726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5256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7057609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702990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40373749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4110224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1803563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417757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hor and Dat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01340" y="11859862"/>
            <a:ext cx="21971003" cy="636979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r>
              <a:t>Author and Date</a:t>
            </a:r>
          </a:p>
        </p:txBody>
      </p:sp>
      <p:sp>
        <p:nvSpPr>
          <p:cNvPr id="12" name="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1206496" y="2574991"/>
            <a:ext cx="21971004" cy="4648201"/>
          </a:xfrm>
          <a:prstGeom prst="rect">
            <a:avLst/>
          </a:prstGeom>
        </p:spPr>
        <p:txBody>
          <a:bodyPr anchor="b"/>
          <a:lstStyle>
            <a:lvl1pPr>
              <a:defRPr sz="11600" spc="-232"/>
            </a:lvl1pPr>
          </a:lstStyle>
          <a:p>
            <a:r>
              <a:t>Presentation Title</a:t>
            </a:r>
          </a:p>
        </p:txBody>
      </p:sp>
      <p:sp>
        <p:nvSpPr>
          <p:cNvPr id="13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201342" y="7223190"/>
            <a:ext cx="21971001" cy="1905001"/>
          </a:xfrm>
          <a:prstGeom prst="rect">
            <a:avLst/>
          </a:prstGeom>
        </p:spPr>
        <p:txBody>
          <a:bodyPr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  <a:lvl2pPr marL="0" indent="4572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2pPr>
            <a:lvl3pPr marL="0" indent="9144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3pPr>
            <a:lvl4pPr marL="0" indent="13716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4pPr>
            <a:lvl5pPr marL="0" indent="18288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5pPr>
          </a:lstStyle>
          <a:p>
            <a:r>
              <a:t>Presentation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Attribution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2430025" y="10675453"/>
            <a:ext cx="20200052" cy="636979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r>
              <a:t>Attribution</a:t>
            </a:r>
          </a:p>
        </p:txBody>
      </p:sp>
      <p:sp>
        <p:nvSpPr>
          <p:cNvPr id="116" name="Body Level One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1753923" y="4939860"/>
            <a:ext cx="20876154" cy="3836280"/>
          </a:xfrm>
          <a:prstGeom prst="rect">
            <a:avLst/>
          </a:prstGeom>
        </p:spPr>
        <p:txBody>
          <a:bodyPr/>
          <a:lstStyle>
            <a:lvl1pPr marL="638923" indent="-469900">
              <a:spcBef>
                <a:spcPts val="0"/>
              </a:spcBef>
              <a:buSzTx/>
              <a:buNone/>
              <a:defRPr sz="8500" b="1" spc="-170"/>
            </a:lvl1pPr>
            <a:lvl2pPr marL="638923" indent="-12700">
              <a:spcBef>
                <a:spcPts val="0"/>
              </a:spcBef>
              <a:buSzTx/>
              <a:buNone/>
              <a:defRPr sz="8500" b="1" spc="-170"/>
            </a:lvl2pPr>
            <a:lvl3pPr marL="638923" indent="444500">
              <a:spcBef>
                <a:spcPts val="0"/>
              </a:spcBef>
              <a:buSzTx/>
              <a:buNone/>
              <a:defRPr sz="8500" b="1" spc="-170"/>
            </a:lvl3pPr>
            <a:lvl4pPr marL="638923" indent="901700">
              <a:spcBef>
                <a:spcPts val="0"/>
              </a:spcBef>
              <a:buSzTx/>
              <a:buNone/>
              <a:defRPr sz="8500" b="1" spc="-170"/>
            </a:lvl4pPr>
            <a:lvl5pPr marL="638923" indent="1358900">
              <a:spcBef>
                <a:spcPts val="0"/>
              </a:spcBef>
              <a:buSzTx/>
              <a:buNone/>
              <a:defRPr sz="8500" b="1" spc="-170"/>
            </a:lvl5pPr>
          </a:lstStyle>
          <a:p>
            <a:r>
              <a:t>“Notable Quote”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Image"/>
          <p:cNvSpPr>
            <a:spLocks noGrp="1"/>
          </p:cNvSpPr>
          <p:nvPr>
            <p:ph type="pic" sz="quarter" idx="21"/>
          </p:nvPr>
        </p:nvSpPr>
        <p:spPr>
          <a:xfrm>
            <a:off x="15760700" y="1016000"/>
            <a:ext cx="7439099" cy="594967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5" name="Image"/>
          <p:cNvSpPr>
            <a:spLocks noGrp="1"/>
          </p:cNvSpPr>
          <p:nvPr>
            <p:ph type="pic" sz="half" idx="22"/>
          </p:nvPr>
        </p:nvSpPr>
        <p:spPr>
          <a:xfrm>
            <a:off x="13500100" y="3978275"/>
            <a:ext cx="10439400" cy="1215018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6" name="Image"/>
          <p:cNvSpPr>
            <a:spLocks noGrp="1"/>
          </p:cNvSpPr>
          <p:nvPr>
            <p:ph type="pic" idx="23"/>
          </p:nvPr>
        </p:nvSpPr>
        <p:spPr>
          <a:xfrm>
            <a:off x="-139700" y="495300"/>
            <a:ext cx="16611600" cy="124587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Image"/>
          <p:cNvSpPr>
            <a:spLocks noGrp="1"/>
          </p:cNvSpPr>
          <p:nvPr>
            <p:ph type="pic" idx="21"/>
          </p:nvPr>
        </p:nvSpPr>
        <p:spPr>
          <a:xfrm>
            <a:off x="-1333500" y="-5524500"/>
            <a:ext cx="27051000" cy="216408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3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_AND_BODY">
    <p:bg>
      <p:bgPr>
        <a:solidFill>
          <a:srgbClr val="F0F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92878" y="13081001"/>
            <a:ext cx="386666" cy="396241"/>
          </a:xfrm>
          <a:prstGeom prst="rect">
            <a:avLst/>
          </a:prstGeom>
        </p:spPr>
        <p:txBody>
          <a:bodyPr lIns="45719" tIns="45719" rIns="45719" bIns="45719" anchor="t"/>
          <a:lstStyle>
            <a:lvl1pPr defTabSz="2194560">
              <a:defRPr sz="20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">
    <p:bg>
      <p:bgPr>
        <a:gradFill flip="none" rotWithShape="1">
          <a:gsLst>
            <a:gs pos="0">
              <a:srgbClr val="FFFFFF"/>
            </a:gs>
            <a:gs pos="64999">
              <a:srgbClr val="E4F8F9"/>
            </a:gs>
            <a:gs pos="100000">
              <a:srgbClr val="C7EDF0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2" name="Title Text"/>
          <p:cNvSpPr txBox="1">
            <a:spLocks noGrp="1"/>
          </p:cNvSpPr>
          <p:nvPr>
            <p:ph type="title"/>
          </p:nvPr>
        </p:nvSpPr>
        <p:spPr>
          <a:xfrm>
            <a:off x="5669200" y="3997100"/>
            <a:ext cx="13045601" cy="5144802"/>
          </a:xfrm>
          <a:prstGeom prst="rect">
            <a:avLst/>
          </a:prstGeom>
        </p:spPr>
        <p:txBody>
          <a:bodyPr lIns="243799" tIns="243799" rIns="243799" bIns="243799" anchor="b"/>
          <a:lstStyle>
            <a:lvl1pPr defTabSz="2438400">
              <a:lnSpc>
                <a:spcPct val="100000"/>
              </a:lnSpc>
              <a:defRPr sz="16000" b="0" spc="0">
                <a:solidFill>
                  <a:srgbClr val="0E868C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67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669200" y="8974866"/>
            <a:ext cx="7022401" cy="1975201"/>
          </a:xfrm>
          <a:prstGeom prst="rect">
            <a:avLst/>
          </a:prstGeom>
        </p:spPr>
        <p:txBody>
          <a:bodyPr lIns="243799" tIns="243799" rIns="243799" bIns="243799"/>
          <a:lstStyle>
            <a:lvl1pPr marL="880533" indent="-753533" defTabSz="2438400">
              <a:lnSpc>
                <a:spcPct val="100000"/>
              </a:lnSpc>
              <a:spcBef>
                <a:spcPts val="0"/>
              </a:spcBef>
              <a:buSzTx/>
              <a:buNone/>
              <a:defRPr sz="4200">
                <a:solidFill>
                  <a:srgbClr val="211E42"/>
                </a:solidFill>
              </a:defRPr>
            </a:lvl1pPr>
            <a:lvl2pPr marL="880533" indent="-296333" defTabSz="2438400">
              <a:lnSpc>
                <a:spcPct val="100000"/>
              </a:lnSpc>
              <a:spcBef>
                <a:spcPts val="0"/>
              </a:spcBef>
              <a:buSzTx/>
              <a:buNone/>
              <a:defRPr sz="4200">
                <a:solidFill>
                  <a:srgbClr val="211E42"/>
                </a:solidFill>
              </a:defRPr>
            </a:lvl2pPr>
            <a:lvl3pPr marL="880533" indent="160866" defTabSz="2438400">
              <a:lnSpc>
                <a:spcPct val="100000"/>
              </a:lnSpc>
              <a:spcBef>
                <a:spcPts val="0"/>
              </a:spcBef>
              <a:buSzTx/>
              <a:buNone/>
              <a:defRPr sz="4200">
                <a:solidFill>
                  <a:srgbClr val="211E42"/>
                </a:solidFill>
              </a:defRPr>
            </a:lvl3pPr>
            <a:lvl4pPr marL="880533" indent="618066" defTabSz="2438400">
              <a:lnSpc>
                <a:spcPct val="100000"/>
              </a:lnSpc>
              <a:spcBef>
                <a:spcPts val="0"/>
              </a:spcBef>
              <a:buSzTx/>
              <a:buNone/>
              <a:defRPr sz="4200">
                <a:solidFill>
                  <a:srgbClr val="211E42"/>
                </a:solidFill>
              </a:defRPr>
            </a:lvl4pPr>
            <a:lvl5pPr marL="880533" indent="1075266" defTabSz="2438400">
              <a:lnSpc>
                <a:spcPct val="100000"/>
              </a:lnSpc>
              <a:spcBef>
                <a:spcPts val="0"/>
              </a:spcBef>
              <a:buSzTx/>
              <a:buNone/>
              <a:defRPr sz="4200">
                <a:solidFill>
                  <a:srgbClr val="211E42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7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85599" y="12344399"/>
            <a:ext cx="5689601" cy="736601"/>
          </a:xfrm>
          <a:prstGeom prst="rect">
            <a:avLst/>
          </a:prstGeom>
        </p:spPr>
        <p:txBody>
          <a:bodyPr lIns="121919" tIns="121919" rIns="121919" bIns="121919" anchor="ctr"/>
          <a:lstStyle>
            <a:lvl1pPr algn="r" defTabSz="2438400">
              <a:defRPr sz="3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USTOM_15">
    <p:bg>
      <p:bgPr>
        <a:solidFill>
          <a:srgbClr val="E7E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1" name="Google Shape;59;p13"/>
          <p:cNvSpPr/>
          <p:nvPr/>
        </p:nvSpPr>
        <p:spPr>
          <a:xfrm rot="21291017" flipH="1">
            <a:off x="9435396" y="532683"/>
            <a:ext cx="21015143" cy="145672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96" h="21344" extrusionOk="0">
                <a:moveTo>
                  <a:pt x="700" y="21327"/>
                </a:moveTo>
                <a:cubicBezTo>
                  <a:pt x="146" y="19912"/>
                  <a:pt x="-76" y="18240"/>
                  <a:pt x="23" y="16621"/>
                </a:cubicBezTo>
                <a:cubicBezTo>
                  <a:pt x="76" y="15770"/>
                  <a:pt x="212" y="14912"/>
                  <a:pt x="446" y="14133"/>
                </a:cubicBezTo>
                <a:cubicBezTo>
                  <a:pt x="668" y="13396"/>
                  <a:pt x="967" y="12712"/>
                  <a:pt x="943" y="11879"/>
                </a:cubicBezTo>
                <a:cubicBezTo>
                  <a:pt x="918" y="11058"/>
                  <a:pt x="585" y="10236"/>
                  <a:pt x="766" y="9457"/>
                </a:cubicBezTo>
                <a:cubicBezTo>
                  <a:pt x="1095" y="8012"/>
                  <a:pt x="2594" y="7982"/>
                  <a:pt x="3386" y="7425"/>
                </a:cubicBezTo>
                <a:cubicBezTo>
                  <a:pt x="4520" y="6633"/>
                  <a:pt x="4787" y="5045"/>
                  <a:pt x="5383" y="3594"/>
                </a:cubicBezTo>
                <a:cubicBezTo>
                  <a:pt x="5978" y="2149"/>
                  <a:pt x="6886" y="956"/>
                  <a:pt x="7974" y="375"/>
                </a:cubicBezTo>
                <a:cubicBezTo>
                  <a:pt x="9063" y="-201"/>
                  <a:pt x="10323" y="-129"/>
                  <a:pt x="11330" y="698"/>
                </a:cubicBezTo>
                <a:cubicBezTo>
                  <a:pt x="11827" y="1106"/>
                  <a:pt x="12139" y="1604"/>
                  <a:pt x="12389" y="2347"/>
                </a:cubicBezTo>
                <a:cubicBezTo>
                  <a:pt x="12578" y="2904"/>
                  <a:pt x="12763" y="3504"/>
                  <a:pt x="13116" y="3852"/>
                </a:cubicBezTo>
                <a:cubicBezTo>
                  <a:pt x="13556" y="4283"/>
                  <a:pt x="14094" y="4157"/>
                  <a:pt x="14595" y="4217"/>
                </a:cubicBezTo>
                <a:cubicBezTo>
                  <a:pt x="15720" y="4355"/>
                  <a:pt x="16850" y="4937"/>
                  <a:pt x="17700" y="6046"/>
                </a:cubicBezTo>
                <a:cubicBezTo>
                  <a:pt x="18107" y="6585"/>
                  <a:pt x="18439" y="7245"/>
                  <a:pt x="18657" y="7982"/>
                </a:cubicBezTo>
                <a:cubicBezTo>
                  <a:pt x="18875" y="8714"/>
                  <a:pt x="18982" y="9535"/>
                  <a:pt x="19306" y="10182"/>
                </a:cubicBezTo>
                <a:cubicBezTo>
                  <a:pt x="19622" y="10812"/>
                  <a:pt x="20119" y="11189"/>
                  <a:pt x="20415" y="11843"/>
                </a:cubicBezTo>
                <a:cubicBezTo>
                  <a:pt x="20801" y="12688"/>
                  <a:pt x="20477" y="13618"/>
                  <a:pt x="20563" y="14541"/>
                </a:cubicBezTo>
                <a:cubicBezTo>
                  <a:pt x="20698" y="16004"/>
                  <a:pt x="21524" y="18060"/>
                  <a:pt x="20805" y="19457"/>
                </a:cubicBezTo>
                <a:cubicBezTo>
                  <a:pt x="20518" y="20020"/>
                  <a:pt x="20099" y="19966"/>
                  <a:pt x="19659" y="19960"/>
                </a:cubicBezTo>
                <a:cubicBezTo>
                  <a:pt x="19088" y="19960"/>
                  <a:pt x="18468" y="19894"/>
                  <a:pt x="17922" y="19643"/>
                </a:cubicBezTo>
                <a:cubicBezTo>
                  <a:pt x="17450" y="19421"/>
                  <a:pt x="16994" y="19145"/>
                  <a:pt x="16497" y="19115"/>
                </a:cubicBezTo>
                <a:cubicBezTo>
                  <a:pt x="16131" y="19091"/>
                  <a:pt x="15761" y="19049"/>
                  <a:pt x="15396" y="19043"/>
                </a:cubicBezTo>
                <a:cubicBezTo>
                  <a:pt x="15162" y="19037"/>
                  <a:pt x="14915" y="19139"/>
                  <a:pt x="14677" y="19175"/>
                </a:cubicBezTo>
                <a:lnTo>
                  <a:pt x="13182" y="19403"/>
                </a:lnTo>
                <a:cubicBezTo>
                  <a:pt x="12077" y="19577"/>
                  <a:pt x="10968" y="19744"/>
                  <a:pt x="9863" y="19918"/>
                </a:cubicBezTo>
                <a:cubicBezTo>
                  <a:pt x="7748" y="20242"/>
                  <a:pt x="5637" y="20566"/>
                  <a:pt x="3522" y="20895"/>
                </a:cubicBezTo>
                <a:cubicBezTo>
                  <a:pt x="2840" y="20997"/>
                  <a:pt x="2154" y="21105"/>
                  <a:pt x="1468" y="21213"/>
                </a:cubicBezTo>
                <a:cubicBezTo>
                  <a:pt x="1415" y="21219"/>
                  <a:pt x="725" y="21399"/>
                  <a:pt x="700" y="21327"/>
                </a:cubicBezTo>
                <a:close/>
              </a:path>
            </a:pathLst>
          </a:custGeom>
          <a:solidFill>
            <a:srgbClr val="F6F2FF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l" defTabSz="2438400">
              <a:defRPr sz="3600" b="1">
                <a:solidFill>
                  <a:srgbClr val="000000"/>
                </a:solidFill>
              </a:defRPr>
            </a:pPr>
            <a:endParaRPr/>
          </a:p>
        </p:txBody>
      </p:sp>
      <p:sp>
        <p:nvSpPr>
          <p:cNvPr id="682" name="Title Text"/>
          <p:cNvSpPr txBox="1">
            <a:spLocks noGrp="1"/>
          </p:cNvSpPr>
          <p:nvPr>
            <p:ph type="title"/>
          </p:nvPr>
        </p:nvSpPr>
        <p:spPr>
          <a:xfrm>
            <a:off x="1919999" y="1439999"/>
            <a:ext cx="20544003" cy="1527201"/>
          </a:xfrm>
          <a:prstGeom prst="rect">
            <a:avLst/>
          </a:prstGeom>
        </p:spPr>
        <p:txBody>
          <a:bodyPr lIns="243799" tIns="243799" rIns="243799" bIns="243799"/>
          <a:lstStyle>
            <a:lvl1pPr defTabSz="2438400">
              <a:lnSpc>
                <a:spcPct val="100000"/>
              </a:lnSpc>
              <a:defRPr sz="8000" b="0" spc="0">
                <a:solidFill>
                  <a:srgbClr val="878CF0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68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377733" y="4749400"/>
            <a:ext cx="7301601" cy="1404000"/>
          </a:xfrm>
          <a:prstGeom prst="rect">
            <a:avLst/>
          </a:prstGeom>
        </p:spPr>
        <p:txBody>
          <a:bodyPr lIns="243799" tIns="243799" rIns="243799" bIns="243799" anchor="ctr"/>
          <a:lstStyle>
            <a:lvl1pPr marL="880533" indent="-753533" defTabSz="2438400">
              <a:lnSpc>
                <a:spcPct val="100000"/>
              </a:lnSpc>
              <a:spcBef>
                <a:spcPts val="0"/>
              </a:spcBef>
              <a:buSzTx/>
              <a:buNone/>
              <a:defRPr sz="5200">
                <a:solidFill>
                  <a:srgbClr val="878CF0"/>
                </a:solidFill>
              </a:defRPr>
            </a:lvl1pPr>
            <a:lvl2pPr marL="880533" indent="-296333" defTabSz="2438400">
              <a:lnSpc>
                <a:spcPct val="100000"/>
              </a:lnSpc>
              <a:spcBef>
                <a:spcPts val="0"/>
              </a:spcBef>
              <a:buSzTx/>
              <a:buNone/>
              <a:defRPr sz="5200">
                <a:solidFill>
                  <a:srgbClr val="878CF0"/>
                </a:solidFill>
              </a:defRPr>
            </a:lvl2pPr>
            <a:lvl3pPr marL="880533" indent="160866" defTabSz="2438400">
              <a:lnSpc>
                <a:spcPct val="100000"/>
              </a:lnSpc>
              <a:spcBef>
                <a:spcPts val="0"/>
              </a:spcBef>
              <a:buSzTx/>
              <a:buNone/>
              <a:defRPr sz="5200">
                <a:solidFill>
                  <a:srgbClr val="878CF0"/>
                </a:solidFill>
              </a:defRPr>
            </a:lvl3pPr>
            <a:lvl4pPr marL="880533" indent="618066" defTabSz="2438400">
              <a:lnSpc>
                <a:spcPct val="100000"/>
              </a:lnSpc>
              <a:spcBef>
                <a:spcPts val="0"/>
              </a:spcBef>
              <a:buSzTx/>
              <a:buNone/>
              <a:defRPr sz="5200">
                <a:solidFill>
                  <a:srgbClr val="878CF0"/>
                </a:solidFill>
              </a:defRPr>
            </a:lvl4pPr>
            <a:lvl5pPr marL="880533" indent="1075266" defTabSz="2438400">
              <a:lnSpc>
                <a:spcPct val="100000"/>
              </a:lnSpc>
              <a:spcBef>
                <a:spcPts val="0"/>
              </a:spcBef>
              <a:buSzTx/>
              <a:buNone/>
              <a:defRPr sz="5200">
                <a:solidFill>
                  <a:srgbClr val="878CF0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85599" y="12344399"/>
            <a:ext cx="5689601" cy="736601"/>
          </a:xfrm>
          <a:prstGeom prst="rect">
            <a:avLst/>
          </a:prstGeom>
        </p:spPr>
        <p:txBody>
          <a:bodyPr lIns="121919" tIns="121919" rIns="121919" bIns="121919" anchor="ctr"/>
          <a:lstStyle>
            <a:lvl1pPr algn="r" defTabSz="2438400">
              <a:defRPr sz="3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1" name="Title Text"/>
          <p:cNvSpPr txBox="1">
            <a:spLocks noGrp="1"/>
          </p:cNvSpPr>
          <p:nvPr>
            <p:ph type="title"/>
          </p:nvPr>
        </p:nvSpPr>
        <p:spPr>
          <a:xfrm>
            <a:off x="6041866" y="1186733"/>
            <a:ext cx="12300001" cy="1527201"/>
          </a:xfrm>
          <a:prstGeom prst="rect">
            <a:avLst/>
          </a:prstGeom>
        </p:spPr>
        <p:txBody>
          <a:bodyPr lIns="243799" tIns="243799" rIns="243799" bIns="243799"/>
          <a:lstStyle>
            <a:lvl1pPr algn="ctr" defTabSz="2438400">
              <a:lnSpc>
                <a:spcPct val="100000"/>
              </a:lnSpc>
              <a:defRPr sz="7400" b="0" spc="0">
                <a:solidFill>
                  <a:srgbClr val="27285C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69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3684634" y="6120533"/>
            <a:ext cx="6348801" cy="1574401"/>
          </a:xfrm>
          <a:prstGeom prst="rect">
            <a:avLst/>
          </a:prstGeom>
        </p:spPr>
        <p:txBody>
          <a:bodyPr lIns="243799" tIns="243799" rIns="243799" bIns="243799"/>
          <a:lstStyle>
            <a:lvl1pPr marL="914400" indent="-800100" algn="ctr" defTabSz="2438400">
              <a:lnSpc>
                <a:spcPct val="100000"/>
              </a:lnSpc>
              <a:spcBef>
                <a:spcPts val="0"/>
              </a:spcBef>
              <a:buSzTx/>
              <a:buNone/>
              <a:defRPr sz="3600">
                <a:solidFill>
                  <a:srgbClr val="27285C"/>
                </a:solidFill>
              </a:defRPr>
            </a:lvl1pPr>
            <a:lvl2pPr marL="914400" indent="-317500" algn="ctr" defTabSz="2438400">
              <a:lnSpc>
                <a:spcPct val="100000"/>
              </a:lnSpc>
              <a:spcBef>
                <a:spcPts val="0"/>
              </a:spcBef>
              <a:buSzTx/>
              <a:buNone/>
              <a:defRPr sz="3600">
                <a:solidFill>
                  <a:srgbClr val="27285C"/>
                </a:solidFill>
              </a:defRPr>
            </a:lvl2pPr>
            <a:lvl3pPr marL="914400" indent="139700" algn="ctr" defTabSz="2438400">
              <a:lnSpc>
                <a:spcPct val="100000"/>
              </a:lnSpc>
              <a:spcBef>
                <a:spcPts val="0"/>
              </a:spcBef>
              <a:buSzTx/>
              <a:buNone/>
              <a:defRPr sz="3600">
                <a:solidFill>
                  <a:srgbClr val="27285C"/>
                </a:solidFill>
              </a:defRPr>
            </a:lvl3pPr>
            <a:lvl4pPr marL="914400" indent="596900" algn="ctr" defTabSz="2438400">
              <a:lnSpc>
                <a:spcPct val="100000"/>
              </a:lnSpc>
              <a:spcBef>
                <a:spcPts val="0"/>
              </a:spcBef>
              <a:buSzTx/>
              <a:buNone/>
              <a:defRPr sz="3600">
                <a:solidFill>
                  <a:srgbClr val="27285C"/>
                </a:solidFill>
              </a:defRPr>
            </a:lvl4pPr>
            <a:lvl5pPr marL="914400" indent="1054100" algn="ctr" defTabSz="2438400">
              <a:lnSpc>
                <a:spcPct val="100000"/>
              </a:lnSpc>
              <a:spcBef>
                <a:spcPts val="0"/>
              </a:spcBef>
              <a:buSzTx/>
              <a:buNone/>
              <a:defRPr sz="3600">
                <a:solidFill>
                  <a:srgbClr val="27285C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93" name="Google Shape;122;p13"/>
          <p:cNvSpPr/>
          <p:nvPr/>
        </p:nvSpPr>
        <p:spPr>
          <a:xfrm>
            <a:off x="2766426" y="-7867"/>
            <a:ext cx="2766398" cy="2766398"/>
          </a:xfrm>
          <a:prstGeom prst="rect">
            <a:avLst/>
          </a:prstGeom>
          <a:solidFill>
            <a:srgbClr val="FF7D4A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l" defTabSz="2438400">
              <a:defRPr sz="3600" b="1">
                <a:solidFill>
                  <a:srgbClr val="000000"/>
                </a:solidFill>
              </a:defRPr>
            </a:pPr>
            <a:endParaRPr/>
          </a:p>
        </p:txBody>
      </p:sp>
      <p:sp>
        <p:nvSpPr>
          <p:cNvPr id="694" name="Google Shape;123;p13"/>
          <p:cNvSpPr/>
          <p:nvPr/>
        </p:nvSpPr>
        <p:spPr>
          <a:xfrm flipH="1">
            <a:off x="18850739" y="-1"/>
            <a:ext cx="2766398" cy="2766399"/>
          </a:xfrm>
          <a:prstGeom prst="rect">
            <a:avLst/>
          </a:prstGeom>
          <a:solidFill>
            <a:srgbClr val="489BDA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l" defTabSz="2438400">
              <a:defRPr sz="3600" b="1">
                <a:solidFill>
                  <a:srgbClr val="000000"/>
                </a:solidFill>
              </a:defRPr>
            </a:pPr>
            <a:endParaRPr/>
          </a:p>
        </p:txBody>
      </p:sp>
      <p:sp>
        <p:nvSpPr>
          <p:cNvPr id="695" name="Google Shape;124;p13"/>
          <p:cNvSpPr/>
          <p:nvPr/>
        </p:nvSpPr>
        <p:spPr>
          <a:xfrm flipH="1">
            <a:off x="21617362" y="-7867"/>
            <a:ext cx="2766399" cy="2766398"/>
          </a:xfrm>
          <a:prstGeom prst="rect">
            <a:avLst/>
          </a:prstGeom>
          <a:solidFill>
            <a:srgbClr val="FCCBE0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l" defTabSz="2438400">
              <a:defRPr sz="3600" b="1">
                <a:solidFill>
                  <a:srgbClr val="000000"/>
                </a:solidFill>
              </a:defRPr>
            </a:pPr>
            <a:endParaRPr/>
          </a:p>
        </p:txBody>
      </p:sp>
      <p:sp>
        <p:nvSpPr>
          <p:cNvPr id="696" name="Google Shape;125;p13"/>
          <p:cNvSpPr/>
          <p:nvPr/>
        </p:nvSpPr>
        <p:spPr>
          <a:xfrm>
            <a:off x="15271" y="-7867"/>
            <a:ext cx="2766399" cy="2766398"/>
          </a:xfrm>
          <a:prstGeom prst="rect">
            <a:avLst/>
          </a:prstGeom>
          <a:solidFill>
            <a:srgbClr val="62A25D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l" defTabSz="2438400">
              <a:defRPr sz="3600" b="1">
                <a:solidFill>
                  <a:srgbClr val="000000"/>
                </a:solidFill>
              </a:defRPr>
            </a:pPr>
            <a:endParaRPr/>
          </a:p>
        </p:txBody>
      </p:sp>
      <p:sp>
        <p:nvSpPr>
          <p:cNvPr id="69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85599" y="12344399"/>
            <a:ext cx="5689601" cy="736601"/>
          </a:xfrm>
          <a:prstGeom prst="rect">
            <a:avLst/>
          </a:prstGeom>
        </p:spPr>
        <p:txBody>
          <a:bodyPr lIns="121919" tIns="121919" rIns="121919" bIns="121919" anchor="ctr"/>
          <a:lstStyle>
            <a:lvl1pPr algn="r" defTabSz="2438400">
              <a:defRPr sz="3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USTOM">
    <p:bg>
      <p:bgPr>
        <a:gradFill flip="none" rotWithShape="1">
          <a:gsLst>
            <a:gs pos="0">
              <a:srgbClr val="FFFFFF"/>
            </a:gs>
            <a:gs pos="64999">
              <a:srgbClr val="E4F8F9"/>
            </a:gs>
            <a:gs pos="100000">
              <a:srgbClr val="C7EDF0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1" name="Google Shape;126;p13"/>
          <p:cNvGrpSpPr/>
          <p:nvPr/>
        </p:nvGrpSpPr>
        <p:grpSpPr>
          <a:xfrm>
            <a:off x="0" y="1039"/>
            <a:ext cx="24376425" cy="13714531"/>
            <a:chOff x="0" y="0"/>
            <a:chExt cx="24376423" cy="13714530"/>
          </a:xfrm>
        </p:grpSpPr>
        <p:sp>
          <p:nvSpPr>
            <p:cNvPr id="704" name="Google Shape;127;p13"/>
            <p:cNvSpPr/>
            <p:nvPr/>
          </p:nvSpPr>
          <p:spPr>
            <a:xfrm>
              <a:off x="7662" y="0"/>
              <a:ext cx="24368762" cy="13713825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64999">
                  <a:srgbClr val="E4F8F9"/>
                </a:gs>
                <a:gs pos="100000">
                  <a:srgbClr val="C7EDF0"/>
                </a:gs>
              </a:gsLst>
              <a:path path="circle">
                <a:fillToRect l="37721" t="-19636" r="62278" b="119636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2438400">
                <a:defRPr sz="3600" b="1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705" name="Google Shape;128;p13"/>
            <p:cNvSpPr/>
            <p:nvPr/>
          </p:nvSpPr>
          <p:spPr>
            <a:xfrm rot="10800000" flipH="1">
              <a:off x="13541898" y="5740901"/>
              <a:ext cx="10104527" cy="79736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44" h="21600" extrusionOk="0">
                  <a:moveTo>
                    <a:pt x="9558" y="0"/>
                  </a:moveTo>
                  <a:lnTo>
                    <a:pt x="9558" y="15"/>
                  </a:lnTo>
                  <a:cubicBezTo>
                    <a:pt x="7409" y="2771"/>
                    <a:pt x="3768" y="3357"/>
                    <a:pt x="1774" y="6438"/>
                  </a:cubicBezTo>
                  <a:cubicBezTo>
                    <a:pt x="1105" y="7481"/>
                    <a:pt x="655" y="8753"/>
                    <a:pt x="359" y="10057"/>
                  </a:cubicBezTo>
                  <a:cubicBezTo>
                    <a:pt x="-40" y="11849"/>
                    <a:pt x="-156" y="13773"/>
                    <a:pt x="269" y="15550"/>
                  </a:cubicBezTo>
                  <a:cubicBezTo>
                    <a:pt x="1156" y="19266"/>
                    <a:pt x="4283" y="21483"/>
                    <a:pt x="7293" y="21596"/>
                  </a:cubicBezTo>
                  <a:cubicBezTo>
                    <a:pt x="7367" y="21599"/>
                    <a:pt x="7442" y="21600"/>
                    <a:pt x="7516" y="21600"/>
                  </a:cubicBezTo>
                  <a:cubicBezTo>
                    <a:pt x="11683" y="21600"/>
                    <a:pt x="15746" y="18018"/>
                    <a:pt x="17237" y="12958"/>
                  </a:cubicBezTo>
                  <a:cubicBezTo>
                    <a:pt x="17765" y="11116"/>
                    <a:pt x="17984" y="9193"/>
                    <a:pt x="18369" y="7286"/>
                  </a:cubicBezTo>
                  <a:cubicBezTo>
                    <a:pt x="18922" y="4580"/>
                    <a:pt x="19874" y="1842"/>
                    <a:pt x="21444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FFFFF"/>
                </a:gs>
                <a:gs pos="58999">
                  <a:srgbClr val="E4F8F9"/>
                </a:gs>
                <a:gs pos="70000">
                  <a:srgbClr val="E4F8F9"/>
                </a:gs>
                <a:gs pos="100000">
                  <a:srgbClr val="AAE3E8"/>
                </a:gs>
              </a:gsLst>
              <a:lin ang="0" scaled="0"/>
            </a:gradFill>
            <a:ln w="12700" cap="flat">
              <a:noFill/>
              <a:miter lim="400000"/>
            </a:ln>
            <a:effectLst>
              <a:outerShdw blurRad="508000" rotWithShape="0">
                <a:srgbClr val="C7EDF0">
                  <a:alpha val="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algn="l" defTabSz="2438400">
                <a:defRPr sz="3600" b="1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706" name="Google Shape;129;p13"/>
            <p:cNvSpPr/>
            <p:nvPr/>
          </p:nvSpPr>
          <p:spPr>
            <a:xfrm>
              <a:off x="7206071" y="5109"/>
              <a:ext cx="16781742" cy="482995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49" h="21600" extrusionOk="0">
                  <a:moveTo>
                    <a:pt x="0" y="0"/>
                  </a:moveTo>
                  <a:cubicBezTo>
                    <a:pt x="59" y="3531"/>
                    <a:pt x="502" y="6956"/>
                    <a:pt x="1259" y="9391"/>
                  </a:cubicBezTo>
                  <a:cubicBezTo>
                    <a:pt x="2022" y="11890"/>
                    <a:pt x="3080" y="13278"/>
                    <a:pt x="4150" y="13278"/>
                  </a:cubicBezTo>
                  <a:cubicBezTo>
                    <a:pt x="4474" y="13278"/>
                    <a:pt x="4799" y="13150"/>
                    <a:pt x="5117" y="12887"/>
                  </a:cubicBezTo>
                  <a:cubicBezTo>
                    <a:pt x="6357" y="11927"/>
                    <a:pt x="7420" y="9047"/>
                    <a:pt x="8670" y="8192"/>
                  </a:cubicBezTo>
                  <a:cubicBezTo>
                    <a:pt x="8950" y="7998"/>
                    <a:pt x="9232" y="7909"/>
                    <a:pt x="9514" y="7909"/>
                  </a:cubicBezTo>
                  <a:cubicBezTo>
                    <a:pt x="10733" y="7909"/>
                    <a:pt x="11944" y="9583"/>
                    <a:pt x="12999" y="11755"/>
                  </a:cubicBezTo>
                  <a:cubicBezTo>
                    <a:pt x="14308" y="14393"/>
                    <a:pt x="15469" y="17752"/>
                    <a:pt x="16837" y="19981"/>
                  </a:cubicBezTo>
                  <a:cubicBezTo>
                    <a:pt x="17412" y="20907"/>
                    <a:pt x="18064" y="21600"/>
                    <a:pt x="18691" y="21600"/>
                  </a:cubicBezTo>
                  <a:cubicBezTo>
                    <a:pt x="19086" y="21600"/>
                    <a:pt x="19470" y="21327"/>
                    <a:pt x="19819" y="20666"/>
                  </a:cubicBezTo>
                  <a:cubicBezTo>
                    <a:pt x="20439" y="19467"/>
                    <a:pt x="20813" y="17136"/>
                    <a:pt x="21059" y="14875"/>
                  </a:cubicBezTo>
                  <a:cubicBezTo>
                    <a:pt x="21560" y="10111"/>
                    <a:pt x="21600" y="5071"/>
                    <a:pt x="21512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FFFFF"/>
                </a:gs>
                <a:gs pos="31000">
                  <a:srgbClr val="FFFFFF"/>
                </a:gs>
                <a:gs pos="100000">
                  <a:srgbClr val="FFFFFF">
                    <a:alpha val="0"/>
                  </a:srgbClr>
                </a:gs>
              </a:gsLst>
              <a:path path="circle">
                <a:fillToRect l="37721" t="-19636" r="62278" b="119636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2438400">
                <a:defRPr sz="3600" b="1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707" name="Google Shape;130;p13"/>
            <p:cNvSpPr/>
            <p:nvPr/>
          </p:nvSpPr>
          <p:spPr>
            <a:xfrm>
              <a:off x="23646947" y="7235704"/>
              <a:ext cx="42641" cy="371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947" y="0"/>
                  </a:moveTo>
                  <a:cubicBezTo>
                    <a:pt x="12010" y="0"/>
                    <a:pt x="6437" y="1390"/>
                    <a:pt x="0" y="1837"/>
                  </a:cubicBezTo>
                  <a:cubicBezTo>
                    <a:pt x="4104" y="11868"/>
                    <a:pt x="5659" y="18372"/>
                    <a:pt x="9245" y="21352"/>
                  </a:cubicBezTo>
                  <a:cubicBezTo>
                    <a:pt x="9590" y="21550"/>
                    <a:pt x="10022" y="21600"/>
                    <a:pt x="10498" y="21600"/>
                  </a:cubicBezTo>
                  <a:cubicBezTo>
                    <a:pt x="13090" y="21600"/>
                    <a:pt x="17712" y="19366"/>
                    <a:pt x="21600" y="18372"/>
                  </a:cubicBezTo>
                  <a:cubicBezTo>
                    <a:pt x="20563" y="12463"/>
                    <a:pt x="20563" y="5959"/>
                    <a:pt x="16978" y="646"/>
                  </a:cubicBezTo>
                  <a:cubicBezTo>
                    <a:pt x="16675" y="199"/>
                    <a:pt x="15984" y="0"/>
                    <a:pt x="14947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2438400">
                <a:defRPr sz="3600" b="1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708" name="Google Shape;131;p13"/>
            <p:cNvSpPr/>
            <p:nvPr/>
          </p:nvSpPr>
          <p:spPr>
            <a:xfrm rot="16200000">
              <a:off x="-3910149" y="3914889"/>
              <a:ext cx="13427132" cy="56068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21" h="21600" extrusionOk="0">
                  <a:moveTo>
                    <a:pt x="927" y="0"/>
                  </a:moveTo>
                  <a:cubicBezTo>
                    <a:pt x="707" y="2242"/>
                    <a:pt x="294" y="4263"/>
                    <a:pt x="101" y="6557"/>
                  </a:cubicBezTo>
                  <a:cubicBezTo>
                    <a:pt x="-379" y="12250"/>
                    <a:pt x="915" y="18440"/>
                    <a:pt x="2638" y="20665"/>
                  </a:cubicBezTo>
                  <a:cubicBezTo>
                    <a:pt x="3084" y="21240"/>
                    <a:pt x="3549" y="21492"/>
                    <a:pt x="4021" y="21492"/>
                  </a:cubicBezTo>
                  <a:cubicBezTo>
                    <a:pt x="5854" y="21492"/>
                    <a:pt x="7786" y="17701"/>
                    <a:pt x="9044" y="14360"/>
                  </a:cubicBezTo>
                  <a:cubicBezTo>
                    <a:pt x="10522" y="10432"/>
                    <a:pt x="11934" y="5635"/>
                    <a:pt x="13880" y="3940"/>
                  </a:cubicBezTo>
                  <a:cubicBezTo>
                    <a:pt x="14317" y="3559"/>
                    <a:pt x="14771" y="3378"/>
                    <a:pt x="15227" y="3378"/>
                  </a:cubicBezTo>
                  <a:cubicBezTo>
                    <a:pt x="16702" y="3378"/>
                    <a:pt x="18201" y="5272"/>
                    <a:pt x="19241" y="8432"/>
                  </a:cubicBezTo>
                  <a:cubicBezTo>
                    <a:pt x="20359" y="11825"/>
                    <a:pt x="20862" y="16815"/>
                    <a:pt x="21221" y="21600"/>
                  </a:cubicBezTo>
                  <a:lnTo>
                    <a:pt x="21221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FF">
                    <a:alpha val="0"/>
                  </a:srgbClr>
                </a:gs>
                <a:gs pos="50000">
                  <a:srgbClr val="FFFFFF">
                    <a:alpha val="0"/>
                  </a:srgbClr>
                </a:gs>
                <a:gs pos="100000">
                  <a:srgbClr val="FFFFFF"/>
                </a:gs>
              </a:gsLst>
              <a:path path="circle">
                <a:fillToRect l="37721" t="-19636" r="62278" b="119636"/>
              </a:path>
            </a:gradFill>
            <a:ln w="12700" cap="flat">
              <a:noFill/>
              <a:miter lim="400000"/>
            </a:ln>
            <a:effectLst>
              <a:outerShdw blurRad="1270000" dist="25400" dir="5400000" rotWithShape="0">
                <a:srgbClr val="C7EDF0">
                  <a:alpha val="22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algn="l" defTabSz="2438400">
                <a:defRPr sz="3600" b="1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709" name="Google Shape;132;p13"/>
            <p:cNvSpPr/>
            <p:nvPr/>
          </p:nvSpPr>
          <p:spPr>
            <a:xfrm>
              <a:off x="1054198" y="2004128"/>
              <a:ext cx="6709601" cy="6709601"/>
            </a:xfrm>
            <a:prstGeom prst="ellipse">
              <a:avLst/>
            </a:prstGeom>
            <a:gradFill flip="none" rotWithShape="1">
              <a:gsLst>
                <a:gs pos="0">
                  <a:srgbClr val="FFFFFF">
                    <a:alpha val="0"/>
                  </a:srgbClr>
                </a:gs>
                <a:gs pos="50000">
                  <a:srgbClr val="FFFFFF">
                    <a:alpha val="0"/>
                  </a:srgbClr>
                </a:gs>
                <a:gs pos="100000">
                  <a:srgbClr val="FFFFFF"/>
                </a:gs>
              </a:gsLst>
              <a:path path="circle">
                <a:fillToRect l="37721" t="-19636" r="62278" b="119636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2438400">
                <a:defRPr sz="3600" b="1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710" name="Google Shape;133;p13"/>
            <p:cNvSpPr/>
            <p:nvPr/>
          </p:nvSpPr>
          <p:spPr>
            <a:xfrm>
              <a:off x="670665" y="607093"/>
              <a:ext cx="3067201" cy="3067201"/>
            </a:xfrm>
            <a:prstGeom prst="ellipse">
              <a:avLst/>
            </a:prstGeom>
            <a:gradFill flip="none" rotWithShape="1">
              <a:gsLst>
                <a:gs pos="0">
                  <a:srgbClr val="FFFFFF">
                    <a:alpha val="0"/>
                  </a:srgbClr>
                </a:gs>
                <a:gs pos="50000">
                  <a:srgbClr val="FFFFFF">
                    <a:alpha val="0"/>
                  </a:srgbClr>
                </a:gs>
                <a:gs pos="100000">
                  <a:srgbClr val="FFFFFF"/>
                </a:gs>
              </a:gsLst>
              <a:path path="circle">
                <a:fillToRect l="37721" t="-19636" r="62278" b="119636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2438400">
                <a:defRPr sz="3600" b="1">
                  <a:solidFill>
                    <a:srgbClr val="000000"/>
                  </a:solidFill>
                </a:defRPr>
              </a:pPr>
              <a:endParaRPr/>
            </a:p>
          </p:txBody>
        </p:sp>
      </p:grpSp>
      <p:sp>
        <p:nvSpPr>
          <p:cNvPr id="712" name="xx%"/>
          <p:cNvSpPr txBox="1">
            <a:spLocks noGrp="1"/>
          </p:cNvSpPr>
          <p:nvPr>
            <p:ph type="title" hasCustomPrompt="1"/>
          </p:nvPr>
        </p:nvSpPr>
        <p:spPr>
          <a:xfrm>
            <a:off x="13409333" y="6432368"/>
            <a:ext cx="1877601" cy="1072801"/>
          </a:xfrm>
          <a:prstGeom prst="rect">
            <a:avLst/>
          </a:prstGeom>
        </p:spPr>
        <p:txBody>
          <a:bodyPr lIns="243799" tIns="243799" rIns="243799" bIns="243799" anchor="ctr"/>
          <a:lstStyle>
            <a:lvl1pPr algn="ctr" defTabSz="2438400">
              <a:lnSpc>
                <a:spcPct val="100000"/>
              </a:lnSpc>
              <a:defRPr sz="8000" b="0" spc="0">
                <a:solidFill>
                  <a:srgbClr val="211E42"/>
                </a:solidFill>
              </a:defRPr>
            </a:lvl1pPr>
          </a:lstStyle>
          <a:p>
            <a:r>
              <a:t>xx%</a:t>
            </a:r>
          </a:p>
        </p:txBody>
      </p:sp>
      <p:sp>
        <p:nvSpPr>
          <p:cNvPr id="71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5839199" y="5816434"/>
            <a:ext cx="6632800" cy="1072801"/>
          </a:xfrm>
          <a:prstGeom prst="rect">
            <a:avLst/>
          </a:prstGeom>
        </p:spPr>
        <p:txBody>
          <a:bodyPr lIns="243799" tIns="243799" rIns="243799" bIns="243799" anchor="b"/>
          <a:lstStyle>
            <a:lvl1pPr marL="880533" indent="-753533" defTabSz="2438400">
              <a:lnSpc>
                <a:spcPct val="100000"/>
              </a:lnSpc>
              <a:spcBef>
                <a:spcPts val="0"/>
              </a:spcBef>
              <a:buSzTx/>
              <a:buNone/>
              <a:defRPr sz="5200">
                <a:solidFill>
                  <a:srgbClr val="211E42"/>
                </a:solidFill>
              </a:defRPr>
            </a:lvl1pPr>
            <a:lvl2pPr marL="880533" indent="-296333" defTabSz="2438400">
              <a:lnSpc>
                <a:spcPct val="100000"/>
              </a:lnSpc>
              <a:spcBef>
                <a:spcPts val="0"/>
              </a:spcBef>
              <a:buSzTx/>
              <a:buNone/>
              <a:defRPr sz="5200">
                <a:solidFill>
                  <a:srgbClr val="211E42"/>
                </a:solidFill>
              </a:defRPr>
            </a:lvl2pPr>
            <a:lvl3pPr marL="880533" indent="160866" defTabSz="2438400">
              <a:lnSpc>
                <a:spcPct val="100000"/>
              </a:lnSpc>
              <a:spcBef>
                <a:spcPts val="0"/>
              </a:spcBef>
              <a:buSzTx/>
              <a:buNone/>
              <a:defRPr sz="5200">
                <a:solidFill>
                  <a:srgbClr val="211E42"/>
                </a:solidFill>
              </a:defRPr>
            </a:lvl3pPr>
            <a:lvl4pPr marL="880533" indent="618066" defTabSz="2438400">
              <a:lnSpc>
                <a:spcPct val="100000"/>
              </a:lnSpc>
              <a:spcBef>
                <a:spcPts val="0"/>
              </a:spcBef>
              <a:buSzTx/>
              <a:buNone/>
              <a:defRPr sz="5200">
                <a:solidFill>
                  <a:srgbClr val="211E42"/>
                </a:solidFill>
              </a:defRPr>
            </a:lvl4pPr>
            <a:lvl5pPr marL="880533" indent="1075266" defTabSz="2438400">
              <a:lnSpc>
                <a:spcPct val="100000"/>
              </a:lnSpc>
              <a:spcBef>
                <a:spcPts val="0"/>
              </a:spcBef>
              <a:buSzTx/>
              <a:buNone/>
              <a:defRPr sz="5200">
                <a:solidFill>
                  <a:srgbClr val="211E42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1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85599" y="12344399"/>
            <a:ext cx="5689601" cy="736601"/>
          </a:xfrm>
          <a:prstGeom prst="rect">
            <a:avLst/>
          </a:prstGeom>
        </p:spPr>
        <p:txBody>
          <a:bodyPr lIns="121919" tIns="121919" rIns="121919" bIns="121919" anchor="ctr"/>
          <a:lstStyle>
            <a:lvl1pPr algn="r" defTabSz="2438400">
              <a:defRPr sz="3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ONE_COLUMN_TEXT">
    <p:bg>
      <p:bgPr>
        <a:gradFill flip="none" rotWithShape="1">
          <a:gsLst>
            <a:gs pos="0">
              <a:srgbClr val="FFFFFF"/>
            </a:gs>
            <a:gs pos="64999">
              <a:srgbClr val="E4F8F9"/>
            </a:gs>
            <a:gs pos="100000">
              <a:srgbClr val="C7EDF0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9" name="Google Shape;71;p7"/>
          <p:cNvGrpSpPr/>
          <p:nvPr/>
        </p:nvGrpSpPr>
        <p:grpSpPr>
          <a:xfrm>
            <a:off x="-12" y="1010"/>
            <a:ext cx="24380029" cy="13722959"/>
            <a:chOff x="10" y="0"/>
            <a:chExt cx="24380028" cy="13722958"/>
          </a:xfrm>
        </p:grpSpPr>
        <p:sp>
          <p:nvSpPr>
            <p:cNvPr id="721" name="Google Shape;72;p7"/>
            <p:cNvSpPr/>
            <p:nvPr/>
          </p:nvSpPr>
          <p:spPr>
            <a:xfrm>
              <a:off x="85" y="4562"/>
              <a:ext cx="24368762" cy="13713826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64999">
                  <a:srgbClr val="E4F8F9"/>
                </a:gs>
                <a:gs pos="100000">
                  <a:srgbClr val="C7EDF0"/>
                </a:gs>
              </a:gsLst>
              <a:path path="circle">
                <a:fillToRect l="37721" t="-19636" r="62278" b="119636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2438400">
                <a:defRPr sz="3600" b="1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722" name="Google Shape;73;p7"/>
            <p:cNvSpPr/>
            <p:nvPr/>
          </p:nvSpPr>
          <p:spPr>
            <a:xfrm>
              <a:off x="10" y="1970725"/>
              <a:ext cx="21044464" cy="117522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4277" y="21600"/>
                  </a:lnTo>
                  <a:cubicBezTo>
                    <a:pt x="4630" y="21173"/>
                    <a:pt x="4954" y="20719"/>
                    <a:pt x="5236" y="20282"/>
                  </a:cubicBezTo>
                  <a:cubicBezTo>
                    <a:pt x="6430" y="18428"/>
                    <a:pt x="7569" y="16169"/>
                    <a:pt x="9138" y="15370"/>
                  </a:cubicBezTo>
                  <a:cubicBezTo>
                    <a:pt x="9491" y="15190"/>
                    <a:pt x="9857" y="15104"/>
                    <a:pt x="10225" y="15104"/>
                  </a:cubicBezTo>
                  <a:cubicBezTo>
                    <a:pt x="11415" y="15104"/>
                    <a:pt x="12624" y="15998"/>
                    <a:pt x="13464" y="17485"/>
                  </a:cubicBezTo>
                  <a:cubicBezTo>
                    <a:pt x="14088" y="18592"/>
                    <a:pt x="14475" y="20058"/>
                    <a:pt x="14750" y="21600"/>
                  </a:cubicBezTo>
                  <a:lnTo>
                    <a:pt x="21600" y="21600"/>
                  </a:lnTo>
                  <a:cubicBezTo>
                    <a:pt x="20798" y="21240"/>
                    <a:pt x="19990" y="20905"/>
                    <a:pt x="19222" y="20284"/>
                  </a:cubicBezTo>
                  <a:cubicBezTo>
                    <a:pt x="17825" y="19160"/>
                    <a:pt x="17101" y="16699"/>
                    <a:pt x="16242" y="14569"/>
                  </a:cubicBezTo>
                  <a:cubicBezTo>
                    <a:pt x="15308" y="12252"/>
                    <a:pt x="14112" y="10624"/>
                    <a:pt x="12655" y="9460"/>
                  </a:cubicBezTo>
                  <a:cubicBezTo>
                    <a:pt x="10853" y="8017"/>
                    <a:pt x="9005" y="7920"/>
                    <a:pt x="7072" y="7627"/>
                  </a:cubicBezTo>
                  <a:cubicBezTo>
                    <a:pt x="5097" y="7328"/>
                    <a:pt x="3065" y="6479"/>
                    <a:pt x="1536" y="4083"/>
                  </a:cubicBezTo>
                  <a:cubicBezTo>
                    <a:pt x="861" y="3023"/>
                    <a:pt x="327" y="1572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FFFFF"/>
                </a:gs>
                <a:gs pos="63000">
                  <a:srgbClr val="E4F8F9"/>
                </a:gs>
                <a:gs pos="100000">
                  <a:srgbClr val="AAE3E8"/>
                </a:gs>
              </a:gsLst>
              <a:path path="circle">
                <a:fillToRect l="37721" t="-19636" r="62278" b="119636"/>
              </a:path>
            </a:gradFill>
            <a:ln w="12700" cap="flat">
              <a:noFill/>
              <a:miter lim="400000"/>
            </a:ln>
            <a:effectLst>
              <a:outerShdw blurRad="1270000" rotWithShape="0">
                <a:srgbClr val="C7EDF0">
                  <a:alpha val="26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algn="l" defTabSz="2438400">
                <a:defRPr sz="3600" b="1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723" name="Google Shape;74;p7"/>
            <p:cNvSpPr/>
            <p:nvPr/>
          </p:nvSpPr>
          <p:spPr>
            <a:xfrm>
              <a:off x="8189000" y="-1"/>
              <a:ext cx="16190015" cy="53737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21" h="21600" extrusionOk="0">
                  <a:moveTo>
                    <a:pt x="927" y="0"/>
                  </a:moveTo>
                  <a:cubicBezTo>
                    <a:pt x="707" y="2242"/>
                    <a:pt x="294" y="4263"/>
                    <a:pt x="101" y="6557"/>
                  </a:cubicBezTo>
                  <a:cubicBezTo>
                    <a:pt x="-379" y="12250"/>
                    <a:pt x="915" y="18440"/>
                    <a:pt x="2638" y="20665"/>
                  </a:cubicBezTo>
                  <a:cubicBezTo>
                    <a:pt x="3084" y="21240"/>
                    <a:pt x="3549" y="21492"/>
                    <a:pt x="4021" y="21492"/>
                  </a:cubicBezTo>
                  <a:cubicBezTo>
                    <a:pt x="5854" y="21492"/>
                    <a:pt x="7786" y="17701"/>
                    <a:pt x="9044" y="14360"/>
                  </a:cubicBezTo>
                  <a:cubicBezTo>
                    <a:pt x="10522" y="10432"/>
                    <a:pt x="11934" y="5635"/>
                    <a:pt x="13880" y="3940"/>
                  </a:cubicBezTo>
                  <a:cubicBezTo>
                    <a:pt x="14317" y="3559"/>
                    <a:pt x="14771" y="3378"/>
                    <a:pt x="15227" y="3378"/>
                  </a:cubicBezTo>
                  <a:cubicBezTo>
                    <a:pt x="16702" y="3378"/>
                    <a:pt x="18201" y="5272"/>
                    <a:pt x="19241" y="8432"/>
                  </a:cubicBezTo>
                  <a:cubicBezTo>
                    <a:pt x="20359" y="11825"/>
                    <a:pt x="20862" y="16815"/>
                    <a:pt x="21221" y="21600"/>
                  </a:cubicBezTo>
                  <a:lnTo>
                    <a:pt x="21221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FFFF"/>
                </a:gs>
                <a:gs pos="58999">
                  <a:srgbClr val="E4F8F9"/>
                </a:gs>
                <a:gs pos="70000">
                  <a:srgbClr val="E4F8F9"/>
                </a:gs>
                <a:gs pos="100000">
                  <a:srgbClr val="AAE3E8"/>
                </a:gs>
              </a:gsLst>
              <a:lin ang="0" scaled="0"/>
            </a:gradFill>
            <a:ln w="12700" cap="flat">
              <a:noFill/>
              <a:miter lim="400000"/>
            </a:ln>
            <a:effectLst>
              <a:outerShdw blurRad="1270000" dist="25400" dir="5400000" rotWithShape="0">
                <a:srgbClr val="C7EDF0">
                  <a:alpha val="22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algn="l" defTabSz="2438400">
                <a:defRPr sz="3600" b="1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724" name="Google Shape;75;p7"/>
            <p:cNvSpPr/>
            <p:nvPr/>
          </p:nvSpPr>
          <p:spPr>
            <a:xfrm>
              <a:off x="18849742" y="3542146"/>
              <a:ext cx="5530297" cy="95886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58" h="21600" extrusionOk="0">
                  <a:moveTo>
                    <a:pt x="8318" y="0"/>
                  </a:moveTo>
                  <a:cubicBezTo>
                    <a:pt x="7462" y="0"/>
                    <a:pt x="6566" y="142"/>
                    <a:pt x="5635" y="469"/>
                  </a:cubicBezTo>
                  <a:cubicBezTo>
                    <a:pt x="2733" y="1490"/>
                    <a:pt x="549" y="3359"/>
                    <a:pt x="120" y="5392"/>
                  </a:cubicBezTo>
                  <a:cubicBezTo>
                    <a:pt x="-942" y="10456"/>
                    <a:pt x="5244" y="13380"/>
                    <a:pt x="10853" y="16428"/>
                  </a:cubicBezTo>
                  <a:cubicBezTo>
                    <a:pt x="13368" y="17797"/>
                    <a:pt x="15238" y="19755"/>
                    <a:pt x="18090" y="20875"/>
                  </a:cubicBezTo>
                  <a:cubicBezTo>
                    <a:pt x="18868" y="21177"/>
                    <a:pt x="19733" y="21424"/>
                    <a:pt x="20654" y="21600"/>
                  </a:cubicBezTo>
                  <a:lnTo>
                    <a:pt x="20654" y="7680"/>
                  </a:lnTo>
                  <a:lnTo>
                    <a:pt x="20658" y="7680"/>
                  </a:lnTo>
                  <a:cubicBezTo>
                    <a:pt x="20529" y="7559"/>
                    <a:pt x="20408" y="7442"/>
                    <a:pt x="20282" y="7325"/>
                  </a:cubicBezTo>
                  <a:cubicBezTo>
                    <a:pt x="18265" y="5405"/>
                    <a:pt x="16016" y="3465"/>
                    <a:pt x="13520" y="1760"/>
                  </a:cubicBezTo>
                  <a:cubicBezTo>
                    <a:pt x="12053" y="760"/>
                    <a:pt x="10295" y="0"/>
                    <a:pt x="831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FFFFF"/>
                </a:gs>
                <a:gs pos="24000">
                  <a:srgbClr val="E4F8F9"/>
                </a:gs>
                <a:gs pos="100000">
                  <a:srgbClr val="C7EDF0"/>
                </a:gs>
              </a:gsLst>
              <a:lin ang="2698631" scaled="0"/>
            </a:gradFill>
            <a:ln w="12700" cap="flat">
              <a:noFill/>
              <a:miter lim="400000"/>
            </a:ln>
            <a:effectLst>
              <a:outerShdw blurRad="1244600" rotWithShape="0">
                <a:srgbClr val="C7EDF0">
                  <a:alpha val="24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 algn="l" defTabSz="2438400">
                <a:defRPr sz="3600" b="1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725" name="Google Shape;76;p7"/>
            <p:cNvSpPr/>
            <p:nvPr/>
          </p:nvSpPr>
          <p:spPr>
            <a:xfrm>
              <a:off x="23646970" y="7235733"/>
              <a:ext cx="42641" cy="371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947" y="0"/>
                  </a:moveTo>
                  <a:cubicBezTo>
                    <a:pt x="12010" y="0"/>
                    <a:pt x="6437" y="1390"/>
                    <a:pt x="0" y="1837"/>
                  </a:cubicBezTo>
                  <a:cubicBezTo>
                    <a:pt x="4104" y="11868"/>
                    <a:pt x="5659" y="18372"/>
                    <a:pt x="9245" y="21352"/>
                  </a:cubicBezTo>
                  <a:cubicBezTo>
                    <a:pt x="9590" y="21550"/>
                    <a:pt x="10022" y="21600"/>
                    <a:pt x="10498" y="21600"/>
                  </a:cubicBezTo>
                  <a:cubicBezTo>
                    <a:pt x="13090" y="21600"/>
                    <a:pt x="17712" y="19366"/>
                    <a:pt x="21600" y="18372"/>
                  </a:cubicBezTo>
                  <a:cubicBezTo>
                    <a:pt x="20563" y="12463"/>
                    <a:pt x="20563" y="5959"/>
                    <a:pt x="16978" y="646"/>
                  </a:cubicBezTo>
                  <a:cubicBezTo>
                    <a:pt x="16675" y="199"/>
                    <a:pt x="15984" y="0"/>
                    <a:pt x="14947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2438400">
                <a:defRPr sz="3600" b="1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726" name="Google Shape;77;p7"/>
            <p:cNvSpPr/>
            <p:nvPr/>
          </p:nvSpPr>
          <p:spPr>
            <a:xfrm>
              <a:off x="24303208" y="7334363"/>
              <a:ext cx="37149" cy="436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768" h="21600" extrusionOk="0">
                  <a:moveTo>
                    <a:pt x="16559" y="0"/>
                  </a:moveTo>
                  <a:cubicBezTo>
                    <a:pt x="11159" y="1013"/>
                    <a:pt x="5215" y="1013"/>
                    <a:pt x="359" y="4514"/>
                  </a:cubicBezTo>
                  <a:cubicBezTo>
                    <a:pt x="-730" y="5527"/>
                    <a:pt x="904" y="12572"/>
                    <a:pt x="1993" y="21600"/>
                  </a:cubicBezTo>
                  <a:cubicBezTo>
                    <a:pt x="10615" y="17592"/>
                    <a:pt x="16559" y="15567"/>
                    <a:pt x="19282" y="12066"/>
                  </a:cubicBezTo>
                  <a:cubicBezTo>
                    <a:pt x="20870" y="10041"/>
                    <a:pt x="18193" y="4514"/>
                    <a:pt x="16559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2438400">
                <a:defRPr sz="3600" b="1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727" name="Google Shape;78;p7"/>
            <p:cNvSpPr/>
            <p:nvPr/>
          </p:nvSpPr>
          <p:spPr>
            <a:xfrm>
              <a:off x="639754" y="668455"/>
              <a:ext cx="6709601" cy="6709602"/>
            </a:xfrm>
            <a:prstGeom prst="ellipse">
              <a:avLst/>
            </a:prstGeom>
            <a:gradFill flip="none" rotWithShape="1">
              <a:gsLst>
                <a:gs pos="0">
                  <a:srgbClr val="FFFFFF">
                    <a:alpha val="0"/>
                  </a:srgbClr>
                </a:gs>
                <a:gs pos="50000">
                  <a:srgbClr val="FFFFFF">
                    <a:alpha val="0"/>
                  </a:srgbClr>
                </a:gs>
                <a:gs pos="100000">
                  <a:srgbClr val="FFFFFF"/>
                </a:gs>
              </a:gsLst>
              <a:path path="circle">
                <a:fillToRect l="37721" t="-19636" r="62278" b="119636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2438400">
                <a:defRPr sz="3600" b="1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728" name="Google Shape;79;p7"/>
            <p:cNvSpPr/>
            <p:nvPr/>
          </p:nvSpPr>
          <p:spPr>
            <a:xfrm>
              <a:off x="18068022" y="6778456"/>
              <a:ext cx="4414402" cy="4414401"/>
            </a:xfrm>
            <a:prstGeom prst="ellipse">
              <a:avLst/>
            </a:prstGeom>
            <a:gradFill flip="none" rotWithShape="1">
              <a:gsLst>
                <a:gs pos="0">
                  <a:srgbClr val="FFFFFF">
                    <a:alpha val="0"/>
                  </a:srgbClr>
                </a:gs>
                <a:gs pos="50000">
                  <a:srgbClr val="FFFFFF">
                    <a:alpha val="0"/>
                  </a:srgbClr>
                </a:gs>
                <a:gs pos="100000">
                  <a:srgbClr val="FFFFFF"/>
                </a:gs>
              </a:gsLst>
              <a:path path="circle">
                <a:fillToRect l="37721" t="-19636" r="62278" b="119636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2438400">
                <a:defRPr sz="3600" b="1">
                  <a:solidFill>
                    <a:srgbClr val="000000"/>
                  </a:solidFill>
                </a:defRPr>
              </a:pPr>
              <a:endParaRPr/>
            </a:p>
          </p:txBody>
        </p:sp>
      </p:grpSp>
      <p:sp>
        <p:nvSpPr>
          <p:cNvPr id="730" name="Title Text"/>
          <p:cNvSpPr txBox="1">
            <a:spLocks noGrp="1"/>
          </p:cNvSpPr>
          <p:nvPr>
            <p:ph type="title"/>
          </p:nvPr>
        </p:nvSpPr>
        <p:spPr>
          <a:xfrm>
            <a:off x="5461999" y="4598167"/>
            <a:ext cx="13460001" cy="1340801"/>
          </a:xfrm>
          <a:prstGeom prst="rect">
            <a:avLst/>
          </a:prstGeom>
        </p:spPr>
        <p:txBody>
          <a:bodyPr lIns="243799" tIns="243799" rIns="243799" bIns="243799" anchor="b"/>
          <a:lstStyle>
            <a:lvl1pPr algn="ctr" defTabSz="2438400">
              <a:lnSpc>
                <a:spcPct val="100000"/>
              </a:lnSpc>
              <a:defRPr sz="7400" b="0" spc="0">
                <a:solidFill>
                  <a:srgbClr val="0E868C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731" name="Google Shape;81;p7"/>
          <p:cNvSpPr/>
          <p:nvPr/>
        </p:nvSpPr>
        <p:spPr>
          <a:xfrm>
            <a:off x="-1" y="6906667"/>
            <a:ext cx="24384001" cy="68112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ffectLst>
            <a:outerShdw blurRad="1016000" rotWithShape="0">
              <a:srgbClr val="AAE3E8">
                <a:alpha val="30000"/>
              </a:srgbClr>
            </a:outerShdw>
          </a:effectLst>
        </p:spPr>
        <p:txBody>
          <a:bodyPr lIns="0" tIns="0" rIns="0" bIns="0" anchor="ctr"/>
          <a:lstStyle/>
          <a:p>
            <a:pPr algn="l" defTabSz="2438400">
              <a:defRPr sz="3600" b="1">
                <a:solidFill>
                  <a:srgbClr val="000000"/>
                </a:solidFill>
              </a:defRPr>
            </a:pPr>
            <a:endParaRPr/>
          </a:p>
        </p:txBody>
      </p:sp>
      <p:sp>
        <p:nvSpPr>
          <p:cNvPr id="73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461999" y="9032266"/>
            <a:ext cx="13460001" cy="2560001"/>
          </a:xfrm>
          <a:prstGeom prst="rect">
            <a:avLst/>
          </a:prstGeom>
        </p:spPr>
        <p:txBody>
          <a:bodyPr lIns="243799" tIns="243799" rIns="243799" bIns="243799"/>
          <a:lstStyle>
            <a:lvl1pPr marL="880533" indent="-753533" algn="ctr" defTabSz="2438400">
              <a:lnSpc>
                <a:spcPct val="100000"/>
              </a:lnSpc>
              <a:spcBef>
                <a:spcPts val="0"/>
              </a:spcBef>
              <a:buSzTx/>
              <a:buNone/>
              <a:defRPr sz="4200">
                <a:solidFill>
                  <a:srgbClr val="211E42"/>
                </a:solidFill>
              </a:defRPr>
            </a:lvl1pPr>
            <a:lvl2pPr marL="880533" indent="-296333" algn="ctr" defTabSz="2438400">
              <a:lnSpc>
                <a:spcPct val="100000"/>
              </a:lnSpc>
              <a:spcBef>
                <a:spcPts val="0"/>
              </a:spcBef>
              <a:buSzTx/>
              <a:buNone/>
              <a:defRPr sz="4200">
                <a:solidFill>
                  <a:srgbClr val="211E42"/>
                </a:solidFill>
              </a:defRPr>
            </a:lvl2pPr>
            <a:lvl3pPr marL="880533" indent="160866" algn="ctr" defTabSz="2438400">
              <a:lnSpc>
                <a:spcPct val="100000"/>
              </a:lnSpc>
              <a:spcBef>
                <a:spcPts val="0"/>
              </a:spcBef>
              <a:buSzTx/>
              <a:buNone/>
              <a:defRPr sz="4200">
                <a:solidFill>
                  <a:srgbClr val="211E42"/>
                </a:solidFill>
              </a:defRPr>
            </a:lvl3pPr>
            <a:lvl4pPr marL="880533" indent="618066" algn="ctr" defTabSz="2438400">
              <a:lnSpc>
                <a:spcPct val="100000"/>
              </a:lnSpc>
              <a:spcBef>
                <a:spcPts val="0"/>
              </a:spcBef>
              <a:buSzTx/>
              <a:buNone/>
              <a:defRPr sz="4200">
                <a:solidFill>
                  <a:srgbClr val="211E42"/>
                </a:solidFill>
              </a:defRPr>
            </a:lvl4pPr>
            <a:lvl5pPr marL="880533" indent="1075266" algn="ctr" defTabSz="2438400">
              <a:lnSpc>
                <a:spcPct val="100000"/>
              </a:lnSpc>
              <a:spcBef>
                <a:spcPts val="0"/>
              </a:spcBef>
              <a:buSzTx/>
              <a:buNone/>
              <a:defRPr sz="4200">
                <a:solidFill>
                  <a:srgbClr val="211E42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3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85599" y="12344399"/>
            <a:ext cx="5689601" cy="736601"/>
          </a:xfrm>
          <a:prstGeom prst="rect">
            <a:avLst/>
          </a:prstGeom>
        </p:spPr>
        <p:txBody>
          <a:bodyPr lIns="121919" tIns="121919" rIns="121919" bIns="121919" anchor="ctr"/>
          <a:lstStyle>
            <a:lvl1pPr algn="r" defTabSz="2438400">
              <a:defRPr sz="3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666699290_02_crop_3159x1892.jpg"/>
          <p:cNvSpPr>
            <a:spLocks noGrp="1"/>
          </p:cNvSpPr>
          <p:nvPr>
            <p:ph type="pic" idx="21"/>
          </p:nvPr>
        </p:nvSpPr>
        <p:spPr>
          <a:xfrm>
            <a:off x="-1155700" y="-1295400"/>
            <a:ext cx="26746200" cy="1601893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2" name="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1206500" y="7124700"/>
            <a:ext cx="21971000" cy="4648200"/>
          </a:xfrm>
          <a:prstGeom prst="rect">
            <a:avLst/>
          </a:prstGeom>
        </p:spPr>
        <p:txBody>
          <a:bodyPr anchor="b"/>
          <a:lstStyle>
            <a:lvl1pPr>
              <a:defRPr sz="11600" spc="-232"/>
            </a:lvl1pPr>
          </a:lstStyle>
          <a:p>
            <a:r>
              <a:t>Presentation Title</a:t>
            </a:r>
          </a:p>
        </p:txBody>
      </p:sp>
      <p:sp>
        <p:nvSpPr>
          <p:cNvPr id="23" name="Author and Date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1207690" y="1106137"/>
            <a:ext cx="21968621" cy="636979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r>
              <a:t>Author and Date</a:t>
            </a:r>
          </a:p>
        </p:txBody>
      </p:sp>
      <p:sp>
        <p:nvSpPr>
          <p:cNvPr id="24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206500" y="11609910"/>
            <a:ext cx="21971000" cy="1116952"/>
          </a:xfrm>
          <a:prstGeom prst="rect">
            <a:avLst/>
          </a:prstGeom>
        </p:spPr>
        <p:txBody>
          <a:bodyPr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  <a:lvl2pPr marL="0" indent="4572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2pPr>
            <a:lvl3pPr marL="0" indent="9144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3pPr>
            <a:lvl4pPr marL="0" indent="13716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4pPr>
            <a:lvl5pPr marL="0" indent="18288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5pPr>
          </a:lstStyle>
          <a:p>
            <a:r>
              <a:t>Presentation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2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_HEADER">
    <p:bg>
      <p:bgPr>
        <a:gradFill flip="none" rotWithShape="1">
          <a:gsLst>
            <a:gs pos="0">
              <a:srgbClr val="FFFFFF"/>
            </a:gs>
            <a:gs pos="64999">
              <a:srgbClr val="E4F8F9"/>
            </a:gs>
            <a:gs pos="100000">
              <a:srgbClr val="C7EDF0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8" name="Google Shape;22;p3"/>
          <p:cNvGrpSpPr/>
          <p:nvPr/>
        </p:nvGrpSpPr>
        <p:grpSpPr>
          <a:xfrm>
            <a:off x="244" y="1039"/>
            <a:ext cx="24376181" cy="13714459"/>
            <a:chOff x="0" y="0"/>
            <a:chExt cx="24376179" cy="13714457"/>
          </a:xfrm>
        </p:grpSpPr>
        <p:sp>
          <p:nvSpPr>
            <p:cNvPr id="740" name="Google Shape;23;p3"/>
            <p:cNvSpPr/>
            <p:nvPr/>
          </p:nvSpPr>
          <p:spPr>
            <a:xfrm>
              <a:off x="7419" y="0"/>
              <a:ext cx="24368762" cy="13713825"/>
            </a:xfrm>
            <a:prstGeom prst="rect">
              <a:avLst/>
            </a:prstGeom>
            <a:gradFill flip="none" rotWithShape="1">
              <a:gsLst>
                <a:gs pos="0">
                  <a:srgbClr val="FFFFFF"/>
                </a:gs>
                <a:gs pos="64999">
                  <a:srgbClr val="E4F8F9"/>
                </a:gs>
                <a:gs pos="100000">
                  <a:srgbClr val="C7EDF0"/>
                </a:gs>
              </a:gsLst>
              <a:path path="circle">
                <a:fillToRect l="37721" t="-19636" r="62278" b="119636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2438400">
                <a:defRPr sz="3600" b="1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741" name="Google Shape;24;p3"/>
            <p:cNvSpPr/>
            <p:nvPr/>
          </p:nvSpPr>
          <p:spPr>
            <a:xfrm flipH="1">
              <a:off x="14757219" y="5393"/>
              <a:ext cx="9618766" cy="57403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403" y="0"/>
                  </a:moveTo>
                  <a:cubicBezTo>
                    <a:pt x="12607" y="950"/>
                    <a:pt x="12366" y="2159"/>
                    <a:pt x="11825" y="2674"/>
                  </a:cubicBezTo>
                  <a:cubicBezTo>
                    <a:pt x="11548" y="2938"/>
                    <a:pt x="11243" y="3015"/>
                    <a:pt x="10926" y="3015"/>
                  </a:cubicBezTo>
                  <a:cubicBezTo>
                    <a:pt x="10474" y="3015"/>
                    <a:pt x="9997" y="2858"/>
                    <a:pt x="9539" y="2858"/>
                  </a:cubicBezTo>
                  <a:cubicBezTo>
                    <a:pt x="9505" y="2858"/>
                    <a:pt x="9471" y="2859"/>
                    <a:pt x="9437" y="2861"/>
                  </a:cubicBezTo>
                  <a:cubicBezTo>
                    <a:pt x="8394" y="2905"/>
                    <a:pt x="7451" y="3892"/>
                    <a:pt x="6638" y="5003"/>
                  </a:cubicBezTo>
                  <a:cubicBezTo>
                    <a:pt x="5830" y="6113"/>
                    <a:pt x="5085" y="7384"/>
                    <a:pt x="4159" y="8157"/>
                  </a:cubicBezTo>
                  <a:cubicBezTo>
                    <a:pt x="3502" y="8710"/>
                    <a:pt x="2762" y="8988"/>
                    <a:pt x="2022" y="8988"/>
                  </a:cubicBezTo>
                  <a:cubicBezTo>
                    <a:pt x="1347" y="8988"/>
                    <a:pt x="672" y="8756"/>
                    <a:pt x="59" y="8290"/>
                  </a:cubicBezTo>
                  <a:cubicBezTo>
                    <a:pt x="43" y="8281"/>
                    <a:pt x="21" y="8263"/>
                    <a:pt x="0" y="8246"/>
                  </a:cubicBezTo>
                  <a:lnTo>
                    <a:pt x="0" y="20863"/>
                  </a:lnTo>
                  <a:cubicBezTo>
                    <a:pt x="779" y="21356"/>
                    <a:pt x="1616" y="21600"/>
                    <a:pt x="2453" y="21600"/>
                  </a:cubicBezTo>
                  <a:cubicBezTo>
                    <a:pt x="3939" y="21600"/>
                    <a:pt x="5428" y="20832"/>
                    <a:pt x="6606" y="19326"/>
                  </a:cubicBezTo>
                  <a:cubicBezTo>
                    <a:pt x="8816" y="16500"/>
                    <a:pt x="9759" y="11738"/>
                    <a:pt x="11584" y="8237"/>
                  </a:cubicBezTo>
                  <a:cubicBezTo>
                    <a:pt x="13024" y="5473"/>
                    <a:pt x="15026" y="3536"/>
                    <a:pt x="17184" y="2825"/>
                  </a:cubicBezTo>
                  <a:cubicBezTo>
                    <a:pt x="18163" y="2505"/>
                    <a:pt x="19180" y="2417"/>
                    <a:pt x="20112" y="1830"/>
                  </a:cubicBezTo>
                  <a:cubicBezTo>
                    <a:pt x="20690" y="1466"/>
                    <a:pt x="21247" y="826"/>
                    <a:pt x="2160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FFFFF"/>
                </a:gs>
                <a:gs pos="31000">
                  <a:srgbClr val="FFFFFF"/>
                </a:gs>
                <a:gs pos="100000">
                  <a:srgbClr val="FFFFFF">
                    <a:alpha val="0"/>
                  </a:srgbClr>
                </a:gs>
              </a:gsLst>
              <a:path path="circle">
                <a:fillToRect l="37721" t="-19636" r="62278" b="119636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2438400">
                <a:defRPr sz="3600" b="1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742" name="Google Shape;25;p3"/>
            <p:cNvSpPr/>
            <p:nvPr/>
          </p:nvSpPr>
          <p:spPr>
            <a:xfrm>
              <a:off x="1050822" y="1091160"/>
              <a:ext cx="6724801" cy="6725601"/>
            </a:xfrm>
            <a:prstGeom prst="ellipse">
              <a:avLst/>
            </a:prstGeom>
            <a:gradFill flip="none" rotWithShape="1">
              <a:gsLst>
                <a:gs pos="0">
                  <a:srgbClr val="FFFFFF">
                    <a:alpha val="0"/>
                  </a:srgbClr>
                </a:gs>
                <a:gs pos="50000">
                  <a:srgbClr val="FFFFFF">
                    <a:alpha val="0"/>
                  </a:srgbClr>
                </a:gs>
                <a:gs pos="100000">
                  <a:srgbClr val="FFFFFF"/>
                </a:gs>
              </a:gsLst>
              <a:path path="circle">
                <a:fillToRect l="37721" t="-19636" r="62278" b="119636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2438400">
                <a:defRPr sz="3600" b="1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743" name="Google Shape;26;p3"/>
            <p:cNvSpPr/>
            <p:nvPr/>
          </p:nvSpPr>
          <p:spPr>
            <a:xfrm>
              <a:off x="19338822" y="8609560"/>
              <a:ext cx="3981602" cy="3982401"/>
            </a:xfrm>
            <a:prstGeom prst="ellipse">
              <a:avLst/>
            </a:prstGeom>
            <a:gradFill flip="none" rotWithShape="1">
              <a:gsLst>
                <a:gs pos="0">
                  <a:srgbClr val="FFFFFF">
                    <a:alpha val="0"/>
                  </a:srgbClr>
                </a:gs>
                <a:gs pos="50000">
                  <a:srgbClr val="FFFFFF">
                    <a:alpha val="0"/>
                  </a:srgbClr>
                </a:gs>
                <a:gs pos="100000">
                  <a:srgbClr val="FFFFFF"/>
                </a:gs>
              </a:gsLst>
              <a:path path="circle">
                <a:fillToRect l="37721" t="-19636" r="62278" b="119636"/>
              </a:path>
            </a:gra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l" defTabSz="2438400">
                <a:defRPr sz="3600" b="1">
                  <a:solidFill>
                    <a:srgbClr val="000000"/>
                  </a:solidFill>
                </a:defRPr>
              </a:pPr>
              <a:endParaRPr/>
            </a:p>
          </p:txBody>
        </p:sp>
        <p:grpSp>
          <p:nvGrpSpPr>
            <p:cNvPr id="747" name="Google Shape;27;p3"/>
            <p:cNvGrpSpPr/>
            <p:nvPr/>
          </p:nvGrpSpPr>
          <p:grpSpPr>
            <a:xfrm>
              <a:off x="0" y="3871741"/>
              <a:ext cx="16306657" cy="9842717"/>
              <a:chOff x="0" y="0"/>
              <a:chExt cx="16306655" cy="9842715"/>
            </a:xfrm>
          </p:grpSpPr>
          <p:sp>
            <p:nvSpPr>
              <p:cNvPr id="744" name="Google Shape;28;p3"/>
              <p:cNvSpPr/>
              <p:nvPr/>
            </p:nvSpPr>
            <p:spPr>
              <a:xfrm rot="5400000" flipH="1">
                <a:off x="3236841" y="-3236842"/>
                <a:ext cx="9832975" cy="1630665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264" h="21600" extrusionOk="0">
                    <a:moveTo>
                      <a:pt x="10765" y="0"/>
                    </a:moveTo>
                    <a:cubicBezTo>
                      <a:pt x="6838" y="0"/>
                      <a:pt x="2915" y="929"/>
                      <a:pt x="0" y="2597"/>
                    </a:cubicBezTo>
                    <a:lnTo>
                      <a:pt x="0" y="21600"/>
                    </a:lnTo>
                    <a:lnTo>
                      <a:pt x="21264" y="21600"/>
                    </a:lnTo>
                    <a:cubicBezTo>
                      <a:pt x="20823" y="20836"/>
                      <a:pt x="20130" y="20123"/>
                      <a:pt x="19248" y="19531"/>
                    </a:cubicBezTo>
                    <a:cubicBezTo>
                      <a:pt x="17884" y="18648"/>
                      <a:pt x="16057" y="18029"/>
                      <a:pt x="15093" y="16961"/>
                    </a:cubicBezTo>
                    <a:cubicBezTo>
                      <a:pt x="13833" y="15604"/>
                      <a:pt x="14232" y="13851"/>
                      <a:pt x="15302" y="12427"/>
                    </a:cubicBezTo>
                    <a:cubicBezTo>
                      <a:pt x="16373" y="11005"/>
                      <a:pt x="18030" y="9792"/>
                      <a:pt x="19353" y="8461"/>
                    </a:cubicBezTo>
                    <a:cubicBezTo>
                      <a:pt x="20634" y="7104"/>
                      <a:pt x="21600" y="5509"/>
                      <a:pt x="21012" y="3980"/>
                    </a:cubicBezTo>
                    <a:cubicBezTo>
                      <a:pt x="20235" y="1846"/>
                      <a:pt x="16751" y="515"/>
                      <a:pt x="13308" y="132"/>
                    </a:cubicBezTo>
                    <a:cubicBezTo>
                      <a:pt x="12467" y="43"/>
                      <a:pt x="11616" y="0"/>
                      <a:pt x="1076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FFFFF"/>
                  </a:gs>
                  <a:gs pos="31000">
                    <a:srgbClr val="FFFFFF"/>
                  </a:gs>
                  <a:gs pos="100000">
                    <a:srgbClr val="FFFFFF">
                      <a:alpha val="0"/>
                    </a:srgbClr>
                  </a:gs>
                </a:gsLst>
                <a:path path="circle">
                  <a:fillToRect l="37721" t="-19636" r="62278" b="119636"/>
                </a:path>
              </a:gradFill>
              <a:ln w="12700" cap="flat">
                <a:noFill/>
                <a:miter lim="400000"/>
              </a:ln>
              <a:effectLst>
                <a:outerShdw blurRad="939800" rotWithShape="0">
                  <a:srgbClr val="C7EDF0">
                    <a:alpha val="37000"/>
                  </a:srgbClr>
                </a:outerShdw>
              </a:effectLst>
            </p:spPr>
            <p:txBody>
              <a:bodyPr wrap="square" lIns="0" tIns="0" rIns="0" bIns="0" numCol="1" anchor="ctr">
                <a:noAutofit/>
              </a:bodyPr>
              <a:lstStyle/>
              <a:p>
                <a:pPr algn="l" defTabSz="2438400">
                  <a:defRPr sz="3600" b="1">
                    <a:solidFill>
                      <a:srgbClr val="000000"/>
                    </a:solidFill>
                  </a:defRPr>
                </a:pPr>
                <a:endParaRPr/>
              </a:p>
            </p:txBody>
          </p:sp>
          <p:sp>
            <p:nvSpPr>
              <p:cNvPr id="745" name="Google Shape;29;p3"/>
              <p:cNvSpPr/>
              <p:nvPr/>
            </p:nvSpPr>
            <p:spPr>
              <a:xfrm rot="5400000" flipH="1">
                <a:off x="2861350" y="1497029"/>
                <a:ext cx="5484337" cy="112070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532" y="0"/>
                    </a:moveTo>
                    <a:cubicBezTo>
                      <a:pt x="5580" y="0"/>
                      <a:pt x="2620" y="349"/>
                      <a:pt x="0" y="1006"/>
                    </a:cubicBezTo>
                    <a:lnTo>
                      <a:pt x="0" y="21600"/>
                    </a:lnTo>
                    <a:lnTo>
                      <a:pt x="21600" y="21600"/>
                    </a:lnTo>
                    <a:cubicBezTo>
                      <a:pt x="21255" y="20430"/>
                      <a:pt x="20260" y="19280"/>
                      <a:pt x="18580" y="18436"/>
                    </a:cubicBezTo>
                    <a:cubicBezTo>
                      <a:pt x="16974" y="17611"/>
                      <a:pt x="14833" y="17036"/>
                      <a:pt x="13685" y="16020"/>
                    </a:cubicBezTo>
                    <a:cubicBezTo>
                      <a:pt x="12194" y="14754"/>
                      <a:pt x="12654" y="13066"/>
                      <a:pt x="13915" y="11724"/>
                    </a:cubicBezTo>
                    <a:cubicBezTo>
                      <a:pt x="15214" y="10383"/>
                      <a:pt x="17165" y="9232"/>
                      <a:pt x="18695" y="7966"/>
                    </a:cubicBezTo>
                    <a:cubicBezTo>
                      <a:pt x="20221" y="6701"/>
                      <a:pt x="21370" y="5187"/>
                      <a:pt x="20682" y="3747"/>
                    </a:cubicBezTo>
                    <a:cubicBezTo>
                      <a:pt x="19725" y="1735"/>
                      <a:pt x="15636" y="469"/>
                      <a:pt x="11544" y="124"/>
                    </a:cubicBezTo>
                    <a:cubicBezTo>
                      <a:pt x="10552" y="41"/>
                      <a:pt x="9543" y="0"/>
                      <a:pt x="8532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FFFFF"/>
                  </a:gs>
                  <a:gs pos="31000">
                    <a:srgbClr val="FFFFFF"/>
                  </a:gs>
                  <a:gs pos="100000">
                    <a:srgbClr val="FFFFFF">
                      <a:alpha val="0"/>
                    </a:srgbClr>
                  </a:gs>
                </a:gsLst>
                <a:path path="circle">
                  <a:fillToRect l="37721" t="-19636" r="62278" b="119636"/>
                </a:path>
              </a:gradFill>
              <a:ln w="12700" cap="flat">
                <a:noFill/>
                <a:miter lim="400000"/>
              </a:ln>
              <a:effectLst>
                <a:outerShdw blurRad="812800" rotWithShape="0">
                  <a:srgbClr val="C7EDF0">
                    <a:alpha val="42000"/>
                  </a:srgbClr>
                </a:outerShdw>
              </a:effectLst>
            </p:spPr>
            <p:txBody>
              <a:bodyPr wrap="square" lIns="0" tIns="0" rIns="0" bIns="0" numCol="1" anchor="ctr">
                <a:noAutofit/>
              </a:bodyPr>
              <a:lstStyle/>
              <a:p>
                <a:pPr algn="l" defTabSz="2438400">
                  <a:defRPr sz="3600" b="1">
                    <a:solidFill>
                      <a:srgbClr val="000000"/>
                    </a:solidFill>
                  </a:defRPr>
                </a:pPr>
                <a:endParaRPr/>
              </a:p>
            </p:txBody>
          </p:sp>
          <p:sp>
            <p:nvSpPr>
              <p:cNvPr id="746" name="Google Shape;30;p3"/>
              <p:cNvSpPr/>
              <p:nvPr/>
            </p:nvSpPr>
            <p:spPr>
              <a:xfrm rot="5400000" flipH="1">
                <a:off x="2548552" y="4790581"/>
                <a:ext cx="2503826" cy="758095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cubicBezTo>
                      <a:pt x="17416" y="20210"/>
                      <a:pt x="12139" y="18934"/>
                      <a:pt x="10296" y="17093"/>
                    </a:cubicBezTo>
                    <a:cubicBezTo>
                      <a:pt x="8537" y="15392"/>
                      <a:pt x="10044" y="13492"/>
                      <a:pt x="12307" y="11819"/>
                    </a:cubicBezTo>
                    <a:cubicBezTo>
                      <a:pt x="14486" y="10147"/>
                      <a:pt x="17416" y="8588"/>
                      <a:pt x="18670" y="6830"/>
                    </a:cubicBezTo>
                    <a:cubicBezTo>
                      <a:pt x="19925" y="5046"/>
                      <a:pt x="19091" y="2975"/>
                      <a:pt x="14822" y="1815"/>
                    </a:cubicBezTo>
                    <a:cubicBezTo>
                      <a:pt x="10632" y="736"/>
                      <a:pt x="4436" y="821"/>
                      <a:pt x="0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FFFFFF"/>
                  </a:gs>
                  <a:gs pos="31000">
                    <a:srgbClr val="FFFFFF"/>
                  </a:gs>
                  <a:gs pos="100000">
                    <a:srgbClr val="FFFFFF">
                      <a:alpha val="0"/>
                    </a:srgbClr>
                  </a:gs>
                </a:gsLst>
                <a:path path="circle">
                  <a:fillToRect l="37721" t="-19636" r="62278" b="119636"/>
                </a:path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algn="l" defTabSz="2438400">
                  <a:defRPr sz="3600" b="1">
                    <a:solidFill>
                      <a:srgbClr val="000000"/>
                    </a:solidFill>
                  </a:defRPr>
                </a:pPr>
                <a:endParaRPr/>
              </a:p>
            </p:txBody>
          </p:sp>
        </p:grpSp>
      </p:grpSp>
      <p:sp>
        <p:nvSpPr>
          <p:cNvPr id="749" name="Title Text"/>
          <p:cNvSpPr txBox="1">
            <a:spLocks noGrp="1"/>
          </p:cNvSpPr>
          <p:nvPr>
            <p:ph type="title"/>
          </p:nvPr>
        </p:nvSpPr>
        <p:spPr>
          <a:xfrm>
            <a:off x="8131999" y="2938266"/>
            <a:ext cx="8120002" cy="5144801"/>
          </a:xfrm>
          <a:prstGeom prst="rect">
            <a:avLst/>
          </a:prstGeom>
        </p:spPr>
        <p:txBody>
          <a:bodyPr lIns="243799" tIns="243799" rIns="243799" bIns="243799" anchor="b"/>
          <a:lstStyle>
            <a:lvl1pPr defTabSz="2438400">
              <a:lnSpc>
                <a:spcPct val="100000"/>
              </a:lnSpc>
              <a:defRPr sz="14800" b="0" spc="0">
                <a:solidFill>
                  <a:srgbClr val="0E868C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75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131999" y="8166466"/>
            <a:ext cx="8120002" cy="2536001"/>
          </a:xfrm>
          <a:prstGeom prst="rect">
            <a:avLst/>
          </a:prstGeom>
        </p:spPr>
        <p:txBody>
          <a:bodyPr lIns="243799" tIns="243799" rIns="243799" bIns="243799"/>
          <a:lstStyle>
            <a:lvl1pPr marL="880533" indent="-753533" defTabSz="2438400">
              <a:lnSpc>
                <a:spcPct val="100000"/>
              </a:lnSpc>
              <a:spcBef>
                <a:spcPts val="0"/>
              </a:spcBef>
              <a:buSzTx/>
              <a:buNone/>
              <a:defRPr sz="4200">
                <a:solidFill>
                  <a:srgbClr val="211E42"/>
                </a:solidFill>
              </a:defRPr>
            </a:lvl1pPr>
            <a:lvl2pPr marL="880533" indent="-296333" defTabSz="2438400">
              <a:lnSpc>
                <a:spcPct val="100000"/>
              </a:lnSpc>
              <a:spcBef>
                <a:spcPts val="0"/>
              </a:spcBef>
              <a:buSzTx/>
              <a:buNone/>
              <a:defRPr sz="4200">
                <a:solidFill>
                  <a:srgbClr val="211E42"/>
                </a:solidFill>
              </a:defRPr>
            </a:lvl2pPr>
            <a:lvl3pPr marL="880533" indent="160866" defTabSz="2438400">
              <a:lnSpc>
                <a:spcPct val="100000"/>
              </a:lnSpc>
              <a:spcBef>
                <a:spcPts val="0"/>
              </a:spcBef>
              <a:buSzTx/>
              <a:buNone/>
              <a:defRPr sz="4200">
                <a:solidFill>
                  <a:srgbClr val="211E42"/>
                </a:solidFill>
              </a:defRPr>
            </a:lvl3pPr>
            <a:lvl4pPr marL="880533" indent="618066" defTabSz="2438400">
              <a:lnSpc>
                <a:spcPct val="100000"/>
              </a:lnSpc>
              <a:spcBef>
                <a:spcPts val="0"/>
              </a:spcBef>
              <a:buSzTx/>
              <a:buNone/>
              <a:defRPr sz="4200">
                <a:solidFill>
                  <a:srgbClr val="211E42"/>
                </a:solidFill>
              </a:defRPr>
            </a:lvl4pPr>
            <a:lvl5pPr marL="880533" indent="1075266" defTabSz="2438400">
              <a:lnSpc>
                <a:spcPct val="100000"/>
              </a:lnSpc>
              <a:spcBef>
                <a:spcPts val="0"/>
              </a:spcBef>
              <a:buSzTx/>
              <a:buNone/>
              <a:defRPr sz="4200">
                <a:solidFill>
                  <a:srgbClr val="211E42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5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85599" y="12344399"/>
            <a:ext cx="5689601" cy="736601"/>
          </a:xfrm>
          <a:prstGeom prst="rect">
            <a:avLst/>
          </a:prstGeom>
        </p:spPr>
        <p:txBody>
          <a:bodyPr lIns="121919" tIns="121919" rIns="121919" bIns="121919" anchor="ctr"/>
          <a:lstStyle>
            <a:lvl1pPr algn="r" defTabSz="2438400">
              <a:defRPr sz="3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USTOM_3">
    <p:bg>
      <p:bgPr>
        <a:solidFill>
          <a:schemeClr val="accent1">
            <a:lumOff val="16847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8" name="Google Shape;312;p24"/>
          <p:cNvSpPr/>
          <p:nvPr/>
        </p:nvSpPr>
        <p:spPr>
          <a:xfrm flipH="1">
            <a:off x="13588800" y="-1"/>
            <a:ext cx="10795201" cy="137160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ffectLst>
            <a:outerShdw blurRad="1219200" rotWithShape="0">
              <a:srgbClr val="AAE3E8">
                <a:alpha val="30000"/>
              </a:srgbClr>
            </a:outerShdw>
          </a:effectLst>
        </p:spPr>
        <p:txBody>
          <a:bodyPr lIns="0" tIns="0" rIns="0" bIns="0" anchor="ctr"/>
          <a:lstStyle/>
          <a:p>
            <a:pPr algn="l" defTabSz="2438400">
              <a:defRPr sz="3600" b="1">
                <a:solidFill>
                  <a:srgbClr val="000000"/>
                </a:solidFill>
              </a:defRPr>
            </a:pPr>
            <a:endParaRPr/>
          </a:p>
        </p:txBody>
      </p:sp>
      <p:sp>
        <p:nvSpPr>
          <p:cNvPr id="759" name="Title Text"/>
          <p:cNvSpPr txBox="1">
            <a:spLocks noGrp="1"/>
          </p:cNvSpPr>
          <p:nvPr>
            <p:ph type="title"/>
          </p:nvPr>
        </p:nvSpPr>
        <p:spPr>
          <a:xfrm>
            <a:off x="2502799" y="4216400"/>
            <a:ext cx="8583201" cy="5291201"/>
          </a:xfrm>
          <a:prstGeom prst="rect">
            <a:avLst/>
          </a:prstGeom>
        </p:spPr>
        <p:txBody>
          <a:bodyPr lIns="243799" tIns="243799" rIns="243799" bIns="243799" anchor="ctr"/>
          <a:lstStyle>
            <a:lvl1pPr algn="ctr" defTabSz="2438400">
              <a:lnSpc>
                <a:spcPct val="100000"/>
              </a:lnSpc>
              <a:defRPr sz="16000" b="0" spc="0">
                <a:solidFill>
                  <a:srgbClr val="0E868C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76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85599" y="12344399"/>
            <a:ext cx="5689601" cy="736601"/>
          </a:xfrm>
          <a:prstGeom prst="rect">
            <a:avLst/>
          </a:prstGeom>
        </p:spPr>
        <p:txBody>
          <a:bodyPr lIns="121919" tIns="121919" rIns="121919" bIns="121919" anchor="ctr"/>
          <a:lstStyle>
            <a:lvl1pPr algn="r" defTabSz="2438400">
              <a:defRPr sz="32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USE TH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7" name="Google Shape;6;p1"/>
          <p:cNvSpPr/>
          <p:nvPr/>
        </p:nvSpPr>
        <p:spPr>
          <a:xfrm flipV="1">
            <a:off x="24162866" y="13215988"/>
            <a:ext cx="2" cy="254002"/>
          </a:xfrm>
          <a:prstGeom prst="line">
            <a:avLst/>
          </a:prstGeom>
          <a:ln>
            <a:solidFill>
              <a:srgbClr val="929292">
                <a:alpha val="50588"/>
              </a:srgbClr>
            </a:solidFill>
            <a:miter lim="400000"/>
          </a:ln>
        </p:spPr>
        <p:txBody>
          <a:bodyPr lIns="0" tIns="0" rIns="0" bIns="0"/>
          <a:lstStyle/>
          <a:p>
            <a:pPr algn="l" defTabSz="914400">
              <a:defRPr sz="1400" b="1">
                <a:solidFill>
                  <a:srgbClr val="000000"/>
                </a:solidFill>
              </a:defRPr>
            </a:pPr>
            <a:endParaRPr/>
          </a:p>
        </p:txBody>
      </p:sp>
      <p:sp>
        <p:nvSpPr>
          <p:cNvPr id="76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958984" y="13081000"/>
            <a:ext cx="453332" cy="469900"/>
          </a:xfrm>
          <a:prstGeom prst="rect">
            <a:avLst/>
          </a:prstGeom>
        </p:spPr>
        <p:txBody>
          <a:bodyPr anchor="t"/>
          <a:lstStyle>
            <a:lvl1pPr defTabSz="914400">
              <a:defRPr sz="24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90337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xmlns="" id="{90B63800-463E-234D-A18D-60B93BDF18C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311229" y="-287382"/>
            <a:ext cx="25006460" cy="98289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210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34017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28800" y="2244726"/>
            <a:ext cx="207264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l-GR"/>
              <a:t>Κάντε κλικ για να επεξεργαστείτε τον υπότιτλο του υποδείγματος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158ADB-4D33-AA4E-BB12-3E0CF5284C3A}" type="datetimeFigureOut">
              <a:rPr lang="el-GR" smtClean="0"/>
              <a:t>26/4/2023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4D54-4502-A145-81A5-26C2FD6AFC90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5341154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831200" y="1186733"/>
            <a:ext cx="22721600" cy="152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22593221" y="12435245"/>
            <a:ext cx="1463200" cy="1049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2553744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43CA030-B9BB-F44B-87E8-9D88D615959F}"/>
              </a:ext>
            </a:extLst>
          </p:cNvPr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19200" y="3316498"/>
            <a:ext cx="20116800" cy="4775200"/>
          </a:xfrm>
        </p:spPr>
        <p:txBody>
          <a:bodyPr anchor="b"/>
          <a:lstStyle>
            <a:lvl1pPr algn="l">
              <a:lnSpc>
                <a:spcPct val="80000"/>
              </a:lnSpc>
              <a:defRPr sz="10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19200" y="8155772"/>
            <a:ext cx="20116800" cy="3311524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3000" b="0" i="0" kern="800" spc="6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1776B36C-1ADE-4B47-A218-99AEE676BE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69182" y="12831232"/>
            <a:ext cx="392788" cy="5237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2B0F7620-0E7C-AB48-9117-2E580F93F8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6558" y="1275798"/>
            <a:ext cx="3587652" cy="993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65922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43CA030-B9BB-F44B-87E8-9D88D615959F}"/>
              </a:ext>
            </a:extLst>
          </p:cNvPr>
          <p:cNvSpPr/>
          <p:nvPr userDrawn="1"/>
        </p:nvSpPr>
        <p:spPr>
          <a:xfrm>
            <a:off x="0" y="0"/>
            <a:ext cx="24384000" cy="1371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19200" y="3316498"/>
            <a:ext cx="20116800" cy="4775200"/>
          </a:xfrm>
        </p:spPr>
        <p:txBody>
          <a:bodyPr anchor="b"/>
          <a:lstStyle>
            <a:lvl1pPr algn="l">
              <a:lnSpc>
                <a:spcPct val="80000"/>
              </a:lnSpc>
              <a:defRPr sz="10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19200" y="8155772"/>
            <a:ext cx="20116800" cy="3311524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3000" b="0" i="0" kern="800" spc="6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1776B36C-1ADE-4B47-A218-99AEE676BE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69182" y="12831232"/>
            <a:ext cx="392788" cy="5237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2B0F7620-0E7C-AB48-9117-2E580F93F8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6558" y="1275798"/>
            <a:ext cx="3587652" cy="993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0586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Red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3E778F8C-30DF-F842-ADEE-52BB756B5D43}"/>
              </a:ext>
            </a:extLst>
          </p:cNvPr>
          <p:cNvSpPr/>
          <p:nvPr userDrawn="1"/>
        </p:nvSpPr>
        <p:spPr>
          <a:xfrm>
            <a:off x="2" y="2"/>
            <a:ext cx="24384000" cy="1371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63700" y="2604598"/>
            <a:ext cx="21031200" cy="8415096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90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E531A395-5299-7D44-A1C5-492B77DA57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69182" y="12831232"/>
            <a:ext cx="392788" cy="523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131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Photo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910457886_1434x1669.jpg"/>
          <p:cNvSpPr>
            <a:spLocks noGrp="1"/>
          </p:cNvSpPr>
          <p:nvPr>
            <p:ph type="pic" idx="21"/>
          </p:nvPr>
        </p:nvSpPr>
        <p:spPr>
          <a:xfrm>
            <a:off x="10972800" y="-203200"/>
            <a:ext cx="12144837" cy="141351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3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1206500" y="1270000"/>
            <a:ext cx="9779000" cy="5882273"/>
          </a:xfrm>
          <a:prstGeom prst="rect">
            <a:avLst/>
          </a:prstGeom>
        </p:spPr>
        <p:txBody>
          <a:bodyPr anchor="b"/>
          <a:lstStyle/>
          <a:p>
            <a:r>
              <a:t>Slide Title</a:t>
            </a:r>
          </a:p>
        </p:txBody>
      </p:sp>
      <p:sp>
        <p:nvSpPr>
          <p:cNvPr id="34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206500" y="7060576"/>
            <a:ext cx="9779000" cy="5385424"/>
          </a:xfrm>
          <a:prstGeom prst="rect">
            <a:avLst/>
          </a:prstGeom>
        </p:spPr>
        <p:txBody>
          <a:bodyPr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  <a:lvl2pPr marL="0" indent="4572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2pPr>
            <a:lvl3pPr marL="0" indent="9144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3pPr>
            <a:lvl4pPr marL="0" indent="13716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4pPr>
            <a:lvl5pPr marL="0" indent="182880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5pPr>
          </a:lstStyle>
          <a:p>
            <a:r>
              <a:t>Slide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3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2001465" y="13078832"/>
            <a:ext cx="368573" cy="381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3E778F8C-30DF-F842-ADEE-52BB756B5D43}"/>
              </a:ext>
            </a:extLst>
          </p:cNvPr>
          <p:cNvSpPr/>
          <p:nvPr userDrawn="1"/>
        </p:nvSpPr>
        <p:spPr>
          <a:xfrm>
            <a:off x="2" y="2"/>
            <a:ext cx="24384000" cy="13716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63700" y="2604598"/>
            <a:ext cx="21031200" cy="8415096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90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E531A395-5299-7D44-A1C5-492B77DA57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69182" y="12831232"/>
            <a:ext cx="392788" cy="523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38623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63700" y="2604598"/>
            <a:ext cx="21031200" cy="8415096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9000" b="1" i="0">
                <a:solidFill>
                  <a:srgbClr val="C50F3C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8399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63700" y="2604598"/>
            <a:ext cx="21031200" cy="8415096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9000"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2351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xmlns="" id="{8FCF386F-4435-1E40-A8ED-AFFEAC3031C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76400" y="7864965"/>
            <a:ext cx="21031200" cy="3790218"/>
          </a:xfrm>
          <a:ln w="3175">
            <a:noFill/>
          </a:ln>
        </p:spPr>
        <p:txBody>
          <a:bodyPr anchor="ctr"/>
          <a:lstStyle>
            <a:lvl1pPr algn="l">
              <a:lnSpc>
                <a:spcPct val="80000"/>
              </a:lnSpc>
              <a:defRPr sz="11000" b="1" i="0" spc="600">
                <a:solidFill>
                  <a:schemeClr val="bg1"/>
                </a:solidFill>
                <a:effectLst>
                  <a:outerShdw blurRad="127000" dist="38100" dir="5400000" algn="t" rotWithShape="0">
                    <a:prstClr val="black"/>
                  </a:outerShdw>
                </a:effectLst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33D4413-B16E-B048-AA99-4B9BAA9B49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69182" y="12831232"/>
            <a:ext cx="392788" cy="523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63089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24383996" cy="13716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F33E1CBD-1A22-C34C-8DC4-474E34B2CDF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" y="1914728"/>
            <a:ext cx="11879766" cy="9886544"/>
          </a:xfrm>
          <a:solidFill>
            <a:srgbClr val="C50F3C"/>
          </a:solidFill>
        </p:spPr>
        <p:txBody>
          <a:bodyPr lIns="914400" tIns="914400" rIns="914400" bIns="914400" anchor="ctr">
            <a:normAutofit/>
          </a:bodyPr>
          <a:lstStyle>
            <a:lvl1pPr algn="l">
              <a:lnSpc>
                <a:spcPct val="80000"/>
              </a:lnSpc>
              <a:defRPr sz="6400" b="1" i="0" spc="6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771017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A45C0A2E-84ED-694A-8D40-40A9466155D7}"/>
              </a:ext>
            </a:extLst>
          </p:cNvPr>
          <p:cNvSpPr/>
          <p:nvPr userDrawn="1"/>
        </p:nvSpPr>
        <p:spPr>
          <a:xfrm>
            <a:off x="1" y="0"/>
            <a:ext cx="8499566" cy="1371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990600" y="2379798"/>
            <a:ext cx="6794588" cy="8702676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10000" b="1" i="0" spc="6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CAEB27AF-DD57-7246-971E-7506C05081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13944" y="1563688"/>
            <a:ext cx="14315984" cy="10588624"/>
          </a:xfrm>
        </p:spPr>
        <p:txBody>
          <a:bodyPr anchor="ctr"/>
          <a:lstStyle>
            <a:lvl1pPr marL="914400" indent="-914400">
              <a:lnSpc>
                <a:spcPct val="110000"/>
              </a:lnSpc>
              <a:buFont typeface="+mj-lt"/>
              <a:buAutoNum type="arabicPeriod"/>
              <a:defRPr/>
            </a:lvl1pPr>
            <a:lvl2pPr marL="1600200" indent="-663576">
              <a:lnSpc>
                <a:spcPct val="110000"/>
              </a:lnSpc>
              <a:buFont typeface="+mj-lt"/>
              <a:buAutoNum type="alphaLcPeriod"/>
              <a:tabLst/>
              <a:defRPr>
                <a:solidFill>
                  <a:schemeClr val="tx1"/>
                </a:solidFill>
              </a:defRPr>
            </a:lvl2pPr>
            <a:lvl3pPr marL="1730376" indent="-685800">
              <a:buFont typeface="+mj-lt"/>
              <a:buAutoNum type="arabicPeriod"/>
              <a:defRPr/>
            </a:lvl3pPr>
            <a:lvl4pPr marL="2409826" indent="-685800">
              <a:buFont typeface="+mj-lt"/>
              <a:buAutoNum type="arabicPeriod"/>
              <a:defRPr/>
            </a:lvl4pPr>
            <a:lvl5pPr marL="2860676" indent="-457200">
              <a:buFont typeface="+mj-lt"/>
              <a:buAutoNum type="arabicPeriod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217169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990600" y="2379798"/>
            <a:ext cx="6812280" cy="8702676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64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1BB3B64-FFC3-D742-A6BD-5B3A95232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F113FFD9-00BB-A343-8353-85DCCB1A6FE5}"/>
              </a:ext>
            </a:extLst>
          </p:cNvPr>
          <p:cNvCxnSpPr>
            <a:cxnSpLocks/>
          </p:cNvCxnSpPr>
          <p:nvPr userDrawn="1"/>
        </p:nvCxnSpPr>
        <p:spPr>
          <a:xfrm>
            <a:off x="8521002" y="3257006"/>
            <a:ext cx="0" cy="694944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56E2F89F-DE6E-8E49-BDFB-6B8DE8B72A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13944" y="1600654"/>
            <a:ext cx="14315984" cy="10514692"/>
          </a:xfrm>
        </p:spPr>
        <p:txBody>
          <a:bodyPr anchor="ctr"/>
          <a:lstStyle>
            <a:lvl1pPr>
              <a:lnSpc>
                <a:spcPct val="110000"/>
              </a:lnSpc>
              <a:defRPr/>
            </a:lvl1pPr>
            <a:lvl2pPr marL="31750" indent="0">
              <a:lnSpc>
                <a:spcPct val="110000"/>
              </a:lnSpc>
              <a:buNone/>
              <a:tabLst/>
              <a:defRPr sz="3600" b="0">
                <a:solidFill>
                  <a:schemeClr val="tx1"/>
                </a:solidFill>
              </a:defRPr>
            </a:lvl2pPr>
            <a:lvl3pPr marL="574676" indent="-339726">
              <a:lnSpc>
                <a:spcPct val="110000"/>
              </a:lnSpc>
              <a:tabLst/>
              <a:defRPr sz="3200"/>
            </a:lvl3pPr>
            <a:lvl4pPr marL="1387476" indent="-339726">
              <a:lnSpc>
                <a:spcPct val="110000"/>
              </a:lnSpc>
              <a:tabLst/>
              <a:defRPr sz="28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929883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990602" y="2379798"/>
            <a:ext cx="10339040" cy="8702676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6400" b="1" i="0">
                <a:solidFill>
                  <a:srgbClr val="C50F3C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5549406C-54AA-BB4A-A894-DCE9A23B31DE}"/>
              </a:ext>
            </a:extLst>
          </p:cNvPr>
          <p:cNvSpPr/>
          <p:nvPr userDrawn="1"/>
        </p:nvSpPr>
        <p:spPr>
          <a:xfrm>
            <a:off x="12192000" y="0"/>
            <a:ext cx="12192000" cy="13716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b="0" i="0" dirty="0">
              <a:latin typeface="Proxima Nova Regular" panose="02000506030000020004" pitchFamily="2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30793998-CC84-E64D-8A94-F65145AB7F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614029" y="12801598"/>
            <a:ext cx="149183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xmlns="" id="{49485C5B-773B-DE46-85DF-AACE4DA08667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3062857" y="2379798"/>
            <a:ext cx="10106706" cy="8702676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64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 </a:t>
            </a:r>
          </a:p>
        </p:txBody>
      </p:sp>
    </p:spTree>
    <p:extLst>
      <p:ext uri="{BB962C8B-B14F-4D97-AF65-F5344CB8AC3E}">
        <p14:creationId xmlns:p14="http://schemas.microsoft.com/office/powerpoint/2010/main" val="590082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12192000" cy="13716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b="0" i="0" dirty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990601" y="2379798"/>
            <a:ext cx="10163782" cy="8702676"/>
          </a:xfrm>
          <a:ln>
            <a:noFill/>
          </a:ln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6400" b="1" i="0">
                <a:ln>
                  <a:noFill/>
                </a:ln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311BB367-3720-D040-9568-E85258049C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614029" y="12801598"/>
            <a:ext cx="149183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xmlns="" id="{889A7CD5-599F-5647-A261-6F4FC4C7C71D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3062857" y="2379798"/>
            <a:ext cx="10283526" cy="8702676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6400" b="0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1828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0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5549406C-54AA-BB4A-A894-DCE9A23B31DE}"/>
              </a:ext>
            </a:extLst>
          </p:cNvPr>
          <p:cNvSpPr/>
          <p:nvPr userDrawn="1"/>
        </p:nvSpPr>
        <p:spPr>
          <a:xfrm>
            <a:off x="12192000" y="0"/>
            <a:ext cx="12192000" cy="13716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b="0" i="0" dirty="0">
              <a:latin typeface="Proxima Nova Regular" panose="02000506030000020004" pitchFamily="2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614029" y="12801598"/>
            <a:ext cx="149183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F8C30483-00F3-D64E-AAE5-F07B9B5C01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80812" y="12817634"/>
            <a:ext cx="413184" cy="550912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A0ECE671-F431-CD4B-9BF1-7FDB1F32755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3062858" y="2379798"/>
            <a:ext cx="10283524" cy="8702676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6400" b="0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1998" cy="13716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2863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Body Level One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 numCol="2" spcCol="1098550"/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5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5032" y="730251"/>
            <a:ext cx="21945600" cy="1974038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55032" y="3885354"/>
            <a:ext cx="21945600" cy="8459048"/>
          </a:xfrm>
        </p:spPr>
        <p:txBody>
          <a:bodyPr/>
          <a:lstStyle>
            <a:lvl1pPr>
              <a:lnSpc>
                <a:spcPct val="110000"/>
              </a:lnSpc>
              <a:spcAft>
                <a:spcPts val="1600"/>
              </a:spcAft>
              <a:defRPr/>
            </a:lvl1pPr>
            <a:lvl2pPr marL="31750" indent="0">
              <a:lnSpc>
                <a:spcPct val="110000"/>
              </a:lnSpc>
              <a:buNone/>
              <a:tabLst/>
              <a:defRPr sz="3600" b="0">
                <a:solidFill>
                  <a:schemeClr val="tx1"/>
                </a:solidFill>
              </a:defRPr>
            </a:lvl2pPr>
            <a:lvl3pPr marL="574676" indent="-339726">
              <a:lnSpc>
                <a:spcPct val="110000"/>
              </a:lnSpc>
              <a:tabLst/>
              <a:defRPr sz="3200"/>
            </a:lvl3pPr>
            <a:lvl4pPr marL="1387476" indent="-339726">
              <a:lnSpc>
                <a:spcPct val="110000"/>
              </a:lnSpc>
              <a:tabLst/>
              <a:defRPr sz="28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2030" y="12801598"/>
            <a:ext cx="548640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38790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5032" y="730251"/>
            <a:ext cx="21945600" cy="1974038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tx2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55032" y="3885354"/>
            <a:ext cx="21945600" cy="8459048"/>
          </a:xfrm>
        </p:spPr>
        <p:txBody>
          <a:bodyPr/>
          <a:lstStyle>
            <a:lvl1pPr>
              <a:lnSpc>
                <a:spcPct val="110000"/>
              </a:lnSpc>
              <a:spcAft>
                <a:spcPts val="1600"/>
              </a:spcAft>
              <a:defRPr/>
            </a:lvl1pPr>
            <a:lvl2pPr marL="31750" indent="0">
              <a:lnSpc>
                <a:spcPct val="110000"/>
              </a:lnSpc>
              <a:buNone/>
              <a:tabLst/>
              <a:defRPr sz="3600" b="0">
                <a:solidFill>
                  <a:schemeClr val="tx1"/>
                </a:solidFill>
              </a:defRPr>
            </a:lvl2pPr>
            <a:lvl3pPr marL="574676" indent="-339726">
              <a:lnSpc>
                <a:spcPct val="110000"/>
              </a:lnSpc>
              <a:tabLst/>
              <a:defRPr sz="3200"/>
            </a:lvl3pPr>
            <a:lvl4pPr marL="1387476" indent="-339726">
              <a:lnSpc>
                <a:spcPct val="110000"/>
              </a:lnSpc>
              <a:tabLst/>
              <a:defRPr sz="28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2030" y="12801598"/>
            <a:ext cx="548640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34719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5032" y="730251"/>
            <a:ext cx="21945600" cy="1974038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55033" y="3885354"/>
            <a:ext cx="10799902" cy="8459048"/>
          </a:xfrm>
        </p:spPr>
        <p:txBody>
          <a:bodyPr/>
          <a:lstStyle>
            <a:lvl1pPr>
              <a:lnSpc>
                <a:spcPct val="110000"/>
              </a:lnSpc>
              <a:spcAft>
                <a:spcPts val="1600"/>
              </a:spcAft>
              <a:defRPr/>
            </a:lvl1pPr>
            <a:lvl2pPr marL="31750" indent="0">
              <a:lnSpc>
                <a:spcPct val="110000"/>
              </a:lnSpc>
              <a:buNone/>
              <a:tabLst/>
              <a:defRPr sz="3600" b="0">
                <a:solidFill>
                  <a:schemeClr val="tx1"/>
                </a:solidFill>
              </a:defRPr>
            </a:lvl2pPr>
            <a:lvl3pPr marL="574676" indent="-339726">
              <a:lnSpc>
                <a:spcPct val="110000"/>
              </a:lnSpc>
              <a:tabLst/>
              <a:defRPr sz="3200"/>
            </a:lvl3pPr>
            <a:lvl4pPr marL="1387476" indent="-339726">
              <a:lnSpc>
                <a:spcPct val="110000"/>
              </a:lnSpc>
              <a:tabLst/>
              <a:defRPr sz="28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2030" y="12801598"/>
            <a:ext cx="548640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xmlns="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2300731" y="3885354"/>
            <a:ext cx="10799902" cy="8459048"/>
          </a:xfrm>
        </p:spPr>
        <p:txBody>
          <a:bodyPr/>
          <a:lstStyle>
            <a:lvl1pPr>
              <a:lnSpc>
                <a:spcPct val="110000"/>
              </a:lnSpc>
              <a:spcAft>
                <a:spcPts val="1600"/>
              </a:spcAft>
              <a:defRPr/>
            </a:lvl1pPr>
            <a:lvl2pPr marL="31750" indent="0">
              <a:lnSpc>
                <a:spcPct val="110000"/>
              </a:lnSpc>
              <a:buNone/>
              <a:tabLst/>
              <a:defRPr sz="3600" b="0">
                <a:solidFill>
                  <a:schemeClr val="tx1"/>
                </a:solidFill>
              </a:defRPr>
            </a:lvl2pPr>
            <a:lvl3pPr marL="574676" indent="-339726">
              <a:lnSpc>
                <a:spcPct val="110000"/>
              </a:lnSpc>
              <a:tabLst/>
              <a:defRPr sz="3200"/>
            </a:lvl3pPr>
            <a:lvl4pPr marL="1387476" indent="-339726">
              <a:lnSpc>
                <a:spcPct val="110000"/>
              </a:lnSpc>
              <a:tabLst/>
              <a:defRPr sz="28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0716474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5032" y="730251"/>
            <a:ext cx="21945600" cy="1974038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55034" y="3885354"/>
            <a:ext cx="7033316" cy="8459048"/>
          </a:xfrm>
        </p:spPr>
        <p:txBody>
          <a:bodyPr/>
          <a:lstStyle>
            <a:lvl1pPr>
              <a:lnSpc>
                <a:spcPct val="110000"/>
              </a:lnSpc>
              <a:spcAft>
                <a:spcPts val="1600"/>
              </a:spcAft>
              <a:defRPr/>
            </a:lvl1pPr>
            <a:lvl2pPr marL="31750" indent="0">
              <a:lnSpc>
                <a:spcPct val="110000"/>
              </a:lnSpc>
              <a:buNone/>
              <a:tabLst/>
              <a:defRPr sz="3600" b="0">
                <a:solidFill>
                  <a:schemeClr val="tx1"/>
                </a:solidFill>
              </a:defRPr>
            </a:lvl2pPr>
            <a:lvl3pPr marL="574676" indent="-339726">
              <a:lnSpc>
                <a:spcPct val="110000"/>
              </a:lnSpc>
              <a:tabLst/>
              <a:defRPr sz="3200"/>
            </a:lvl3pPr>
            <a:lvl4pPr marL="1387476" indent="-339726">
              <a:lnSpc>
                <a:spcPct val="110000"/>
              </a:lnSpc>
              <a:tabLst/>
              <a:defRPr sz="28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2030" y="12801598"/>
            <a:ext cx="548640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xmlns="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611174" y="3885354"/>
            <a:ext cx="7033316" cy="8459048"/>
          </a:xfrm>
        </p:spPr>
        <p:txBody>
          <a:bodyPr/>
          <a:lstStyle>
            <a:lvl1pPr>
              <a:lnSpc>
                <a:spcPct val="110000"/>
              </a:lnSpc>
              <a:spcAft>
                <a:spcPts val="1600"/>
              </a:spcAft>
              <a:defRPr/>
            </a:lvl1pPr>
            <a:lvl2pPr marL="31750" indent="0">
              <a:lnSpc>
                <a:spcPct val="110000"/>
              </a:lnSpc>
              <a:buNone/>
              <a:tabLst/>
              <a:defRPr sz="3600" b="0">
                <a:solidFill>
                  <a:schemeClr val="tx1"/>
                </a:solidFill>
              </a:defRPr>
            </a:lvl2pPr>
            <a:lvl3pPr marL="574676" indent="-339726">
              <a:lnSpc>
                <a:spcPct val="110000"/>
              </a:lnSpc>
              <a:tabLst/>
              <a:defRPr sz="3200"/>
            </a:lvl3pPr>
            <a:lvl4pPr marL="1387476" indent="-339726">
              <a:lnSpc>
                <a:spcPct val="110000"/>
              </a:lnSpc>
              <a:tabLst/>
              <a:defRPr sz="28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xmlns="" id="{CC246391-91B4-BC47-A6BA-88CFDDCA116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16067316" y="3885354"/>
            <a:ext cx="7033316" cy="8459048"/>
          </a:xfrm>
        </p:spPr>
        <p:txBody>
          <a:bodyPr/>
          <a:lstStyle>
            <a:lvl1pPr>
              <a:lnSpc>
                <a:spcPct val="110000"/>
              </a:lnSpc>
              <a:spcAft>
                <a:spcPts val="1600"/>
              </a:spcAft>
              <a:defRPr/>
            </a:lvl1pPr>
            <a:lvl2pPr marL="31750" indent="0">
              <a:lnSpc>
                <a:spcPct val="110000"/>
              </a:lnSpc>
              <a:buNone/>
              <a:tabLst/>
              <a:defRPr sz="3600" b="0">
                <a:solidFill>
                  <a:schemeClr val="tx1"/>
                </a:solidFill>
              </a:defRPr>
            </a:lvl2pPr>
            <a:lvl3pPr marL="574676" indent="-339726">
              <a:lnSpc>
                <a:spcPct val="110000"/>
              </a:lnSpc>
              <a:tabLst/>
              <a:defRPr sz="3200"/>
            </a:lvl3pPr>
            <a:lvl4pPr marL="1387476" indent="-339726">
              <a:lnSpc>
                <a:spcPct val="110000"/>
              </a:lnSpc>
              <a:tabLst/>
              <a:defRPr sz="28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923263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550E1FAF-85CD-FA4B-81FE-A9FD82D22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F7216341-DBB4-0D4B-B285-B706134D81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0241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ackground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626915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728072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7447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Point -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3E778F8C-30DF-F842-ADEE-52BB756B5D43}"/>
              </a:ext>
            </a:extLst>
          </p:cNvPr>
          <p:cNvSpPr/>
          <p:nvPr userDrawn="1"/>
        </p:nvSpPr>
        <p:spPr>
          <a:xfrm>
            <a:off x="2" y="2"/>
            <a:ext cx="24384000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63700" y="2604598"/>
            <a:ext cx="21031200" cy="8415096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9000" b="1" i="0">
                <a:solidFill>
                  <a:srgbClr val="C50F3C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6772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Point -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3E778F8C-30DF-F842-ADEE-52BB756B5D43}"/>
              </a:ext>
            </a:extLst>
          </p:cNvPr>
          <p:cNvSpPr/>
          <p:nvPr userDrawn="1"/>
        </p:nvSpPr>
        <p:spPr>
          <a:xfrm>
            <a:off x="2" y="2"/>
            <a:ext cx="24384000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63700" y="2604598"/>
            <a:ext cx="21031200" cy="8415096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9000"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9883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lide Subtitl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06500" y="2372962"/>
            <a:ext cx="9779000" cy="93478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r>
              <a:t>Slide Subtitle</a:t>
            </a:r>
          </a:p>
        </p:txBody>
      </p:sp>
      <p:sp>
        <p:nvSpPr>
          <p:cNvPr id="61" name="Body Level One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1206500" y="4248504"/>
            <a:ext cx="9779000" cy="8256630"/>
          </a:xfrm>
          <a:prstGeom prst="rect">
            <a:avLst/>
          </a:prstGeom>
        </p:spPr>
        <p:txBody>
          <a:bodyPr/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62" name="660384004_1290x1720.jpg"/>
          <p:cNvSpPr>
            <a:spLocks noGrp="1"/>
          </p:cNvSpPr>
          <p:nvPr>
            <p:ph type="pic" idx="22"/>
          </p:nvPr>
        </p:nvSpPr>
        <p:spPr>
          <a:xfrm>
            <a:off x="12192000" y="-407266"/>
            <a:ext cx="10916874" cy="14555832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3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1206500" y="1079500"/>
            <a:ext cx="9779000" cy="1435100"/>
          </a:xfrm>
          <a:prstGeom prst="rect">
            <a:avLst/>
          </a:prstGeom>
        </p:spPr>
        <p:txBody>
          <a:bodyPr/>
          <a:lstStyle/>
          <a:p>
            <a:r>
              <a:t>Slide Title</a:t>
            </a:r>
          </a:p>
        </p:txBody>
      </p:sp>
      <p:sp>
        <p:nvSpPr>
          <p:cNvPr id="6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/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5C5E49E7-6ADE-DD40-AD32-5A28176B24BC}"/>
              </a:ext>
            </a:extLst>
          </p:cNvPr>
          <p:cNvSpPr/>
          <p:nvPr userDrawn="1"/>
        </p:nvSpPr>
        <p:spPr>
          <a:xfrm>
            <a:off x="8499566" y="0"/>
            <a:ext cx="15884436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A45C0A2E-84ED-694A-8D40-40A9466155D7}"/>
              </a:ext>
            </a:extLst>
          </p:cNvPr>
          <p:cNvSpPr/>
          <p:nvPr userDrawn="1"/>
        </p:nvSpPr>
        <p:spPr>
          <a:xfrm>
            <a:off x="1" y="0"/>
            <a:ext cx="8499566" cy="1371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990600" y="2379798"/>
            <a:ext cx="6794588" cy="8702676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10000" b="1" i="0" spc="6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CAEB27AF-DD57-7246-971E-7506C05081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13944" y="1563688"/>
            <a:ext cx="14315984" cy="10588624"/>
          </a:xfrm>
        </p:spPr>
        <p:txBody>
          <a:bodyPr anchor="ctr"/>
          <a:lstStyle>
            <a:lvl1pPr marL="914400" indent="-914400">
              <a:lnSpc>
                <a:spcPct val="110000"/>
              </a:lnSpc>
              <a:buFont typeface="+mj-lt"/>
              <a:buAutoNum type="arabicPeriod"/>
              <a:defRPr/>
            </a:lvl1pPr>
            <a:lvl2pPr marL="1600200" indent="-663576">
              <a:lnSpc>
                <a:spcPct val="110000"/>
              </a:lnSpc>
              <a:buFont typeface="+mj-lt"/>
              <a:buAutoNum type="alphaLcPeriod"/>
              <a:tabLst/>
              <a:defRPr>
                <a:solidFill>
                  <a:schemeClr val="tx1"/>
                </a:solidFill>
              </a:defRPr>
            </a:lvl2pPr>
            <a:lvl3pPr marL="1730376" indent="-685800">
              <a:buFont typeface="+mj-lt"/>
              <a:buAutoNum type="arabicPeriod"/>
              <a:defRPr/>
            </a:lvl3pPr>
            <a:lvl4pPr marL="2409826" indent="-685800">
              <a:buFont typeface="+mj-lt"/>
              <a:buAutoNum type="arabicPeriod"/>
              <a:defRPr/>
            </a:lvl4pPr>
            <a:lvl5pPr marL="2860676" indent="-457200">
              <a:buFont typeface="+mj-lt"/>
              <a:buAutoNum type="arabicPeriod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835875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 -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8F91D0A4-F952-E844-8B2C-D3F8A2A9AD6F}"/>
              </a:ext>
            </a:extLst>
          </p:cNvPr>
          <p:cNvSpPr/>
          <p:nvPr userDrawn="1"/>
        </p:nvSpPr>
        <p:spPr>
          <a:xfrm>
            <a:off x="2" y="2"/>
            <a:ext cx="24384000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990600" y="2379798"/>
            <a:ext cx="6812280" cy="8702676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64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1BB3B64-FFC3-D742-A6BD-5B3A95232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F113FFD9-00BB-A343-8353-85DCCB1A6FE5}"/>
              </a:ext>
            </a:extLst>
          </p:cNvPr>
          <p:cNvCxnSpPr>
            <a:cxnSpLocks/>
          </p:cNvCxnSpPr>
          <p:nvPr userDrawn="1"/>
        </p:nvCxnSpPr>
        <p:spPr>
          <a:xfrm>
            <a:off x="8521002" y="3257006"/>
            <a:ext cx="0" cy="694944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56E2F89F-DE6E-8E49-BDFB-6B8DE8B72A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13944" y="1600654"/>
            <a:ext cx="14315984" cy="10514692"/>
          </a:xfrm>
        </p:spPr>
        <p:txBody>
          <a:bodyPr anchor="ctr"/>
          <a:lstStyle>
            <a:lvl1pPr>
              <a:lnSpc>
                <a:spcPct val="110000"/>
              </a:lnSpc>
              <a:defRPr/>
            </a:lvl1pPr>
            <a:lvl2pPr marL="31750" indent="0">
              <a:lnSpc>
                <a:spcPct val="110000"/>
              </a:lnSpc>
              <a:buNone/>
              <a:tabLst/>
              <a:defRPr sz="3600" b="0">
                <a:solidFill>
                  <a:schemeClr val="tx1"/>
                </a:solidFill>
              </a:defRPr>
            </a:lvl2pPr>
            <a:lvl3pPr marL="574676" indent="-339726">
              <a:lnSpc>
                <a:spcPct val="110000"/>
              </a:lnSpc>
              <a:tabLst/>
              <a:defRPr sz="3200"/>
            </a:lvl3pPr>
            <a:lvl4pPr marL="1387476" indent="-339726">
              <a:lnSpc>
                <a:spcPct val="110000"/>
              </a:lnSpc>
              <a:tabLst/>
              <a:defRPr sz="28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3992787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12192000" cy="13716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b="0" i="0" dirty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990601" y="2379798"/>
            <a:ext cx="10163782" cy="8702676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6400" b="1" i="0">
                <a:solidFill>
                  <a:srgbClr val="C50F3C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2030" y="12801598"/>
            <a:ext cx="548640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3229618" y="2379798"/>
            <a:ext cx="10301684" cy="8702676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64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38203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12192000" cy="13716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b="0" i="0" dirty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990601" y="2379798"/>
            <a:ext cx="10163782" cy="8702676"/>
          </a:xfrm>
          <a:ln>
            <a:noFill/>
          </a:ln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6400" b="1" i="0">
                <a:ln>
                  <a:noFill/>
                </a:ln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2030" y="12801598"/>
            <a:ext cx="548640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3229618" y="2379798"/>
            <a:ext cx="10301684" cy="8702676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64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433015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191999" y="0"/>
            <a:ext cx="12191998" cy="13716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12192000" cy="13716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b="0" i="0" dirty="0">
              <a:latin typeface="Proxima Nova Regular" panose="02000506030000020004" pitchFamily="2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2029" y="12801598"/>
            <a:ext cx="149183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F8C30483-00F3-D64E-AAE5-F07B9B5C01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8812" y="12817634"/>
            <a:ext cx="413184" cy="550912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A0ECE671-F431-CD4B-9BF1-7FDB1F32755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990601" y="2379798"/>
            <a:ext cx="10163782" cy="8702676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64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985935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72BF970B-3FB2-E84A-B70E-2F82C3C4236F}"/>
              </a:ext>
            </a:extLst>
          </p:cNvPr>
          <p:cNvSpPr/>
          <p:nvPr userDrawn="1"/>
        </p:nvSpPr>
        <p:spPr>
          <a:xfrm>
            <a:off x="2" y="2"/>
            <a:ext cx="24384000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5032" y="730251"/>
            <a:ext cx="21945600" cy="1974038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55032" y="3885354"/>
            <a:ext cx="21945600" cy="8459048"/>
          </a:xfrm>
        </p:spPr>
        <p:txBody>
          <a:bodyPr/>
          <a:lstStyle>
            <a:lvl1pPr>
              <a:lnSpc>
                <a:spcPct val="110000"/>
              </a:lnSpc>
              <a:spcAft>
                <a:spcPts val="1600"/>
              </a:spcAft>
              <a:defRPr/>
            </a:lvl1pPr>
            <a:lvl2pPr marL="31750" indent="0">
              <a:lnSpc>
                <a:spcPct val="110000"/>
              </a:lnSpc>
              <a:buNone/>
              <a:tabLst/>
              <a:defRPr sz="3600" b="0">
                <a:solidFill>
                  <a:schemeClr val="tx1"/>
                </a:solidFill>
              </a:defRPr>
            </a:lvl2pPr>
            <a:lvl3pPr marL="574676" indent="-339726">
              <a:lnSpc>
                <a:spcPct val="110000"/>
              </a:lnSpc>
              <a:tabLst/>
              <a:defRPr sz="3200"/>
            </a:lvl3pPr>
            <a:lvl4pPr marL="1387476" indent="-339726">
              <a:lnSpc>
                <a:spcPct val="110000"/>
              </a:lnSpc>
              <a:tabLst/>
              <a:defRPr sz="28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2030" y="12801598"/>
            <a:ext cx="548640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05867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72BF970B-3FB2-E84A-B70E-2F82C3C4236F}"/>
              </a:ext>
            </a:extLst>
          </p:cNvPr>
          <p:cNvSpPr/>
          <p:nvPr userDrawn="1"/>
        </p:nvSpPr>
        <p:spPr>
          <a:xfrm>
            <a:off x="2" y="2"/>
            <a:ext cx="24384000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5032" y="730251"/>
            <a:ext cx="21945600" cy="1974038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55033" y="3885354"/>
            <a:ext cx="10799902" cy="8459048"/>
          </a:xfrm>
        </p:spPr>
        <p:txBody>
          <a:bodyPr/>
          <a:lstStyle>
            <a:lvl1pPr>
              <a:lnSpc>
                <a:spcPct val="110000"/>
              </a:lnSpc>
              <a:spcAft>
                <a:spcPts val="1600"/>
              </a:spcAft>
              <a:defRPr/>
            </a:lvl1pPr>
            <a:lvl2pPr marL="31750" indent="0">
              <a:lnSpc>
                <a:spcPct val="110000"/>
              </a:lnSpc>
              <a:buNone/>
              <a:tabLst/>
              <a:defRPr sz="3600" b="0">
                <a:solidFill>
                  <a:schemeClr val="tx1"/>
                </a:solidFill>
              </a:defRPr>
            </a:lvl2pPr>
            <a:lvl3pPr marL="574676" indent="-339726">
              <a:lnSpc>
                <a:spcPct val="110000"/>
              </a:lnSpc>
              <a:tabLst/>
              <a:defRPr sz="3200"/>
            </a:lvl3pPr>
            <a:lvl4pPr marL="1387476" indent="-339726">
              <a:lnSpc>
                <a:spcPct val="110000"/>
              </a:lnSpc>
              <a:tabLst/>
              <a:defRPr sz="28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2030" y="12801598"/>
            <a:ext cx="548640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xmlns="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2300731" y="3885354"/>
            <a:ext cx="10799902" cy="8459048"/>
          </a:xfrm>
        </p:spPr>
        <p:txBody>
          <a:bodyPr/>
          <a:lstStyle>
            <a:lvl1pPr>
              <a:lnSpc>
                <a:spcPct val="110000"/>
              </a:lnSpc>
              <a:spcAft>
                <a:spcPts val="1600"/>
              </a:spcAft>
              <a:defRPr/>
            </a:lvl1pPr>
            <a:lvl2pPr marL="31750" indent="0">
              <a:lnSpc>
                <a:spcPct val="110000"/>
              </a:lnSpc>
              <a:buNone/>
              <a:tabLst/>
              <a:defRPr sz="3600" b="0">
                <a:solidFill>
                  <a:schemeClr val="tx1"/>
                </a:solidFill>
              </a:defRPr>
            </a:lvl2pPr>
            <a:lvl3pPr marL="574676" indent="-339726">
              <a:lnSpc>
                <a:spcPct val="110000"/>
              </a:lnSpc>
              <a:tabLst/>
              <a:defRPr sz="3200"/>
            </a:lvl3pPr>
            <a:lvl4pPr marL="1387476" indent="-339726">
              <a:lnSpc>
                <a:spcPct val="110000"/>
              </a:lnSpc>
              <a:tabLst/>
              <a:defRPr sz="28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0886368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72BF970B-3FB2-E84A-B70E-2F82C3C4236F}"/>
              </a:ext>
            </a:extLst>
          </p:cNvPr>
          <p:cNvSpPr/>
          <p:nvPr userDrawn="1"/>
        </p:nvSpPr>
        <p:spPr>
          <a:xfrm>
            <a:off x="2" y="2"/>
            <a:ext cx="24384000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5032" y="730251"/>
            <a:ext cx="21945600" cy="1974038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55034" y="3885354"/>
            <a:ext cx="7033316" cy="8459048"/>
          </a:xfrm>
        </p:spPr>
        <p:txBody>
          <a:bodyPr/>
          <a:lstStyle>
            <a:lvl1pPr>
              <a:lnSpc>
                <a:spcPct val="110000"/>
              </a:lnSpc>
              <a:spcAft>
                <a:spcPts val="1600"/>
              </a:spcAft>
              <a:defRPr/>
            </a:lvl1pPr>
            <a:lvl2pPr marL="31750" indent="0">
              <a:lnSpc>
                <a:spcPct val="110000"/>
              </a:lnSpc>
              <a:buNone/>
              <a:tabLst/>
              <a:defRPr sz="3600" b="0">
                <a:solidFill>
                  <a:schemeClr val="tx1"/>
                </a:solidFill>
              </a:defRPr>
            </a:lvl2pPr>
            <a:lvl3pPr marL="574676" indent="-339726">
              <a:lnSpc>
                <a:spcPct val="110000"/>
              </a:lnSpc>
              <a:tabLst/>
              <a:defRPr sz="3200"/>
            </a:lvl3pPr>
            <a:lvl4pPr marL="1387476" indent="-339726">
              <a:lnSpc>
                <a:spcPct val="110000"/>
              </a:lnSpc>
              <a:tabLst/>
              <a:defRPr sz="28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2030" y="12801598"/>
            <a:ext cx="548640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xmlns="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611174" y="3885354"/>
            <a:ext cx="7033316" cy="8459048"/>
          </a:xfrm>
        </p:spPr>
        <p:txBody>
          <a:bodyPr/>
          <a:lstStyle>
            <a:lvl1pPr>
              <a:lnSpc>
                <a:spcPct val="110000"/>
              </a:lnSpc>
              <a:spcAft>
                <a:spcPts val="1600"/>
              </a:spcAft>
              <a:defRPr/>
            </a:lvl1pPr>
            <a:lvl2pPr marL="31750" indent="0">
              <a:lnSpc>
                <a:spcPct val="110000"/>
              </a:lnSpc>
              <a:buNone/>
              <a:tabLst/>
              <a:defRPr sz="3600" b="0">
                <a:solidFill>
                  <a:schemeClr val="tx1"/>
                </a:solidFill>
              </a:defRPr>
            </a:lvl2pPr>
            <a:lvl3pPr marL="574676" indent="-339726">
              <a:lnSpc>
                <a:spcPct val="110000"/>
              </a:lnSpc>
              <a:tabLst/>
              <a:defRPr sz="3200"/>
            </a:lvl3pPr>
            <a:lvl4pPr marL="1387476" indent="-339726">
              <a:lnSpc>
                <a:spcPct val="110000"/>
              </a:lnSpc>
              <a:tabLst/>
              <a:defRPr sz="28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xmlns="" id="{CC246391-91B4-BC47-A6BA-88CFDDCA116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16067316" y="3885354"/>
            <a:ext cx="7033316" cy="8459048"/>
          </a:xfrm>
        </p:spPr>
        <p:txBody>
          <a:bodyPr/>
          <a:lstStyle>
            <a:lvl1pPr>
              <a:lnSpc>
                <a:spcPct val="110000"/>
              </a:lnSpc>
              <a:spcAft>
                <a:spcPts val="1600"/>
              </a:spcAft>
              <a:defRPr/>
            </a:lvl1pPr>
            <a:lvl2pPr marL="31750" indent="0">
              <a:lnSpc>
                <a:spcPct val="110000"/>
              </a:lnSpc>
              <a:buNone/>
              <a:tabLst/>
              <a:defRPr sz="3600" b="0">
                <a:solidFill>
                  <a:schemeClr val="tx1"/>
                </a:solidFill>
              </a:defRPr>
            </a:lvl2pPr>
            <a:lvl3pPr marL="574676" indent="-339726">
              <a:lnSpc>
                <a:spcPct val="110000"/>
              </a:lnSpc>
              <a:tabLst/>
              <a:defRPr sz="3200"/>
            </a:lvl3pPr>
            <a:lvl4pPr marL="1387476" indent="-339726">
              <a:lnSpc>
                <a:spcPct val="110000"/>
              </a:lnSpc>
              <a:tabLst/>
              <a:defRPr sz="28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4897464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y -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72BF970B-3FB2-E84A-B70E-2F82C3C4236F}"/>
              </a:ext>
            </a:extLst>
          </p:cNvPr>
          <p:cNvSpPr/>
          <p:nvPr userDrawn="1"/>
        </p:nvSpPr>
        <p:spPr>
          <a:xfrm>
            <a:off x="2" y="2"/>
            <a:ext cx="24384000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2030" y="12801598"/>
            <a:ext cx="548640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085012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2EB29E5-578C-4AE6-A748-38B7051EE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D87C007A-F6FE-4AF1-BCB3-C90ED48F6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69738F1B-7820-4047-A84C-2143B63B2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C8295B53-5942-4582-B823-E383E640EB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CC1BA7-7630-4029-9399-FD4F3D53A0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90606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Section Title"/>
          <p:cNvSpPr txBox="1">
            <a:spLocks noGrp="1"/>
          </p:cNvSpPr>
          <p:nvPr>
            <p:ph type="title" hasCustomPrompt="1"/>
          </p:nvPr>
        </p:nvSpPr>
        <p:spPr>
          <a:xfrm>
            <a:off x="1206496" y="4533900"/>
            <a:ext cx="21971004" cy="4648200"/>
          </a:xfrm>
          <a:prstGeom prst="rect">
            <a:avLst/>
          </a:prstGeom>
        </p:spPr>
        <p:txBody>
          <a:bodyPr anchor="ctr"/>
          <a:lstStyle>
            <a:lvl1pPr>
              <a:defRPr sz="11600" spc="-232"/>
            </a:lvl1pPr>
          </a:lstStyle>
          <a:p>
            <a:r>
              <a:t>Section Title</a:t>
            </a:r>
          </a:p>
        </p:txBody>
      </p:sp>
      <p:sp>
        <p:nvSpPr>
          <p:cNvPr id="7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2001465" y="13078832"/>
            <a:ext cx="368573" cy="3810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5032" y="730251"/>
            <a:ext cx="21945600" cy="1974038"/>
          </a:xfrm>
        </p:spPr>
        <p:txBody>
          <a:bodyPr/>
          <a:lstStyle>
            <a:lvl1pPr>
              <a:lnSpc>
                <a:spcPct val="80000"/>
              </a:lnSpc>
              <a:defRPr>
                <a:solidFill>
                  <a:srgbClr val="C50F3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2030" y="12801598"/>
            <a:ext cx="548640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74426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9868705D-D306-3044-AB3E-9550C37B4F1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99455" y="5776914"/>
            <a:ext cx="690742" cy="646112"/>
          </a:xfr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sz="1200" b="0" i="0">
                <a:latin typeface="Lato Light" panose="020F0302020204030203" pitchFamily="34" charset="77"/>
              </a:defRPr>
            </a:lvl1pPr>
          </a:lstStyle>
          <a:p>
            <a:endParaRPr lang="x-none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xmlns="" id="{592C6AA0-D312-F948-810E-C69B2B694E0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919585" y="7427294"/>
            <a:ext cx="690742" cy="646112"/>
          </a:xfrm>
          <a:solidFill>
            <a:schemeClr val="accent2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sz="1200" b="0" i="0">
                <a:latin typeface="Lato Light" panose="020F0302020204030203" pitchFamily="34" charset="77"/>
              </a:defRPr>
            </a:lvl1pPr>
          </a:lstStyle>
          <a:p>
            <a:endParaRPr lang="x-none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xmlns="" id="{88A7E03B-C183-C14E-B0EC-E46E29C594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440417" y="9189188"/>
            <a:ext cx="690742" cy="646112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sz="1200" b="0" i="0">
                <a:latin typeface="Lato Light" panose="020F0302020204030203" pitchFamily="34" charset="77"/>
              </a:defRPr>
            </a:lvl1pPr>
          </a:lstStyle>
          <a:p>
            <a:endParaRPr lang="x-none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xmlns="" id="{58901E7A-AF26-CA4A-A3BC-A89E9216B3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388977" y="10906474"/>
            <a:ext cx="690742" cy="646112"/>
          </a:xfrm>
          <a:solidFill>
            <a:schemeClr val="accent4">
              <a:lumMod val="20000"/>
              <a:lumOff val="80000"/>
            </a:schemeClr>
          </a:solidFill>
        </p:spPr>
        <p:txBody>
          <a:bodyPr anchor="ctr"/>
          <a:lstStyle>
            <a:lvl1pPr algn="ctr">
              <a:defRPr sz="1200" b="0" i="0">
                <a:latin typeface="Lato Light" panose="020F0302020204030203" pitchFamily="34" charset="77"/>
              </a:defRPr>
            </a:lvl1pPr>
          </a:lstStyle>
          <a:p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92844668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43CA030-B9BB-F44B-87E8-9D88D615959F}"/>
              </a:ext>
            </a:extLst>
          </p:cNvPr>
          <p:cNvSpPr/>
          <p:nvPr/>
        </p:nvSpPr>
        <p:spPr>
          <a:xfrm>
            <a:off x="0" y="0"/>
            <a:ext cx="24384000" cy="1371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19200" y="3316498"/>
            <a:ext cx="20116800" cy="4775200"/>
          </a:xfrm>
        </p:spPr>
        <p:txBody>
          <a:bodyPr anchor="b"/>
          <a:lstStyle>
            <a:lvl1pPr algn="l">
              <a:lnSpc>
                <a:spcPct val="80000"/>
              </a:lnSpc>
              <a:defRPr sz="10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19200" y="8155772"/>
            <a:ext cx="20116800" cy="3311524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3000" b="0" i="0" kern="800" spc="6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1776B36C-1ADE-4B47-A218-99AEE676BE5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69182" y="12831232"/>
            <a:ext cx="392788" cy="5237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2B0F7620-0E7C-AB48-9117-2E580F93F8F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6558" y="1275798"/>
            <a:ext cx="3587652" cy="993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32654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43CA030-B9BB-F44B-87E8-9D88D615959F}"/>
              </a:ext>
            </a:extLst>
          </p:cNvPr>
          <p:cNvSpPr/>
          <p:nvPr/>
        </p:nvSpPr>
        <p:spPr>
          <a:xfrm>
            <a:off x="0" y="0"/>
            <a:ext cx="24384000" cy="1371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19200" y="3316498"/>
            <a:ext cx="20116800" cy="4775200"/>
          </a:xfrm>
        </p:spPr>
        <p:txBody>
          <a:bodyPr anchor="b"/>
          <a:lstStyle>
            <a:lvl1pPr algn="l">
              <a:lnSpc>
                <a:spcPct val="80000"/>
              </a:lnSpc>
              <a:defRPr sz="10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19200" y="8155772"/>
            <a:ext cx="20116800" cy="3311524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3000" b="0" i="0" kern="800" spc="6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1776B36C-1ADE-4B47-A218-99AEE676BE5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69182" y="12831232"/>
            <a:ext cx="392788" cy="5237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2B0F7620-0E7C-AB48-9117-2E580F93F8F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6558" y="1275798"/>
            <a:ext cx="3587652" cy="993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11595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 - Red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3E778F8C-30DF-F842-ADEE-52BB756B5D43}"/>
              </a:ext>
            </a:extLst>
          </p:cNvPr>
          <p:cNvSpPr/>
          <p:nvPr/>
        </p:nvSpPr>
        <p:spPr>
          <a:xfrm>
            <a:off x="2" y="2"/>
            <a:ext cx="24384000" cy="1371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63700" y="2604598"/>
            <a:ext cx="21031200" cy="8415096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90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E531A395-5299-7D44-A1C5-492B77DA57B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69182" y="12831232"/>
            <a:ext cx="392788" cy="52371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F08880F-2D4A-9544-A50E-C5BA3EADCBB5}"/>
              </a:ext>
            </a:extLst>
          </p:cNvPr>
          <p:cNvSpPr txBox="1">
            <a:spLocks/>
          </p:cNvSpPr>
          <p:nvPr/>
        </p:nvSpPr>
        <p:spPr>
          <a:xfrm>
            <a:off x="9400674" y="12801598"/>
            <a:ext cx="5486400" cy="582984"/>
          </a:xfrm>
          <a:prstGeom prst="rect">
            <a:avLst/>
          </a:prstGeom>
        </p:spPr>
        <p:txBody>
          <a:bodyPr vert="horz" lIns="182880" tIns="91440" rIns="18288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4229721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 - 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3E778F8C-30DF-F842-ADEE-52BB756B5D43}"/>
              </a:ext>
            </a:extLst>
          </p:cNvPr>
          <p:cNvSpPr/>
          <p:nvPr/>
        </p:nvSpPr>
        <p:spPr>
          <a:xfrm>
            <a:off x="2" y="2"/>
            <a:ext cx="24384000" cy="13716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63700" y="2604598"/>
            <a:ext cx="21031200" cy="8415096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90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98687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 -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3E778F8C-30DF-F842-ADEE-52BB756B5D43}"/>
              </a:ext>
            </a:extLst>
          </p:cNvPr>
          <p:cNvSpPr/>
          <p:nvPr/>
        </p:nvSpPr>
        <p:spPr>
          <a:xfrm>
            <a:off x="2" y="2"/>
            <a:ext cx="24384000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63700" y="2604598"/>
            <a:ext cx="21031200" cy="8415096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9000" b="1" i="0">
                <a:solidFill>
                  <a:srgbClr val="C50F3C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E4C15627-71F4-D94E-9E76-16A5E0A7B8E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77699E1-1B62-794A-94A6-68D1CF83160F}"/>
              </a:ext>
            </a:extLst>
          </p:cNvPr>
          <p:cNvSpPr txBox="1">
            <a:spLocks/>
          </p:cNvSpPr>
          <p:nvPr/>
        </p:nvSpPr>
        <p:spPr>
          <a:xfrm>
            <a:off x="9400674" y="12801598"/>
            <a:ext cx="5486400" cy="582984"/>
          </a:xfrm>
          <a:prstGeom prst="rect">
            <a:avLst/>
          </a:prstGeom>
        </p:spPr>
        <p:txBody>
          <a:bodyPr vert="horz" lIns="182880" tIns="91440" rIns="18288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73028033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 -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3E778F8C-30DF-F842-ADEE-52BB756B5D43}"/>
              </a:ext>
            </a:extLst>
          </p:cNvPr>
          <p:cNvSpPr/>
          <p:nvPr/>
        </p:nvSpPr>
        <p:spPr>
          <a:xfrm>
            <a:off x="2" y="2"/>
            <a:ext cx="24384000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63700" y="2604598"/>
            <a:ext cx="21031200" cy="8415096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9000"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E4C15627-71F4-D94E-9E76-16A5E0A7B8E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77699E1-1B62-794A-94A6-68D1CF83160F}"/>
              </a:ext>
            </a:extLst>
          </p:cNvPr>
          <p:cNvSpPr txBox="1">
            <a:spLocks/>
          </p:cNvSpPr>
          <p:nvPr/>
        </p:nvSpPr>
        <p:spPr>
          <a:xfrm>
            <a:off x="9400674" y="12801598"/>
            <a:ext cx="5486400" cy="582984"/>
          </a:xfrm>
          <a:prstGeom prst="rect">
            <a:avLst/>
          </a:prstGeom>
        </p:spPr>
        <p:txBody>
          <a:bodyPr vert="horz" lIns="182880" tIns="91440" rIns="18288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223325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xmlns="" id="{8FCF386F-4435-1E40-A8ED-AFFEAC3031C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0" cy="13716000"/>
          </a:xfrm>
        </p:spPr>
        <p:txBody>
          <a:bodyPr/>
          <a:lstStyle/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76400" y="7864965"/>
            <a:ext cx="21031200" cy="3790218"/>
          </a:xfrm>
          <a:ln w="3175">
            <a:noFill/>
          </a:ln>
        </p:spPr>
        <p:txBody>
          <a:bodyPr anchor="ctr"/>
          <a:lstStyle>
            <a:lvl1pPr algn="l">
              <a:lnSpc>
                <a:spcPct val="80000"/>
              </a:lnSpc>
              <a:defRPr sz="11000" b="1" i="0" spc="600">
                <a:solidFill>
                  <a:schemeClr val="bg1"/>
                </a:solidFill>
                <a:effectLst>
                  <a:outerShdw blurRad="127000" dist="38100" dir="5400000" algn="t" rotWithShape="0">
                    <a:prstClr val="black"/>
                  </a:outerShdw>
                </a:effectLst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33D4413-B16E-B048-AA99-4B9BAA9B49B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69182" y="12831232"/>
            <a:ext cx="392788" cy="523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54707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24383996" cy="13716000"/>
          </a:xfrm>
        </p:spPr>
        <p:txBody>
          <a:bodyPr/>
          <a:lstStyle/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F33E1CBD-1A22-C34C-8DC4-474E34B2CDF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" y="1914728"/>
            <a:ext cx="11879766" cy="9886544"/>
          </a:xfrm>
          <a:solidFill>
            <a:srgbClr val="C50F3C"/>
          </a:solidFill>
        </p:spPr>
        <p:txBody>
          <a:bodyPr lIns="914400" tIns="914400" rIns="914400" bIns="914400" anchor="ctr">
            <a:normAutofit/>
          </a:bodyPr>
          <a:lstStyle>
            <a:lvl1pPr algn="l">
              <a:lnSpc>
                <a:spcPct val="80000"/>
              </a:lnSpc>
              <a:defRPr sz="6400" b="1" i="0" spc="6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71302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Agenda Title"/>
          <p:cNvSpPr txBox="1">
            <a:spLocks noGrp="1"/>
          </p:cNvSpPr>
          <p:nvPr>
            <p:ph type="title" hasCustomPrompt="1"/>
          </p:nvPr>
        </p:nvSpPr>
        <p:spPr>
          <a:xfrm>
            <a:off x="1206500" y="1079500"/>
            <a:ext cx="21971000" cy="1435100"/>
          </a:xfrm>
          <a:prstGeom prst="rect">
            <a:avLst/>
          </a:prstGeom>
        </p:spPr>
        <p:txBody>
          <a:bodyPr/>
          <a:lstStyle/>
          <a:p>
            <a:r>
              <a:t>Agenda Title</a:t>
            </a:r>
          </a:p>
        </p:txBody>
      </p:sp>
      <p:sp>
        <p:nvSpPr>
          <p:cNvPr id="89" name="Agenda Subtitl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06500" y="2372962"/>
            <a:ext cx="21971000" cy="93478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r>
              <a:t>Agenda Subtitle</a:t>
            </a:r>
          </a:p>
        </p:txBody>
      </p:sp>
      <p:sp>
        <p:nvSpPr>
          <p:cNvPr id="90" name="Body Level One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>
            <a:lvl1pPr marL="0" indent="0" defTabSz="825500">
              <a:lnSpc>
                <a:spcPct val="100000"/>
              </a:lnSpc>
              <a:spcBef>
                <a:spcPts val="1800"/>
              </a:spcBef>
              <a:buSzTx/>
              <a:buNone/>
              <a:defRPr sz="5500" spc="-55"/>
            </a:lvl1pPr>
            <a:lvl2pPr marL="0" indent="457200" defTabSz="825500">
              <a:lnSpc>
                <a:spcPct val="100000"/>
              </a:lnSpc>
              <a:spcBef>
                <a:spcPts val="1800"/>
              </a:spcBef>
              <a:buSzTx/>
              <a:buNone/>
              <a:defRPr sz="5500" spc="-55"/>
            </a:lvl2pPr>
            <a:lvl3pPr marL="0" indent="914400" defTabSz="825500">
              <a:lnSpc>
                <a:spcPct val="100000"/>
              </a:lnSpc>
              <a:spcBef>
                <a:spcPts val="1800"/>
              </a:spcBef>
              <a:buSzTx/>
              <a:buNone/>
              <a:defRPr sz="5500" spc="-55"/>
            </a:lvl3pPr>
            <a:lvl4pPr marL="0" indent="1371600" defTabSz="825500">
              <a:lnSpc>
                <a:spcPct val="100000"/>
              </a:lnSpc>
              <a:spcBef>
                <a:spcPts val="1800"/>
              </a:spcBef>
              <a:buSzTx/>
              <a:buNone/>
              <a:defRPr sz="5500" spc="-55"/>
            </a:lvl4pPr>
            <a:lvl5pPr marL="0" indent="1828800" defTabSz="825500">
              <a:lnSpc>
                <a:spcPct val="100000"/>
              </a:lnSpc>
              <a:spcBef>
                <a:spcPts val="1800"/>
              </a:spcBef>
              <a:buSzTx/>
              <a:buNone/>
              <a:defRPr sz="5500" spc="-55"/>
            </a:lvl5pPr>
          </a:lstStyle>
          <a:p>
            <a:r>
              <a:t>Agenda Topics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9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/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5C5E49E7-6ADE-DD40-AD32-5A28176B24BC}"/>
              </a:ext>
            </a:extLst>
          </p:cNvPr>
          <p:cNvSpPr/>
          <p:nvPr/>
        </p:nvSpPr>
        <p:spPr>
          <a:xfrm>
            <a:off x="8499566" y="0"/>
            <a:ext cx="15884436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A45C0A2E-84ED-694A-8D40-40A9466155D7}"/>
              </a:ext>
            </a:extLst>
          </p:cNvPr>
          <p:cNvSpPr/>
          <p:nvPr/>
        </p:nvSpPr>
        <p:spPr>
          <a:xfrm>
            <a:off x="1" y="0"/>
            <a:ext cx="8499566" cy="1371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990600" y="2379798"/>
            <a:ext cx="6794588" cy="8702676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10000" b="1" i="0" spc="6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B9753706-DED6-894F-BE2A-F4DA16AF10A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CAEB27AF-DD57-7246-971E-7506C05081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13944" y="1563688"/>
            <a:ext cx="14315984" cy="10588624"/>
          </a:xfrm>
        </p:spPr>
        <p:txBody>
          <a:bodyPr anchor="ctr"/>
          <a:lstStyle>
            <a:lvl1pPr marL="914400" indent="-914400">
              <a:lnSpc>
                <a:spcPct val="110000"/>
              </a:lnSpc>
              <a:buFont typeface="+mj-lt"/>
              <a:buAutoNum type="arabicPeriod"/>
              <a:defRPr/>
            </a:lvl1pPr>
            <a:lvl2pPr marL="1600200" indent="-663576">
              <a:lnSpc>
                <a:spcPct val="110000"/>
              </a:lnSpc>
              <a:buFont typeface="+mj-lt"/>
              <a:buAutoNum type="alphaLcPeriod"/>
              <a:tabLst/>
              <a:defRPr>
                <a:solidFill>
                  <a:schemeClr val="tx1"/>
                </a:solidFill>
              </a:defRPr>
            </a:lvl2pPr>
            <a:lvl3pPr marL="1730376" indent="-685800">
              <a:buFont typeface="+mj-lt"/>
              <a:buAutoNum type="arabicPeriod"/>
              <a:defRPr/>
            </a:lvl3pPr>
            <a:lvl4pPr marL="2409826" indent="-685800">
              <a:buFont typeface="+mj-lt"/>
              <a:buAutoNum type="arabicPeriod"/>
              <a:defRPr/>
            </a:lvl4pPr>
            <a:lvl5pPr marL="2860676" indent="-457200">
              <a:buFont typeface="+mj-lt"/>
              <a:buAutoNum type="arabicPeriod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xmlns="" id="{FD955494-5A02-944E-AC47-A93918740756}"/>
              </a:ext>
            </a:extLst>
          </p:cNvPr>
          <p:cNvSpPr txBox="1">
            <a:spLocks/>
          </p:cNvSpPr>
          <p:nvPr/>
        </p:nvSpPr>
        <p:spPr>
          <a:xfrm>
            <a:off x="9213944" y="12801598"/>
            <a:ext cx="5486400" cy="582984"/>
          </a:xfrm>
          <a:prstGeom prst="rect">
            <a:avLst/>
          </a:prstGeom>
        </p:spPr>
        <p:txBody>
          <a:bodyPr vert="horz" lIns="182880" tIns="91440" rIns="18288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63810857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-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8F91D0A4-F952-E844-8B2C-D3F8A2A9AD6F}"/>
              </a:ext>
            </a:extLst>
          </p:cNvPr>
          <p:cNvSpPr/>
          <p:nvPr/>
        </p:nvSpPr>
        <p:spPr>
          <a:xfrm>
            <a:off x="2" y="2"/>
            <a:ext cx="24384000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990600" y="2379798"/>
            <a:ext cx="6812280" cy="8702676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64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1BB3B64-FFC3-D742-A6BD-5B3A95232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585084-379B-F946-AABF-822A5ADBB42E}" type="slidenum">
              <a:rPr lang="el-GR" smtClean="0"/>
              <a:t>‹#›</a:t>
            </a:fld>
            <a:endParaRPr lang="el-GR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B9753706-DED6-894F-BE2A-F4DA16AF10A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F113FFD9-00BB-A343-8353-85DCCB1A6FE5}"/>
              </a:ext>
            </a:extLst>
          </p:cNvPr>
          <p:cNvCxnSpPr>
            <a:cxnSpLocks/>
          </p:cNvCxnSpPr>
          <p:nvPr/>
        </p:nvCxnSpPr>
        <p:spPr>
          <a:xfrm>
            <a:off x="8521002" y="3257006"/>
            <a:ext cx="0" cy="694944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xmlns="" id="{56E2F89F-DE6E-8E49-BDFB-6B8DE8B72A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13944" y="1600654"/>
            <a:ext cx="14315984" cy="10514692"/>
          </a:xfrm>
        </p:spPr>
        <p:txBody>
          <a:bodyPr anchor="ctr"/>
          <a:lstStyle>
            <a:lvl1pPr>
              <a:lnSpc>
                <a:spcPct val="110000"/>
              </a:lnSpc>
              <a:defRPr/>
            </a:lvl1pPr>
            <a:lvl2pPr marL="31750" indent="0">
              <a:lnSpc>
                <a:spcPct val="110000"/>
              </a:lnSpc>
              <a:buNone/>
              <a:tabLst/>
              <a:defRPr sz="3600" b="0">
                <a:solidFill>
                  <a:schemeClr val="tx1"/>
                </a:solidFill>
              </a:defRPr>
            </a:lvl2pPr>
            <a:lvl3pPr marL="574676" indent="-339726">
              <a:lnSpc>
                <a:spcPct val="110000"/>
              </a:lnSpc>
              <a:tabLst/>
              <a:defRPr sz="3200"/>
            </a:lvl3pPr>
            <a:lvl4pPr marL="1387476" indent="-339726">
              <a:lnSpc>
                <a:spcPct val="110000"/>
              </a:lnSpc>
              <a:tabLst/>
              <a:defRPr sz="28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xmlns="" id="{18F56A3F-5A2F-DF4C-8531-9765BE13BE71}"/>
              </a:ext>
            </a:extLst>
          </p:cNvPr>
          <p:cNvSpPr txBox="1">
            <a:spLocks/>
          </p:cNvSpPr>
          <p:nvPr/>
        </p:nvSpPr>
        <p:spPr>
          <a:xfrm>
            <a:off x="9213944" y="12801598"/>
            <a:ext cx="5486400" cy="582984"/>
          </a:xfrm>
          <a:prstGeom prst="rect">
            <a:avLst/>
          </a:prstGeom>
        </p:spPr>
        <p:txBody>
          <a:bodyPr vert="horz" lIns="182880" tIns="91440" rIns="18288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66893999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5549406C-54AA-BB4A-A894-DCE9A23B31DE}"/>
              </a:ext>
            </a:extLst>
          </p:cNvPr>
          <p:cNvSpPr/>
          <p:nvPr/>
        </p:nvSpPr>
        <p:spPr>
          <a:xfrm>
            <a:off x="0" y="0"/>
            <a:ext cx="12192000" cy="13716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b="0" i="0" dirty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990601" y="2379798"/>
            <a:ext cx="10163782" cy="8702676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6400" b="1" i="0">
                <a:solidFill>
                  <a:srgbClr val="C50F3C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2030" y="12801598"/>
            <a:ext cx="548640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fld id="{18585084-379B-F946-AABF-822A5ADBB42E}" type="slidenum">
              <a:rPr lang="el-GR" smtClean="0"/>
              <a:t>‹#›</a:t>
            </a:fld>
            <a:endParaRPr lang="el-GR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F1F86E1D-B041-3D46-9EA6-1DD6635C613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3229618" y="2379798"/>
            <a:ext cx="10301684" cy="8702676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64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47777C60-735A-6242-A92B-3C5B7BA7ED40}"/>
              </a:ext>
            </a:extLst>
          </p:cNvPr>
          <p:cNvSpPr txBox="1">
            <a:spLocks/>
          </p:cNvSpPr>
          <p:nvPr/>
        </p:nvSpPr>
        <p:spPr>
          <a:xfrm>
            <a:off x="13229618" y="12801598"/>
            <a:ext cx="5486400" cy="582984"/>
          </a:xfrm>
          <a:prstGeom prst="rect">
            <a:avLst/>
          </a:prstGeom>
        </p:spPr>
        <p:txBody>
          <a:bodyPr vert="horz" lIns="182880" tIns="91440" rIns="18288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033833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5549406C-54AA-BB4A-A894-DCE9A23B31DE}"/>
              </a:ext>
            </a:extLst>
          </p:cNvPr>
          <p:cNvSpPr/>
          <p:nvPr/>
        </p:nvSpPr>
        <p:spPr>
          <a:xfrm>
            <a:off x="0" y="0"/>
            <a:ext cx="12192000" cy="13716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b="0" i="0" dirty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990601" y="2379798"/>
            <a:ext cx="10163782" cy="8702676"/>
          </a:xfrm>
          <a:ln>
            <a:noFill/>
          </a:ln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6400" b="1" i="0">
                <a:ln>
                  <a:noFill/>
                </a:ln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2030" y="12801598"/>
            <a:ext cx="548640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fld id="{18585084-379B-F946-AABF-822A5ADBB42E}" type="slidenum">
              <a:rPr lang="el-GR" smtClean="0"/>
              <a:t>‹#›</a:t>
            </a:fld>
            <a:endParaRPr lang="el-GR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F1F86E1D-B041-3D46-9EA6-1DD6635C613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3229618" y="2379798"/>
            <a:ext cx="10301684" cy="8702676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64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47777C60-735A-6242-A92B-3C5B7BA7ED40}"/>
              </a:ext>
            </a:extLst>
          </p:cNvPr>
          <p:cNvSpPr txBox="1">
            <a:spLocks/>
          </p:cNvSpPr>
          <p:nvPr/>
        </p:nvSpPr>
        <p:spPr>
          <a:xfrm>
            <a:off x="13229618" y="12801598"/>
            <a:ext cx="5486400" cy="582984"/>
          </a:xfrm>
          <a:prstGeom prst="rect">
            <a:avLst/>
          </a:prstGeom>
        </p:spPr>
        <p:txBody>
          <a:bodyPr vert="horz" lIns="182880" tIns="91440" rIns="18288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600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82268314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191999" y="0"/>
            <a:ext cx="12191998" cy="13716000"/>
          </a:xfrm>
        </p:spPr>
        <p:txBody>
          <a:bodyPr/>
          <a:lstStyle/>
          <a:p>
            <a:r>
              <a:rPr lang="el-GR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5549406C-54AA-BB4A-A894-DCE9A23B31DE}"/>
              </a:ext>
            </a:extLst>
          </p:cNvPr>
          <p:cNvSpPr/>
          <p:nvPr/>
        </p:nvSpPr>
        <p:spPr>
          <a:xfrm>
            <a:off x="0" y="0"/>
            <a:ext cx="12192000" cy="13716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b="0" i="0" dirty="0">
              <a:latin typeface="Proxima Nova Regular" panose="02000506030000020004" pitchFamily="2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2029" y="12801598"/>
            <a:ext cx="149183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fld id="{18585084-379B-F946-AABF-822A5ADBB42E}" type="slidenum">
              <a:rPr lang="el-GR" smtClean="0"/>
              <a:t>‹#›</a:t>
            </a:fld>
            <a:endParaRPr lang="el-GR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DF170BCB-3373-5549-9815-B668B2498165}"/>
              </a:ext>
            </a:extLst>
          </p:cNvPr>
          <p:cNvSpPr txBox="1">
            <a:spLocks/>
          </p:cNvSpPr>
          <p:nvPr/>
        </p:nvSpPr>
        <p:spPr>
          <a:xfrm>
            <a:off x="3414986" y="12801598"/>
            <a:ext cx="5486400" cy="582984"/>
          </a:xfrm>
          <a:prstGeom prst="rect">
            <a:avLst/>
          </a:prstGeom>
        </p:spPr>
        <p:txBody>
          <a:bodyPr vert="horz" lIns="182880" tIns="91440" rIns="18288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F8C30483-00F3-D64E-AAE5-F07B9B5C01D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8812" y="12817634"/>
            <a:ext cx="413184" cy="550912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A0ECE671-F431-CD4B-9BF1-7FDB1F32755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990601" y="2379798"/>
            <a:ext cx="10163782" cy="8702676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64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04336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Αντι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72BF970B-3FB2-E84A-B70E-2F82C3C4236F}"/>
              </a:ext>
            </a:extLst>
          </p:cNvPr>
          <p:cNvSpPr/>
          <p:nvPr/>
        </p:nvSpPr>
        <p:spPr>
          <a:xfrm>
            <a:off x="2" y="2"/>
            <a:ext cx="24384000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5032" y="730251"/>
            <a:ext cx="21945600" cy="1974038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55032" y="3885354"/>
            <a:ext cx="21945600" cy="8459048"/>
          </a:xfrm>
        </p:spPr>
        <p:txBody>
          <a:bodyPr/>
          <a:lstStyle>
            <a:lvl1pPr>
              <a:lnSpc>
                <a:spcPct val="110000"/>
              </a:lnSpc>
              <a:spcAft>
                <a:spcPts val="1600"/>
              </a:spcAft>
              <a:defRPr/>
            </a:lvl1pPr>
            <a:lvl2pPr marL="31750" indent="0">
              <a:lnSpc>
                <a:spcPct val="110000"/>
              </a:lnSpc>
              <a:buNone/>
              <a:tabLst/>
              <a:defRPr sz="3600" b="0">
                <a:solidFill>
                  <a:schemeClr val="tx1"/>
                </a:solidFill>
              </a:defRPr>
            </a:lvl2pPr>
            <a:lvl3pPr marL="574676" indent="-339726">
              <a:lnSpc>
                <a:spcPct val="110000"/>
              </a:lnSpc>
              <a:tabLst/>
              <a:defRPr sz="3200"/>
            </a:lvl3pPr>
            <a:lvl4pPr marL="1387476" indent="-339726">
              <a:lnSpc>
                <a:spcPct val="110000"/>
              </a:lnSpc>
              <a:tabLst/>
              <a:defRPr sz="28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2030" y="12801598"/>
            <a:ext cx="548640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fld id="{18585084-379B-F946-AABF-822A5ADBB42E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8504250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72BF970B-3FB2-E84A-B70E-2F82C3C4236F}"/>
              </a:ext>
            </a:extLst>
          </p:cNvPr>
          <p:cNvSpPr/>
          <p:nvPr/>
        </p:nvSpPr>
        <p:spPr>
          <a:xfrm>
            <a:off x="2" y="2"/>
            <a:ext cx="24384000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5032" y="730251"/>
            <a:ext cx="21945600" cy="1974038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6BAE6AD-B7D4-B04A-86FE-7779FC9A234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55033" y="3885354"/>
            <a:ext cx="10799902" cy="8459048"/>
          </a:xfrm>
        </p:spPr>
        <p:txBody>
          <a:bodyPr/>
          <a:lstStyle>
            <a:lvl1pPr>
              <a:lnSpc>
                <a:spcPct val="110000"/>
              </a:lnSpc>
              <a:spcAft>
                <a:spcPts val="1600"/>
              </a:spcAft>
              <a:defRPr/>
            </a:lvl1pPr>
            <a:lvl2pPr marL="31750" indent="0">
              <a:lnSpc>
                <a:spcPct val="110000"/>
              </a:lnSpc>
              <a:buNone/>
              <a:tabLst/>
              <a:defRPr sz="3600" b="0">
                <a:solidFill>
                  <a:schemeClr val="tx1"/>
                </a:solidFill>
              </a:defRPr>
            </a:lvl2pPr>
            <a:lvl3pPr marL="574676" indent="-339726">
              <a:lnSpc>
                <a:spcPct val="110000"/>
              </a:lnSpc>
              <a:tabLst/>
              <a:defRPr sz="3200"/>
            </a:lvl3pPr>
            <a:lvl4pPr marL="1387476" indent="-339726">
              <a:lnSpc>
                <a:spcPct val="110000"/>
              </a:lnSpc>
              <a:tabLst/>
              <a:defRPr sz="28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2030" y="12801598"/>
            <a:ext cx="548640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fld id="{18585084-379B-F946-AABF-822A5ADBB42E}" type="slidenum">
              <a:rPr lang="el-GR" smtClean="0"/>
              <a:t>‹#›</a:t>
            </a:fld>
            <a:endParaRPr lang="el-GR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6CCA6249-8962-9949-96AE-7C11B8F0135F}"/>
              </a:ext>
            </a:extLst>
          </p:cNvPr>
          <p:cNvSpPr txBox="1">
            <a:spLocks/>
          </p:cNvSpPr>
          <p:nvPr/>
        </p:nvSpPr>
        <p:spPr>
          <a:xfrm>
            <a:off x="9400674" y="12801598"/>
            <a:ext cx="5486400" cy="582984"/>
          </a:xfrm>
          <a:prstGeom prst="rect">
            <a:avLst/>
          </a:prstGeom>
        </p:spPr>
        <p:txBody>
          <a:bodyPr vert="horz" lIns="182880" tIns="91440" rIns="18288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xmlns="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2300731" y="3885354"/>
            <a:ext cx="10799902" cy="8459048"/>
          </a:xfrm>
        </p:spPr>
        <p:txBody>
          <a:bodyPr/>
          <a:lstStyle>
            <a:lvl1pPr>
              <a:lnSpc>
                <a:spcPct val="110000"/>
              </a:lnSpc>
              <a:spcAft>
                <a:spcPts val="1600"/>
              </a:spcAft>
              <a:defRPr/>
            </a:lvl1pPr>
            <a:lvl2pPr marL="31750" indent="0">
              <a:lnSpc>
                <a:spcPct val="110000"/>
              </a:lnSpc>
              <a:buNone/>
              <a:tabLst/>
              <a:defRPr sz="3600" b="0">
                <a:solidFill>
                  <a:schemeClr val="tx1"/>
                </a:solidFill>
              </a:defRPr>
            </a:lvl2pPr>
            <a:lvl3pPr marL="574676" indent="-339726">
              <a:lnSpc>
                <a:spcPct val="110000"/>
              </a:lnSpc>
              <a:tabLst/>
              <a:defRPr sz="3200"/>
            </a:lvl3pPr>
            <a:lvl4pPr marL="1387476" indent="-339726">
              <a:lnSpc>
                <a:spcPct val="110000"/>
              </a:lnSpc>
              <a:tabLst/>
              <a:defRPr sz="28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</p:txBody>
      </p:sp>
    </p:spTree>
    <p:extLst>
      <p:ext uri="{BB962C8B-B14F-4D97-AF65-F5344CB8AC3E}">
        <p14:creationId xmlns:p14="http://schemas.microsoft.com/office/powerpoint/2010/main" val="56916952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72BF970B-3FB2-E84A-B70E-2F82C3C4236F}"/>
              </a:ext>
            </a:extLst>
          </p:cNvPr>
          <p:cNvSpPr/>
          <p:nvPr/>
        </p:nvSpPr>
        <p:spPr>
          <a:xfrm>
            <a:off x="2" y="2"/>
            <a:ext cx="24384000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5032" y="730251"/>
            <a:ext cx="21945600" cy="1974038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6BAE6AD-B7D4-B04A-86FE-7779FC9A234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155034" y="3885354"/>
            <a:ext cx="7033316" cy="8459048"/>
          </a:xfrm>
        </p:spPr>
        <p:txBody>
          <a:bodyPr/>
          <a:lstStyle>
            <a:lvl1pPr>
              <a:lnSpc>
                <a:spcPct val="110000"/>
              </a:lnSpc>
              <a:spcAft>
                <a:spcPts val="1600"/>
              </a:spcAft>
              <a:defRPr/>
            </a:lvl1pPr>
            <a:lvl2pPr marL="31750" indent="0">
              <a:lnSpc>
                <a:spcPct val="110000"/>
              </a:lnSpc>
              <a:buNone/>
              <a:tabLst/>
              <a:defRPr sz="3600" b="0">
                <a:solidFill>
                  <a:schemeClr val="tx1"/>
                </a:solidFill>
              </a:defRPr>
            </a:lvl2pPr>
            <a:lvl3pPr marL="574676" indent="-339726">
              <a:lnSpc>
                <a:spcPct val="110000"/>
              </a:lnSpc>
              <a:tabLst/>
              <a:defRPr sz="3200"/>
            </a:lvl3pPr>
            <a:lvl4pPr marL="1387476" indent="-339726">
              <a:lnSpc>
                <a:spcPct val="110000"/>
              </a:lnSpc>
              <a:tabLst/>
              <a:defRPr sz="28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2030" y="12801598"/>
            <a:ext cx="548640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fld id="{18585084-379B-F946-AABF-822A5ADBB42E}" type="slidenum">
              <a:rPr lang="el-GR" smtClean="0"/>
              <a:t>‹#›</a:t>
            </a:fld>
            <a:endParaRPr lang="el-GR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6CCA6249-8962-9949-96AE-7C11B8F0135F}"/>
              </a:ext>
            </a:extLst>
          </p:cNvPr>
          <p:cNvSpPr txBox="1">
            <a:spLocks/>
          </p:cNvSpPr>
          <p:nvPr/>
        </p:nvSpPr>
        <p:spPr>
          <a:xfrm>
            <a:off x="9400674" y="12801598"/>
            <a:ext cx="5486400" cy="582984"/>
          </a:xfrm>
          <a:prstGeom prst="rect">
            <a:avLst/>
          </a:prstGeom>
        </p:spPr>
        <p:txBody>
          <a:bodyPr vert="horz" lIns="182880" tIns="91440" rIns="18288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xmlns="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611174" y="3885354"/>
            <a:ext cx="7033316" cy="8459048"/>
          </a:xfrm>
        </p:spPr>
        <p:txBody>
          <a:bodyPr/>
          <a:lstStyle>
            <a:lvl1pPr>
              <a:lnSpc>
                <a:spcPct val="110000"/>
              </a:lnSpc>
              <a:spcAft>
                <a:spcPts val="1600"/>
              </a:spcAft>
              <a:defRPr/>
            </a:lvl1pPr>
            <a:lvl2pPr marL="31750" indent="0">
              <a:lnSpc>
                <a:spcPct val="110000"/>
              </a:lnSpc>
              <a:buNone/>
              <a:tabLst/>
              <a:defRPr sz="3600" b="0">
                <a:solidFill>
                  <a:schemeClr val="tx1"/>
                </a:solidFill>
              </a:defRPr>
            </a:lvl2pPr>
            <a:lvl3pPr marL="574676" indent="-339726">
              <a:lnSpc>
                <a:spcPct val="110000"/>
              </a:lnSpc>
              <a:tabLst/>
              <a:defRPr sz="3200"/>
            </a:lvl3pPr>
            <a:lvl4pPr marL="1387476" indent="-339726">
              <a:lnSpc>
                <a:spcPct val="110000"/>
              </a:lnSpc>
              <a:tabLst/>
              <a:defRPr sz="28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xmlns="" id="{CC246391-91B4-BC47-A6BA-88CFDDCA116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16067316" y="3885354"/>
            <a:ext cx="7033316" cy="8459048"/>
          </a:xfrm>
        </p:spPr>
        <p:txBody>
          <a:bodyPr/>
          <a:lstStyle>
            <a:lvl1pPr>
              <a:lnSpc>
                <a:spcPct val="110000"/>
              </a:lnSpc>
              <a:spcAft>
                <a:spcPts val="1600"/>
              </a:spcAft>
              <a:defRPr/>
            </a:lvl1pPr>
            <a:lvl2pPr marL="31750" indent="0">
              <a:lnSpc>
                <a:spcPct val="110000"/>
              </a:lnSpc>
              <a:buNone/>
              <a:tabLst/>
              <a:defRPr sz="3600" b="0">
                <a:solidFill>
                  <a:schemeClr val="tx1"/>
                </a:solidFill>
              </a:defRPr>
            </a:lvl2pPr>
            <a:lvl3pPr marL="574676" indent="-339726">
              <a:lnSpc>
                <a:spcPct val="110000"/>
              </a:lnSpc>
              <a:tabLst/>
              <a:defRPr sz="3200"/>
            </a:lvl3pPr>
            <a:lvl4pPr marL="1387476" indent="-339726">
              <a:lnSpc>
                <a:spcPct val="110000"/>
              </a:lnSpc>
              <a:tabLst/>
              <a:defRPr sz="28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</p:txBody>
      </p:sp>
    </p:spTree>
    <p:extLst>
      <p:ext uri="{BB962C8B-B14F-4D97-AF65-F5344CB8AC3E}">
        <p14:creationId xmlns:p14="http://schemas.microsoft.com/office/powerpoint/2010/main" val="90674411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Grey -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72BF970B-3FB2-E84A-B70E-2F82C3C4236F}"/>
              </a:ext>
            </a:extLst>
          </p:cNvPr>
          <p:cNvSpPr/>
          <p:nvPr/>
        </p:nvSpPr>
        <p:spPr>
          <a:xfrm>
            <a:off x="2" y="2"/>
            <a:ext cx="24384000" cy="137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6BAE6AD-B7D4-B04A-86FE-7779FC9A234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2030" y="12801598"/>
            <a:ext cx="548640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fld id="{18585084-379B-F946-AABF-822A5ADBB42E}" type="slidenum">
              <a:rPr lang="el-GR" smtClean="0"/>
              <a:t>‹#›</a:t>
            </a:fld>
            <a:endParaRPr lang="el-GR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6CCA6249-8962-9949-96AE-7C11B8F0135F}"/>
              </a:ext>
            </a:extLst>
          </p:cNvPr>
          <p:cNvSpPr txBox="1">
            <a:spLocks/>
          </p:cNvSpPr>
          <p:nvPr/>
        </p:nvSpPr>
        <p:spPr>
          <a:xfrm>
            <a:off x="9400674" y="12801598"/>
            <a:ext cx="5486400" cy="582984"/>
          </a:xfrm>
          <a:prstGeom prst="rect">
            <a:avLst/>
          </a:prstGeom>
        </p:spPr>
        <p:txBody>
          <a:bodyPr vert="horz" lIns="182880" tIns="91440" rIns="18288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69246297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550E1FAF-85CD-FA4B-81FE-A9FD82D22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18585084-379B-F946-AABF-822A5ADBB42E}" type="slidenum">
              <a:rPr lang="el-GR" smtClean="0"/>
              <a:t>‹#›</a:t>
            </a:fld>
            <a:endParaRPr lang="el-G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F7216341-DBB4-0D4B-B285-B706134D811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31302" y="12817634"/>
            <a:ext cx="413184" cy="550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8060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Body Level One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1206500" y="4920843"/>
            <a:ext cx="21971000" cy="387431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11600" b="1" spc="-232"/>
            </a:lvl1pPr>
            <a:lvl2pPr marL="0" indent="457200" algn="ctr">
              <a:lnSpc>
                <a:spcPct val="80000"/>
              </a:lnSpc>
              <a:spcBef>
                <a:spcPts val="0"/>
              </a:spcBef>
              <a:buSzTx/>
              <a:buNone/>
              <a:defRPr sz="11600" b="1" spc="-232"/>
            </a:lvl2pPr>
            <a:lvl3pPr marL="0" indent="914400" algn="ctr">
              <a:lnSpc>
                <a:spcPct val="80000"/>
              </a:lnSpc>
              <a:spcBef>
                <a:spcPts val="0"/>
              </a:spcBef>
              <a:buSzTx/>
              <a:buNone/>
              <a:defRPr sz="11600" b="1" spc="-232"/>
            </a:lvl3pPr>
            <a:lvl4pPr marL="0" indent="1371600" algn="ctr">
              <a:lnSpc>
                <a:spcPct val="80000"/>
              </a:lnSpc>
              <a:spcBef>
                <a:spcPts val="0"/>
              </a:spcBef>
              <a:buSzTx/>
              <a:buNone/>
              <a:defRPr sz="11600" b="1" spc="-232"/>
            </a:lvl4pPr>
            <a:lvl5pPr marL="0" indent="1828800" algn="ctr">
              <a:lnSpc>
                <a:spcPct val="80000"/>
              </a:lnSpc>
              <a:spcBef>
                <a:spcPts val="0"/>
              </a:spcBef>
              <a:buSzTx/>
              <a:buNone/>
              <a:defRPr sz="11600" b="1" spc="-232"/>
            </a:lvl5pPr>
          </a:lstStyle>
          <a:p>
            <a:r>
              <a:t>Statemen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9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d Background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119033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409312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7070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ig F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1206500" y="1075927"/>
            <a:ext cx="21971000" cy="7241584"/>
          </a:xfrm>
          <a:prstGeom prst="rect">
            <a:avLst/>
          </a:prstGeom>
        </p:spPr>
        <p:txBody>
          <a:bodyPr anchor="b"/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25000" b="1" spc="-250"/>
            </a:lvl1pPr>
            <a:lvl2pPr marL="0" indent="457200" algn="ctr">
              <a:lnSpc>
                <a:spcPct val="80000"/>
              </a:lnSpc>
              <a:spcBef>
                <a:spcPts val="0"/>
              </a:spcBef>
              <a:buSzTx/>
              <a:buNone/>
              <a:defRPr sz="25000" b="1" spc="-250"/>
            </a:lvl2pPr>
            <a:lvl3pPr marL="0" indent="914400" algn="ctr">
              <a:lnSpc>
                <a:spcPct val="80000"/>
              </a:lnSpc>
              <a:spcBef>
                <a:spcPts val="0"/>
              </a:spcBef>
              <a:buSzTx/>
              <a:buNone/>
              <a:defRPr sz="25000" b="1" spc="-250"/>
            </a:lvl3pPr>
            <a:lvl4pPr marL="0" indent="1371600" algn="ctr">
              <a:lnSpc>
                <a:spcPct val="80000"/>
              </a:lnSpc>
              <a:spcBef>
                <a:spcPts val="0"/>
              </a:spcBef>
              <a:buSzTx/>
              <a:buNone/>
              <a:defRPr sz="25000" b="1" spc="-250"/>
            </a:lvl4pPr>
            <a:lvl5pPr marL="0" indent="1828800" algn="ctr">
              <a:lnSpc>
                <a:spcPct val="80000"/>
              </a:lnSpc>
              <a:spcBef>
                <a:spcPts val="0"/>
              </a:spcBef>
              <a:buSzTx/>
              <a:buNone/>
              <a:defRPr sz="25000" b="1" spc="-250"/>
            </a:lvl5pPr>
          </a:lstStyle>
          <a:p>
            <a:r>
              <a:t>100%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07" name="Fact information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06500" y="8262180"/>
            <a:ext cx="21971000" cy="93478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algn="ctr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r>
              <a:t>Fact information</a:t>
            </a:r>
          </a:p>
        </p:txBody>
      </p:sp>
      <p:sp>
        <p:nvSpPr>
          <p:cNvPr id="10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9" Type="http://schemas.openxmlformats.org/officeDocument/2006/relationships/oleObject" Target="../embeddings/oleObject1.bin"/><Relationship Id="rId21" Type="http://schemas.openxmlformats.org/officeDocument/2006/relationships/slideLayout" Target="../slideLayouts/slideLayout47.xml"/><Relationship Id="rId34" Type="http://schemas.openxmlformats.org/officeDocument/2006/relationships/slideLayout" Target="../slideLayouts/slideLayout60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slideLayout" Target="../slideLayouts/slideLayout59.xml"/><Relationship Id="rId38" Type="http://schemas.openxmlformats.org/officeDocument/2006/relationships/tags" Target="../tags/tag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slideLayout" Target="../slideLayouts/slideLayout55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slideLayout" Target="../slideLayouts/slideLayout58.xml"/><Relationship Id="rId37" Type="http://schemas.openxmlformats.org/officeDocument/2006/relationships/vmlDrawing" Target="../drawings/vmlDrawing1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slideLayout" Target="../slideLayouts/slideLayout57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Relationship Id="rId35" Type="http://schemas.openxmlformats.org/officeDocument/2006/relationships/slideLayout" Target="../slideLayouts/slideLayout61.xml"/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vmlDrawing" Target="../drawings/vmlDrawing2.v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theme" Target="../theme/theme4.xml"/><Relationship Id="rId27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1206500" y="1079500"/>
            <a:ext cx="21971000" cy="14331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Slide Title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1206500" y="4248504"/>
            <a:ext cx="21971000" cy="82560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2001465" y="13074598"/>
            <a:ext cx="368573" cy="381001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584200">
              <a:defRPr sz="18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4" r:id="rId5"/>
    <p:sldLayoutId id="2147483655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7" r:id="rId15"/>
    <p:sldLayoutId id="2147483668" r:id="rId16"/>
    <p:sldLayoutId id="2147483669" r:id="rId17"/>
    <p:sldLayoutId id="2147483670" r:id="rId18"/>
    <p:sldLayoutId id="2147483671" r:id="rId19"/>
    <p:sldLayoutId id="2147483672" r:id="rId20"/>
    <p:sldLayoutId id="2147483673" r:id="rId21"/>
    <p:sldLayoutId id="2147483674" r:id="rId22"/>
  </p:sldLayoutIdLst>
  <p:transition spd="med"/>
  <p:hf sldNum="0" hdr="0" ftr="0" dt="0"/>
  <p:txStyles>
    <p:titleStyle>
      <a:lvl1pPr marL="0" marR="0" indent="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1pPr>
      <a:lvl2pPr marL="0" marR="0" indent="4572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2pPr>
      <a:lvl3pPr marL="0" marR="0" indent="9144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3pPr>
      <a:lvl4pPr marL="0" marR="0" indent="13716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4pPr>
      <a:lvl5pPr marL="0" marR="0" indent="18288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5pPr>
      <a:lvl6pPr marL="0" marR="0" indent="22860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6pPr>
      <a:lvl7pPr marL="0" marR="0" indent="27432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7pPr>
      <a:lvl8pPr marL="0" marR="0" indent="32004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8pPr>
      <a:lvl9pPr marL="0" marR="0" indent="3657600" algn="l" defTabSz="2438338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500" b="1" i="0" u="none" strike="noStrike" cap="none" spc="-170" baseline="0"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9pPr>
    </p:titleStyle>
    <p:bodyStyle>
      <a:lvl1pPr marL="6096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1pPr>
      <a:lvl2pPr marL="12192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2pPr>
      <a:lvl3pPr marL="18288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3pPr>
      <a:lvl4pPr marL="24384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4pPr>
      <a:lvl5pPr marL="30480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5pPr>
      <a:lvl6pPr marL="36576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6pPr>
      <a:lvl7pPr marL="42672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7pPr>
      <a:lvl8pPr marL="48768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8pPr>
      <a:lvl9pPr marL="5486400" marR="0" indent="-609600" algn="l" defTabSz="2438338" rtl="0" latinLnBrk="0">
        <a:lnSpc>
          <a:spcPct val="90000"/>
        </a:lnSpc>
        <a:spcBef>
          <a:spcPts val="4500"/>
        </a:spcBef>
        <a:spcAft>
          <a:spcPts val="0"/>
        </a:spcAft>
        <a:buClrTx/>
        <a:buSzPct val="123000"/>
        <a:buFontTx/>
        <a:buChar char="•"/>
        <a:tabLst/>
        <a:defRPr sz="4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9pPr>
    </p:bodyStyle>
    <p:otherStyle>
      <a:lvl1pPr marL="0" marR="0" indent="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1pPr>
      <a:lvl2pPr marL="0" marR="0" indent="457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2pPr>
      <a:lvl3pPr marL="0" marR="0" indent="9144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3pPr>
      <a:lvl4pPr marL="0" marR="0" indent="1371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4pPr>
      <a:lvl5pPr marL="0" marR="0" indent="1828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5pPr>
      <a:lvl6pPr marL="0" marR="0" indent="22860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6pPr>
      <a:lvl7pPr marL="0" marR="0" indent="2743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7pPr>
      <a:lvl8pPr marL="0" marR="0" indent="32004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8pPr>
      <a:lvl9pPr marL="0" marR="0" indent="3657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6401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6401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76401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4/26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77201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3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0473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740" r:id="rId3"/>
    <p:sldLayoutId id="2147483741" r:id="rId4"/>
  </p:sldLayoutIdLst>
  <p:hf hdr="0" ftr="0" dt="0"/>
  <p:txStyles>
    <p:titleStyle>
      <a:lvl1pPr algn="l" defTabSz="1828343" rtl="0" eaLnBrk="1" latinLnBrk="0" hangingPunct="1">
        <a:lnSpc>
          <a:spcPct val="90000"/>
        </a:lnSpc>
        <a:spcBef>
          <a:spcPct val="0"/>
        </a:spcBef>
        <a:buNone/>
        <a:defRPr sz="879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343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None/>
        <a:defRPr sz="5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171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47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3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9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4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5" indent="0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5027943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4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6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7" indent="-457086" algn="l" defTabSz="182834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1pPr>
      <a:lvl2pPr marL="9141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3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4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6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7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6pPr>
      <a:lvl7pPr marL="5485028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1" algn="l" defTabSz="1828343" rtl="0" eaLnBrk="1" latinLnBrk="0" hangingPunct="1">
        <a:defRPr sz="35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D7EC171F-68A8-428D-9817-60577E1745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3583219510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39" imgW="473" imgH="476" progId="TCLayout.ActiveDocument.1">
                  <p:embed/>
                </p:oleObj>
              </mc:Choice>
              <mc:Fallback>
                <p:oleObj name="think-cell Slide" r:id="rId39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D7EC171F-68A8-428D-9817-60577E1745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035D506E-9CFA-5744-8CC1-366D985D6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200" y="730252"/>
            <a:ext cx="21849348" cy="193512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Alternate Slide Template – Click to Edi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A4A9B1D-8809-B740-A68B-9969B712A0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19200" y="3885354"/>
            <a:ext cx="21849348" cy="84685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marL="31750" lvl="1" indent="0" algn="l" defTabSz="1828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pple Symbols" panose="02000000000000000000" pitchFamily="2" charset="-79"/>
              <a:buNone/>
              <a:tabLst/>
            </a:pPr>
            <a:r>
              <a:rPr lang="en-US"/>
              <a:t>Second level</a:t>
            </a:r>
          </a:p>
          <a:p>
            <a:pPr marL="574676" lvl="2" indent="-339726" algn="l" defTabSz="1828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pple Symbols" panose="02000000000000000000" pitchFamily="2" charset="-79"/>
              <a:buChar char="⎼"/>
              <a:tabLst/>
            </a:pPr>
            <a:r>
              <a:rPr lang="en-US"/>
              <a:t>Third level</a:t>
            </a:r>
          </a:p>
          <a:p>
            <a:pPr marL="1387476" lvl="3" indent="-339726" algn="l" defTabSz="1828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pple Symbols" panose="02000000000000000000" pitchFamily="2" charset="-79"/>
              <a:buChar char="⎼"/>
              <a:tabLst/>
            </a:pPr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9CA8E2B-2B06-3049-8A99-94E0B3F72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2030" y="12801598"/>
            <a:ext cx="548640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 b="0" i="0">
                <a:solidFill>
                  <a:schemeClr val="bg2"/>
                </a:solidFill>
                <a:latin typeface="Trebuchet MS" panose="020B0703020202090204" pitchFamily="34" charset="0"/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989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  <p:sldLayoutId id="2147483698" r:id="rId18"/>
    <p:sldLayoutId id="2147483699" r:id="rId19"/>
    <p:sldLayoutId id="2147483700" r:id="rId20"/>
    <p:sldLayoutId id="2147483701" r:id="rId21"/>
    <p:sldLayoutId id="2147483702" r:id="rId22"/>
    <p:sldLayoutId id="2147483703" r:id="rId23"/>
    <p:sldLayoutId id="2147483704" r:id="rId24"/>
    <p:sldLayoutId id="2147483705" r:id="rId25"/>
    <p:sldLayoutId id="2147483706" r:id="rId26"/>
    <p:sldLayoutId id="2147483707" r:id="rId27"/>
    <p:sldLayoutId id="2147483708" r:id="rId28"/>
    <p:sldLayoutId id="2147483709" r:id="rId29"/>
    <p:sldLayoutId id="2147483710" r:id="rId30"/>
    <p:sldLayoutId id="2147483711" r:id="rId31"/>
    <p:sldLayoutId id="2147483712" r:id="rId32"/>
    <p:sldLayoutId id="2147483713" r:id="rId33"/>
    <p:sldLayoutId id="2147483716" r:id="rId34"/>
    <p:sldLayoutId id="2147483717" r:id="rId35"/>
  </p:sldLayoutIdLst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7200" b="1" i="0" kern="800" spc="0" baseline="0">
          <a:solidFill>
            <a:schemeClr val="accent1"/>
          </a:solidFill>
          <a:latin typeface="Trebuchet MS" panose="020B0703020202090204" pitchFamily="34" charset="0"/>
          <a:ea typeface="+mj-ea"/>
          <a:cs typeface="Trebuchet MS" panose="020B0703020202090204" pitchFamily="34" charset="0"/>
        </a:defRPr>
      </a:lvl1pPr>
    </p:titleStyle>
    <p:bodyStyle>
      <a:lvl1pPr marL="0" indent="0" algn="l" defTabSz="1828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4000" b="0" i="0" kern="1600" spc="-10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1pPr>
      <a:lvl2pPr marL="581026" indent="-349250" algn="l" defTabSz="1828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Font typeface="Apple Symbols" panose="02000000000000000000" pitchFamily="2" charset="-79"/>
        <a:buChar char="⎼"/>
        <a:tabLst/>
        <a:defRPr lang="en-US" sz="3600" b="0" i="1" kern="1600" spc="-100" baseline="0" dirty="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2pPr>
      <a:lvl3pPr marL="806450" indent="-571500" algn="l" defTabSz="1828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Font typeface="Apple Symbols" panose="02000000000000000000" pitchFamily="2" charset="-79"/>
        <a:buChar char="⎼"/>
        <a:tabLst/>
        <a:defRPr lang="en-US" sz="3200" b="0" i="0" kern="1600" spc="-10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3pPr>
      <a:lvl4pPr marL="1619250" indent="-571500" algn="l" defTabSz="1828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Font typeface="Apple Symbols" panose="02000000000000000000" pitchFamily="2" charset="-79"/>
        <a:buChar char="⎼"/>
        <a:tabLst/>
        <a:defRPr lang="en-US" sz="2800" b="0" i="0" kern="1600" spc="-10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4pPr>
      <a:lvl5pPr marL="2752726" indent="-349250" algn="l" defTabSz="1828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Font typeface="Apple Symbols" panose="02000000000000000000" pitchFamily="2" charset="-79"/>
        <a:buChar char="⎼"/>
        <a:tabLst/>
        <a:defRPr sz="2400" b="0" i="0" kern="1600" spc="-10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438">
          <p15:clr>
            <a:srgbClr val="F26B43"/>
          </p15:clr>
        </p15:guide>
        <p15:guide id="3" pos="7242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3748">
          <p15:clr>
            <a:srgbClr val="F26B43"/>
          </p15:clr>
        </p15:guide>
        <p15:guide id="6" orient="horz" pos="79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A633ED33-FBB8-4F8A-AF24-639DA811FC52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237096363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26" imgW="383" imgH="384" progId="TCLayout.ActiveDocument.1">
                  <p:embed/>
                </p:oleObj>
              </mc:Choice>
              <mc:Fallback>
                <p:oleObj name="think-cell Slide" r:id="rId26" imgW="383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A633ED33-FBB8-4F8A-AF24-639DA811FC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DA17CF6B-F742-4C29-83DC-15FA38EE15D2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7200" b="1" i="0" baseline="0" dirty="0">
              <a:latin typeface="Trebuchet MS" panose="020B0603020202020204" pitchFamily="34" charset="0"/>
              <a:ea typeface="+mj-ea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035D506E-9CFA-5744-8CC1-366D985D6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200" y="730252"/>
            <a:ext cx="21849348" cy="193512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Master Slide Template – Click to Edi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A4A9B1D-8809-B740-A68B-9969B712A0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19200" y="3885354"/>
            <a:ext cx="21849348" cy="84685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marL="31750" lvl="1" indent="0" algn="l" defTabSz="1828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pple Symbols" panose="02000000000000000000" pitchFamily="2" charset="-79"/>
              <a:buNone/>
              <a:tabLst/>
            </a:pPr>
            <a:r>
              <a:rPr lang="en-US" dirty="0"/>
              <a:t>Second level</a:t>
            </a:r>
          </a:p>
          <a:p>
            <a:pPr marL="574676" lvl="2" indent="-339726" algn="l" defTabSz="1828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pple Symbols" panose="02000000000000000000" pitchFamily="2" charset="-79"/>
              <a:buChar char="⎼"/>
              <a:tabLst/>
            </a:pPr>
            <a:r>
              <a:rPr lang="en-US" dirty="0"/>
              <a:t>Third level</a:t>
            </a:r>
          </a:p>
          <a:p>
            <a:pPr marL="1387476" lvl="3" indent="-339726" algn="l" defTabSz="1828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pple Symbols" panose="02000000000000000000" pitchFamily="2" charset="-79"/>
              <a:buChar char="⎼"/>
              <a:tabLst/>
            </a:pPr>
            <a:r>
              <a:rPr lang="en-US" dirty="0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9CA8E2B-2B06-3049-8A99-94E0B3F72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2030" y="12801598"/>
            <a:ext cx="5486400" cy="5829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 b="0" i="0">
                <a:solidFill>
                  <a:schemeClr val="bg2"/>
                </a:solidFill>
                <a:latin typeface="Trebuchet MS" panose="020B0703020202090204" pitchFamily="34" charset="0"/>
              </a:defRPr>
            </a:lvl1pPr>
          </a:lstStyle>
          <a:p>
            <a:fld id="{18585084-379B-F946-AABF-822A5ADBB42E}" type="slidenum">
              <a:rPr lang="el-GR" smtClean="0"/>
              <a:t>‹#›</a:t>
            </a:fld>
            <a:endParaRPr lang="el-GR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xmlns="" id="{DF37C4B3-C390-1B4B-9F24-930CD9AE7CA0}"/>
              </a:ext>
            </a:extLst>
          </p:cNvPr>
          <p:cNvSpPr txBox="1">
            <a:spLocks/>
          </p:cNvSpPr>
          <p:nvPr/>
        </p:nvSpPr>
        <p:spPr>
          <a:xfrm>
            <a:off x="9400674" y="12801598"/>
            <a:ext cx="5486400" cy="582984"/>
          </a:xfrm>
          <a:prstGeom prst="rect">
            <a:avLst/>
          </a:prstGeom>
        </p:spPr>
        <p:txBody>
          <a:bodyPr vert="horz" lIns="182880" tIns="91440" rIns="18288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0" i="0" dirty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384955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</p:sldLayoutIdLst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7200" b="1" i="0" kern="800" spc="0" baseline="0">
          <a:solidFill>
            <a:schemeClr val="accent1"/>
          </a:solidFill>
          <a:latin typeface="Trebuchet MS" panose="020B0703020202090204" pitchFamily="34" charset="0"/>
          <a:ea typeface="+mj-ea"/>
          <a:cs typeface="Trebuchet MS" panose="020B0703020202090204" pitchFamily="34" charset="0"/>
        </a:defRPr>
      </a:lvl1pPr>
    </p:titleStyle>
    <p:bodyStyle>
      <a:lvl1pPr marL="0" indent="0" algn="l" defTabSz="1828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4000" b="0" i="0" kern="1600" spc="-10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1pPr>
      <a:lvl2pPr marL="581026" indent="-349250" algn="l" defTabSz="1828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Font typeface="Apple Symbols" panose="02000000000000000000" pitchFamily="2" charset="-79"/>
        <a:buChar char="⎼"/>
        <a:tabLst/>
        <a:defRPr lang="en-US" sz="3600" b="0" i="1" kern="1600" spc="-100" baseline="0" dirty="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2pPr>
      <a:lvl3pPr marL="806450" indent="-571500" algn="l" defTabSz="1828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Font typeface="Apple Symbols" panose="02000000000000000000" pitchFamily="2" charset="-79"/>
        <a:buChar char="⎼"/>
        <a:tabLst/>
        <a:defRPr lang="en-US" sz="3200" b="0" i="0" kern="1600" spc="-10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3pPr>
      <a:lvl4pPr marL="1619250" indent="-571500" algn="l" defTabSz="1828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Font typeface="Apple Symbols" panose="02000000000000000000" pitchFamily="2" charset="-79"/>
        <a:buChar char="⎼"/>
        <a:tabLst/>
        <a:defRPr lang="en-US" sz="2800" b="0" i="0" kern="1600" spc="-10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4pPr>
      <a:lvl5pPr marL="2752726" indent="-349250" algn="l" defTabSz="182880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Font typeface="Apple Symbols" panose="02000000000000000000" pitchFamily="2" charset="-79"/>
        <a:buChar char="⎼"/>
        <a:tabLst/>
        <a:defRPr sz="2400" b="0" i="0" kern="1600" spc="-10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Relationship Id="rId4" Type="http://schemas.openxmlformats.org/officeDocument/2006/relationships/chart" Target="../charts/char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4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72" name="Google Shape;9;p2"/>
          <p:cNvGrpSpPr/>
          <p:nvPr/>
        </p:nvGrpSpPr>
        <p:grpSpPr>
          <a:xfrm>
            <a:off x="0" y="636176"/>
            <a:ext cx="24384001" cy="13380113"/>
            <a:chOff x="0" y="0"/>
            <a:chExt cx="24384000" cy="13380111"/>
          </a:xfrm>
        </p:grpSpPr>
        <p:sp>
          <p:nvSpPr>
            <p:cNvPr id="777" name="Google Shape;10;p2"/>
            <p:cNvSpPr/>
            <p:nvPr/>
          </p:nvSpPr>
          <p:spPr>
            <a:xfrm>
              <a:off x="22173731" y="0"/>
              <a:ext cx="932326" cy="1179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05" h="21600" extrusionOk="0">
                  <a:moveTo>
                    <a:pt x="8123" y="695"/>
                  </a:moveTo>
                  <a:cubicBezTo>
                    <a:pt x="8693" y="695"/>
                    <a:pt x="9253" y="970"/>
                    <a:pt x="9355" y="1588"/>
                  </a:cubicBezTo>
                  <a:cubicBezTo>
                    <a:pt x="9427" y="1911"/>
                    <a:pt x="9331" y="2216"/>
                    <a:pt x="9070" y="2462"/>
                  </a:cubicBezTo>
                  <a:lnTo>
                    <a:pt x="7479" y="2690"/>
                  </a:lnTo>
                  <a:cubicBezTo>
                    <a:pt x="7148" y="2539"/>
                    <a:pt x="6911" y="2272"/>
                    <a:pt x="6839" y="1968"/>
                  </a:cubicBezTo>
                  <a:cubicBezTo>
                    <a:pt x="6610" y="1169"/>
                    <a:pt x="7375" y="695"/>
                    <a:pt x="8123" y="695"/>
                  </a:cubicBezTo>
                  <a:close/>
                  <a:moveTo>
                    <a:pt x="15478" y="4392"/>
                  </a:moveTo>
                  <a:cubicBezTo>
                    <a:pt x="16018" y="4392"/>
                    <a:pt x="16487" y="4681"/>
                    <a:pt x="16572" y="5125"/>
                  </a:cubicBezTo>
                  <a:lnTo>
                    <a:pt x="19350" y="17205"/>
                  </a:lnTo>
                  <a:cubicBezTo>
                    <a:pt x="19443" y="17679"/>
                    <a:pt x="19041" y="18136"/>
                    <a:pt x="18446" y="18213"/>
                  </a:cubicBezTo>
                  <a:lnTo>
                    <a:pt x="5960" y="20039"/>
                  </a:lnTo>
                  <a:cubicBezTo>
                    <a:pt x="5890" y="20050"/>
                    <a:pt x="5820" y="20055"/>
                    <a:pt x="5752" y="20055"/>
                  </a:cubicBezTo>
                  <a:cubicBezTo>
                    <a:pt x="5240" y="20055"/>
                    <a:pt x="4785" y="19755"/>
                    <a:pt x="4702" y="19335"/>
                  </a:cubicBezTo>
                  <a:lnTo>
                    <a:pt x="1948" y="7237"/>
                  </a:lnTo>
                  <a:cubicBezTo>
                    <a:pt x="1831" y="6761"/>
                    <a:pt x="2234" y="6323"/>
                    <a:pt x="2828" y="6229"/>
                  </a:cubicBezTo>
                  <a:lnTo>
                    <a:pt x="4323" y="6020"/>
                  </a:lnTo>
                  <a:cubicBezTo>
                    <a:pt x="4385" y="6354"/>
                    <a:pt x="4742" y="6585"/>
                    <a:pt x="5148" y="6585"/>
                  </a:cubicBezTo>
                  <a:cubicBezTo>
                    <a:pt x="5204" y="6585"/>
                    <a:pt x="5262" y="6581"/>
                    <a:pt x="5320" y="6571"/>
                  </a:cubicBezTo>
                  <a:lnTo>
                    <a:pt x="13129" y="5430"/>
                  </a:lnTo>
                  <a:cubicBezTo>
                    <a:pt x="13580" y="5373"/>
                    <a:pt x="13913" y="4993"/>
                    <a:pt x="13817" y="4632"/>
                  </a:cubicBezTo>
                  <a:lnTo>
                    <a:pt x="15290" y="4403"/>
                  </a:lnTo>
                  <a:cubicBezTo>
                    <a:pt x="15352" y="4395"/>
                    <a:pt x="15416" y="4392"/>
                    <a:pt x="15478" y="4392"/>
                  </a:cubicBezTo>
                  <a:close/>
                  <a:moveTo>
                    <a:pt x="8099" y="0"/>
                  </a:moveTo>
                  <a:cubicBezTo>
                    <a:pt x="7973" y="0"/>
                    <a:pt x="7846" y="10"/>
                    <a:pt x="7718" y="27"/>
                  </a:cubicBezTo>
                  <a:cubicBezTo>
                    <a:pt x="6506" y="217"/>
                    <a:pt x="5723" y="1131"/>
                    <a:pt x="5984" y="2082"/>
                  </a:cubicBezTo>
                  <a:cubicBezTo>
                    <a:pt x="6032" y="2368"/>
                    <a:pt x="6175" y="2634"/>
                    <a:pt x="6412" y="2842"/>
                  </a:cubicBezTo>
                  <a:lnTo>
                    <a:pt x="4845" y="3071"/>
                  </a:lnTo>
                  <a:cubicBezTo>
                    <a:pt x="4227" y="3167"/>
                    <a:pt x="3801" y="3660"/>
                    <a:pt x="3920" y="4175"/>
                  </a:cubicBezTo>
                  <a:lnTo>
                    <a:pt x="4014" y="4612"/>
                  </a:lnTo>
                  <a:lnTo>
                    <a:pt x="1450" y="4993"/>
                  </a:lnTo>
                  <a:cubicBezTo>
                    <a:pt x="477" y="5125"/>
                    <a:pt x="-139" y="5868"/>
                    <a:pt x="26" y="6629"/>
                  </a:cubicBezTo>
                  <a:lnTo>
                    <a:pt x="3161" y="20419"/>
                  </a:lnTo>
                  <a:cubicBezTo>
                    <a:pt x="3330" y="21116"/>
                    <a:pt x="4068" y="21600"/>
                    <a:pt x="4917" y="21600"/>
                  </a:cubicBezTo>
                  <a:cubicBezTo>
                    <a:pt x="5019" y="21600"/>
                    <a:pt x="5122" y="21594"/>
                    <a:pt x="5224" y="21579"/>
                  </a:cubicBezTo>
                  <a:lnTo>
                    <a:pt x="19848" y="19430"/>
                  </a:lnTo>
                  <a:cubicBezTo>
                    <a:pt x="20821" y="19277"/>
                    <a:pt x="21461" y="18536"/>
                    <a:pt x="21272" y="17775"/>
                  </a:cubicBezTo>
                  <a:lnTo>
                    <a:pt x="18137" y="3984"/>
                  </a:lnTo>
                  <a:cubicBezTo>
                    <a:pt x="17992" y="3298"/>
                    <a:pt x="17254" y="2817"/>
                    <a:pt x="16415" y="2817"/>
                  </a:cubicBezTo>
                  <a:cubicBezTo>
                    <a:pt x="16303" y="2817"/>
                    <a:pt x="16188" y="2825"/>
                    <a:pt x="16074" y="2842"/>
                  </a:cubicBezTo>
                  <a:lnTo>
                    <a:pt x="13534" y="3224"/>
                  </a:lnTo>
                  <a:lnTo>
                    <a:pt x="13414" y="2786"/>
                  </a:lnTo>
                  <a:cubicBezTo>
                    <a:pt x="13309" y="2329"/>
                    <a:pt x="12830" y="2010"/>
                    <a:pt x="12276" y="2010"/>
                  </a:cubicBezTo>
                  <a:cubicBezTo>
                    <a:pt x="12204" y="2010"/>
                    <a:pt x="12134" y="2015"/>
                    <a:pt x="12061" y="2026"/>
                  </a:cubicBezTo>
                  <a:lnTo>
                    <a:pt x="10163" y="2291"/>
                  </a:lnTo>
                  <a:cubicBezTo>
                    <a:pt x="10280" y="2026"/>
                    <a:pt x="10304" y="1740"/>
                    <a:pt x="10234" y="1473"/>
                  </a:cubicBezTo>
                  <a:cubicBezTo>
                    <a:pt x="10065" y="609"/>
                    <a:pt x="9140" y="0"/>
                    <a:pt x="809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778" name="Google Shape;11;p2"/>
            <p:cNvSpPr/>
            <p:nvPr/>
          </p:nvSpPr>
          <p:spPr>
            <a:xfrm>
              <a:off x="22355331" y="425151"/>
              <a:ext cx="135424" cy="1348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7" h="21600" extrusionOk="0">
                  <a:moveTo>
                    <a:pt x="9178" y="0"/>
                  </a:moveTo>
                  <a:cubicBezTo>
                    <a:pt x="8622" y="0"/>
                    <a:pt x="8054" y="56"/>
                    <a:pt x="7498" y="196"/>
                  </a:cubicBezTo>
                  <a:cubicBezTo>
                    <a:pt x="-510" y="1858"/>
                    <a:pt x="-2723" y="14167"/>
                    <a:pt x="3905" y="19658"/>
                  </a:cubicBezTo>
                  <a:cubicBezTo>
                    <a:pt x="5493" y="20999"/>
                    <a:pt x="7208" y="21600"/>
                    <a:pt x="8888" y="21600"/>
                  </a:cubicBezTo>
                  <a:cubicBezTo>
                    <a:pt x="14091" y="21600"/>
                    <a:pt x="18877" y="15886"/>
                    <a:pt x="17846" y="8844"/>
                  </a:cubicBezTo>
                  <a:cubicBezTo>
                    <a:pt x="16988" y="3702"/>
                    <a:pt x="13338" y="0"/>
                    <a:pt x="917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779" name="Google Shape;12;p2"/>
            <p:cNvSpPr/>
            <p:nvPr/>
          </p:nvSpPr>
          <p:spPr>
            <a:xfrm>
              <a:off x="22536246" y="385803"/>
              <a:ext cx="304127" cy="1180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72" h="21600" extrusionOk="0">
                  <a:moveTo>
                    <a:pt x="17229" y="0"/>
                  </a:moveTo>
                  <a:cubicBezTo>
                    <a:pt x="17026" y="0"/>
                    <a:pt x="16813" y="64"/>
                    <a:pt x="16589" y="208"/>
                  </a:cubicBezTo>
                  <a:lnTo>
                    <a:pt x="2013" y="7807"/>
                  </a:lnTo>
                  <a:cubicBezTo>
                    <a:pt x="-1025" y="9243"/>
                    <a:pt x="-402" y="21600"/>
                    <a:pt x="2400" y="21600"/>
                  </a:cubicBezTo>
                  <a:cubicBezTo>
                    <a:pt x="2552" y="21600"/>
                    <a:pt x="2714" y="21568"/>
                    <a:pt x="2883" y="21488"/>
                  </a:cubicBezTo>
                  <a:lnTo>
                    <a:pt x="17459" y="13889"/>
                  </a:lnTo>
                  <a:cubicBezTo>
                    <a:pt x="20575" y="12644"/>
                    <a:pt x="20030" y="0"/>
                    <a:pt x="1722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780" name="Google Shape;13;p2"/>
            <p:cNvSpPr/>
            <p:nvPr/>
          </p:nvSpPr>
          <p:spPr>
            <a:xfrm>
              <a:off x="22389915" y="613429"/>
              <a:ext cx="135068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39" h="21600" extrusionOk="0">
                  <a:moveTo>
                    <a:pt x="8987" y="0"/>
                  </a:moveTo>
                  <a:cubicBezTo>
                    <a:pt x="8477" y="0"/>
                    <a:pt x="7967" y="42"/>
                    <a:pt x="7446" y="154"/>
                  </a:cubicBezTo>
                  <a:cubicBezTo>
                    <a:pt x="-411" y="1819"/>
                    <a:pt x="-2763" y="14144"/>
                    <a:pt x="3865" y="19641"/>
                  </a:cubicBezTo>
                  <a:cubicBezTo>
                    <a:pt x="5464" y="20998"/>
                    <a:pt x="7214" y="21600"/>
                    <a:pt x="8906" y="21600"/>
                  </a:cubicBezTo>
                  <a:cubicBezTo>
                    <a:pt x="14086" y="21600"/>
                    <a:pt x="18837" y="15962"/>
                    <a:pt x="17794" y="8813"/>
                  </a:cubicBezTo>
                  <a:cubicBezTo>
                    <a:pt x="16937" y="3609"/>
                    <a:pt x="13217" y="0"/>
                    <a:pt x="898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781" name="Google Shape;14;p2"/>
            <p:cNvSpPr/>
            <p:nvPr/>
          </p:nvSpPr>
          <p:spPr>
            <a:xfrm>
              <a:off x="22573028" y="573732"/>
              <a:ext cx="296516" cy="117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08" h="21600" extrusionOk="0">
                  <a:moveTo>
                    <a:pt x="16932" y="0"/>
                  </a:moveTo>
                  <a:cubicBezTo>
                    <a:pt x="16863" y="0"/>
                    <a:pt x="16794" y="16"/>
                    <a:pt x="16725" y="32"/>
                  </a:cubicBezTo>
                  <a:lnTo>
                    <a:pt x="1824" y="7659"/>
                  </a:lnTo>
                  <a:cubicBezTo>
                    <a:pt x="-1046" y="9903"/>
                    <a:pt x="-328" y="21600"/>
                    <a:pt x="2576" y="21600"/>
                  </a:cubicBezTo>
                  <a:cubicBezTo>
                    <a:pt x="2645" y="21600"/>
                    <a:pt x="2714" y="21600"/>
                    <a:pt x="2783" y="21584"/>
                  </a:cubicBezTo>
                  <a:lnTo>
                    <a:pt x="17684" y="13957"/>
                  </a:lnTo>
                  <a:cubicBezTo>
                    <a:pt x="20554" y="11713"/>
                    <a:pt x="19836" y="0"/>
                    <a:pt x="1693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782" name="Google Shape;15;p2"/>
            <p:cNvSpPr/>
            <p:nvPr/>
          </p:nvSpPr>
          <p:spPr>
            <a:xfrm>
              <a:off x="22426297" y="813921"/>
              <a:ext cx="135077" cy="1356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1" h="21600" extrusionOk="0">
                  <a:moveTo>
                    <a:pt x="8976" y="0"/>
                  </a:moveTo>
                  <a:cubicBezTo>
                    <a:pt x="8477" y="0"/>
                    <a:pt x="7967" y="42"/>
                    <a:pt x="7446" y="153"/>
                  </a:cubicBezTo>
                  <a:cubicBezTo>
                    <a:pt x="-411" y="1806"/>
                    <a:pt x="-2763" y="14043"/>
                    <a:pt x="3865" y="19669"/>
                  </a:cubicBezTo>
                  <a:cubicBezTo>
                    <a:pt x="5476" y="21003"/>
                    <a:pt x="7214" y="21600"/>
                    <a:pt x="8906" y="21600"/>
                  </a:cubicBezTo>
                  <a:cubicBezTo>
                    <a:pt x="14132" y="21600"/>
                    <a:pt x="18837" y="15919"/>
                    <a:pt x="17794" y="8918"/>
                  </a:cubicBezTo>
                  <a:cubicBezTo>
                    <a:pt x="16937" y="3598"/>
                    <a:pt x="13205" y="0"/>
                    <a:pt x="897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783" name="Google Shape;16;p2"/>
            <p:cNvSpPr/>
            <p:nvPr/>
          </p:nvSpPr>
          <p:spPr>
            <a:xfrm>
              <a:off x="22608823" y="774050"/>
              <a:ext cx="299107" cy="1190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08" h="21600" extrusionOk="0">
                  <a:moveTo>
                    <a:pt x="17005" y="0"/>
                  </a:moveTo>
                  <a:cubicBezTo>
                    <a:pt x="16903" y="0"/>
                    <a:pt x="16795" y="16"/>
                    <a:pt x="16687" y="63"/>
                  </a:cubicBezTo>
                  <a:lnTo>
                    <a:pt x="1915" y="7601"/>
                  </a:lnTo>
                  <a:cubicBezTo>
                    <a:pt x="-1027" y="9596"/>
                    <a:pt x="-373" y="21600"/>
                    <a:pt x="2472" y="21600"/>
                  </a:cubicBezTo>
                  <a:cubicBezTo>
                    <a:pt x="2581" y="21600"/>
                    <a:pt x="2689" y="21584"/>
                    <a:pt x="2797" y="21552"/>
                  </a:cubicBezTo>
                  <a:lnTo>
                    <a:pt x="17563" y="14015"/>
                  </a:lnTo>
                  <a:cubicBezTo>
                    <a:pt x="20573" y="12004"/>
                    <a:pt x="19856" y="0"/>
                    <a:pt x="17005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784" name="Google Shape;17;p2"/>
            <p:cNvSpPr/>
            <p:nvPr/>
          </p:nvSpPr>
          <p:spPr>
            <a:xfrm>
              <a:off x="22288027" y="1649742"/>
              <a:ext cx="602469" cy="6076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14" h="21600" extrusionOk="0">
                  <a:moveTo>
                    <a:pt x="9723" y="0"/>
                  </a:moveTo>
                  <a:cubicBezTo>
                    <a:pt x="6857" y="0"/>
                    <a:pt x="4044" y="1439"/>
                    <a:pt x="2191" y="4146"/>
                  </a:cubicBezTo>
                  <a:lnTo>
                    <a:pt x="18156" y="15407"/>
                  </a:lnTo>
                  <a:cubicBezTo>
                    <a:pt x="20410" y="10535"/>
                    <a:pt x="18952" y="4553"/>
                    <a:pt x="14812" y="1634"/>
                  </a:cubicBezTo>
                  <a:cubicBezTo>
                    <a:pt x="13231" y="533"/>
                    <a:pt x="11467" y="0"/>
                    <a:pt x="9723" y="0"/>
                  </a:cubicBezTo>
                  <a:close/>
                  <a:moveTo>
                    <a:pt x="1064" y="6178"/>
                  </a:moveTo>
                  <a:cubicBezTo>
                    <a:pt x="-1190" y="11016"/>
                    <a:pt x="235" y="17032"/>
                    <a:pt x="4408" y="19950"/>
                  </a:cubicBezTo>
                  <a:cubicBezTo>
                    <a:pt x="5983" y="21063"/>
                    <a:pt x="7742" y="21600"/>
                    <a:pt x="9481" y="21600"/>
                  </a:cubicBezTo>
                  <a:cubicBezTo>
                    <a:pt x="12352" y="21600"/>
                    <a:pt x="15173" y="20139"/>
                    <a:pt x="17032" y="17401"/>
                  </a:cubicBezTo>
                  <a:lnTo>
                    <a:pt x="1064" y="6178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785" name="Google Shape;18;p2"/>
            <p:cNvSpPr/>
            <p:nvPr/>
          </p:nvSpPr>
          <p:spPr>
            <a:xfrm>
              <a:off x="23545369" y="346368"/>
              <a:ext cx="504551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2" h="21600" extrusionOk="0">
                  <a:moveTo>
                    <a:pt x="11761" y="0"/>
                  </a:moveTo>
                  <a:lnTo>
                    <a:pt x="3248" y="6246"/>
                  </a:lnTo>
                  <a:cubicBezTo>
                    <a:pt x="-139" y="8755"/>
                    <a:pt x="-1028" y="13772"/>
                    <a:pt x="1298" y="17464"/>
                  </a:cubicBezTo>
                  <a:lnTo>
                    <a:pt x="1683" y="18057"/>
                  </a:lnTo>
                  <a:cubicBezTo>
                    <a:pt x="3106" y="20359"/>
                    <a:pt x="5468" y="21600"/>
                    <a:pt x="7869" y="21600"/>
                  </a:cubicBezTo>
                  <a:cubicBezTo>
                    <a:pt x="9317" y="21600"/>
                    <a:pt x="10782" y="21144"/>
                    <a:pt x="12059" y="20202"/>
                  </a:cubicBezTo>
                  <a:lnTo>
                    <a:pt x="20572" y="13956"/>
                  </a:lnTo>
                  <a:lnTo>
                    <a:pt x="11761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786" name="Google Shape;19;p2"/>
            <p:cNvSpPr/>
            <p:nvPr/>
          </p:nvSpPr>
          <p:spPr>
            <a:xfrm>
              <a:off x="23878480" y="143171"/>
              <a:ext cx="505521" cy="4919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2689" y="0"/>
                  </a:moveTo>
                  <a:cubicBezTo>
                    <a:pt x="11244" y="0"/>
                    <a:pt x="9788" y="452"/>
                    <a:pt x="8496" y="1398"/>
                  </a:cubicBezTo>
                  <a:lnTo>
                    <a:pt x="0" y="7646"/>
                  </a:lnTo>
                  <a:lnTo>
                    <a:pt x="8794" y="21600"/>
                  </a:lnTo>
                  <a:lnTo>
                    <a:pt x="17290" y="15353"/>
                  </a:lnTo>
                  <a:cubicBezTo>
                    <a:pt x="20712" y="12844"/>
                    <a:pt x="21600" y="7826"/>
                    <a:pt x="19275" y="4133"/>
                  </a:cubicBezTo>
                  <a:lnTo>
                    <a:pt x="18895" y="3539"/>
                  </a:lnTo>
                  <a:cubicBezTo>
                    <a:pt x="17421" y="1237"/>
                    <a:pt x="15075" y="0"/>
                    <a:pt x="1268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787" name="Google Shape;20;p2"/>
            <p:cNvSpPr/>
            <p:nvPr/>
          </p:nvSpPr>
          <p:spPr>
            <a:xfrm>
              <a:off x="23366130" y="1362876"/>
              <a:ext cx="932235" cy="9303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16" h="21600" extrusionOk="0">
                  <a:moveTo>
                    <a:pt x="10023" y="0"/>
                  </a:moveTo>
                  <a:cubicBezTo>
                    <a:pt x="9665" y="0"/>
                    <a:pt x="9350" y="273"/>
                    <a:pt x="9308" y="662"/>
                  </a:cubicBezTo>
                  <a:lnTo>
                    <a:pt x="8398" y="7705"/>
                  </a:lnTo>
                  <a:lnTo>
                    <a:pt x="1373" y="6763"/>
                  </a:lnTo>
                  <a:cubicBezTo>
                    <a:pt x="1342" y="6759"/>
                    <a:pt x="1312" y="6759"/>
                    <a:pt x="1284" y="6759"/>
                  </a:cubicBezTo>
                  <a:cubicBezTo>
                    <a:pt x="911" y="6759"/>
                    <a:pt x="577" y="7035"/>
                    <a:pt x="533" y="7415"/>
                  </a:cubicBezTo>
                  <a:lnTo>
                    <a:pt x="5" y="11418"/>
                  </a:lnTo>
                  <a:cubicBezTo>
                    <a:pt x="-41" y="11827"/>
                    <a:pt x="245" y="12214"/>
                    <a:pt x="654" y="12262"/>
                  </a:cubicBezTo>
                  <a:lnTo>
                    <a:pt x="654" y="12238"/>
                  </a:lnTo>
                  <a:lnTo>
                    <a:pt x="7653" y="13178"/>
                  </a:lnTo>
                  <a:lnTo>
                    <a:pt x="6743" y="20221"/>
                  </a:lnTo>
                  <a:cubicBezTo>
                    <a:pt x="6670" y="20630"/>
                    <a:pt x="6958" y="21017"/>
                    <a:pt x="7391" y="21065"/>
                  </a:cubicBezTo>
                  <a:lnTo>
                    <a:pt x="11346" y="21596"/>
                  </a:lnTo>
                  <a:cubicBezTo>
                    <a:pt x="11376" y="21598"/>
                    <a:pt x="11406" y="21600"/>
                    <a:pt x="11435" y="21600"/>
                  </a:cubicBezTo>
                  <a:cubicBezTo>
                    <a:pt x="11807" y="21600"/>
                    <a:pt x="12141" y="21325"/>
                    <a:pt x="12186" y="20944"/>
                  </a:cubicBezTo>
                  <a:lnTo>
                    <a:pt x="13120" y="13901"/>
                  </a:lnTo>
                  <a:lnTo>
                    <a:pt x="20145" y="14843"/>
                  </a:lnTo>
                  <a:cubicBezTo>
                    <a:pt x="20174" y="14847"/>
                    <a:pt x="20204" y="14847"/>
                    <a:pt x="20234" y="14847"/>
                  </a:cubicBezTo>
                  <a:cubicBezTo>
                    <a:pt x="20603" y="14847"/>
                    <a:pt x="20917" y="14571"/>
                    <a:pt x="20983" y="14191"/>
                  </a:cubicBezTo>
                  <a:lnTo>
                    <a:pt x="21511" y="10188"/>
                  </a:lnTo>
                  <a:cubicBezTo>
                    <a:pt x="21559" y="9777"/>
                    <a:pt x="21271" y="9392"/>
                    <a:pt x="20864" y="9344"/>
                  </a:cubicBezTo>
                  <a:lnTo>
                    <a:pt x="13839" y="8404"/>
                  </a:lnTo>
                  <a:lnTo>
                    <a:pt x="14775" y="1361"/>
                  </a:lnTo>
                  <a:cubicBezTo>
                    <a:pt x="14821" y="952"/>
                    <a:pt x="14536" y="565"/>
                    <a:pt x="14127" y="517"/>
                  </a:cubicBezTo>
                  <a:lnTo>
                    <a:pt x="10148" y="10"/>
                  </a:lnTo>
                  <a:cubicBezTo>
                    <a:pt x="10106" y="4"/>
                    <a:pt x="10063" y="0"/>
                    <a:pt x="1002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788" name="Google Shape;21;p2"/>
            <p:cNvSpPr/>
            <p:nvPr/>
          </p:nvSpPr>
          <p:spPr>
            <a:xfrm>
              <a:off x="22173451" y="2773999"/>
              <a:ext cx="932606" cy="11780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88" h="21600" extrusionOk="0">
                  <a:moveTo>
                    <a:pt x="8127" y="653"/>
                  </a:moveTo>
                  <a:cubicBezTo>
                    <a:pt x="8704" y="653"/>
                    <a:pt x="9272" y="933"/>
                    <a:pt x="9375" y="1561"/>
                  </a:cubicBezTo>
                  <a:cubicBezTo>
                    <a:pt x="9447" y="1867"/>
                    <a:pt x="9328" y="2190"/>
                    <a:pt x="9067" y="2419"/>
                  </a:cubicBezTo>
                  <a:lnTo>
                    <a:pt x="7501" y="2667"/>
                  </a:lnTo>
                  <a:cubicBezTo>
                    <a:pt x="7147" y="2515"/>
                    <a:pt x="6910" y="2248"/>
                    <a:pt x="6838" y="1924"/>
                  </a:cubicBezTo>
                  <a:cubicBezTo>
                    <a:pt x="6611" y="1126"/>
                    <a:pt x="7376" y="653"/>
                    <a:pt x="8127" y="653"/>
                  </a:cubicBezTo>
                  <a:close/>
                  <a:moveTo>
                    <a:pt x="15511" y="4364"/>
                  </a:moveTo>
                  <a:cubicBezTo>
                    <a:pt x="16025" y="4364"/>
                    <a:pt x="16479" y="4666"/>
                    <a:pt x="16583" y="5085"/>
                  </a:cubicBezTo>
                  <a:lnTo>
                    <a:pt x="19335" y="17180"/>
                  </a:lnTo>
                  <a:cubicBezTo>
                    <a:pt x="19452" y="17655"/>
                    <a:pt x="19050" y="18113"/>
                    <a:pt x="18457" y="18190"/>
                  </a:cubicBezTo>
                  <a:lnTo>
                    <a:pt x="5960" y="20018"/>
                  </a:lnTo>
                  <a:cubicBezTo>
                    <a:pt x="5890" y="20029"/>
                    <a:pt x="5823" y="20034"/>
                    <a:pt x="5753" y="20034"/>
                  </a:cubicBezTo>
                  <a:cubicBezTo>
                    <a:pt x="5245" y="20034"/>
                    <a:pt x="4809" y="19733"/>
                    <a:pt x="4703" y="19313"/>
                  </a:cubicBezTo>
                  <a:lnTo>
                    <a:pt x="1977" y="7219"/>
                  </a:lnTo>
                  <a:cubicBezTo>
                    <a:pt x="1859" y="6743"/>
                    <a:pt x="2262" y="6285"/>
                    <a:pt x="2855" y="6210"/>
                  </a:cubicBezTo>
                  <a:lnTo>
                    <a:pt x="4349" y="5981"/>
                  </a:lnTo>
                  <a:cubicBezTo>
                    <a:pt x="4413" y="6325"/>
                    <a:pt x="4787" y="6560"/>
                    <a:pt x="5209" y="6560"/>
                  </a:cubicBezTo>
                  <a:cubicBezTo>
                    <a:pt x="5253" y="6560"/>
                    <a:pt x="5299" y="6557"/>
                    <a:pt x="5345" y="6552"/>
                  </a:cubicBezTo>
                  <a:lnTo>
                    <a:pt x="13145" y="5408"/>
                  </a:lnTo>
                  <a:cubicBezTo>
                    <a:pt x="13595" y="5333"/>
                    <a:pt x="13928" y="4972"/>
                    <a:pt x="13832" y="4589"/>
                  </a:cubicBezTo>
                  <a:lnTo>
                    <a:pt x="15304" y="4381"/>
                  </a:lnTo>
                  <a:cubicBezTo>
                    <a:pt x="15374" y="4369"/>
                    <a:pt x="15444" y="4364"/>
                    <a:pt x="15511" y="4364"/>
                  </a:cubicBezTo>
                  <a:close/>
                  <a:moveTo>
                    <a:pt x="8105" y="0"/>
                  </a:moveTo>
                  <a:cubicBezTo>
                    <a:pt x="7810" y="0"/>
                    <a:pt x="7509" y="48"/>
                    <a:pt x="7219" y="152"/>
                  </a:cubicBezTo>
                  <a:cubicBezTo>
                    <a:pt x="5938" y="609"/>
                    <a:pt x="5534" y="1924"/>
                    <a:pt x="6412" y="2819"/>
                  </a:cubicBezTo>
                  <a:lnTo>
                    <a:pt x="4847" y="3047"/>
                  </a:lnTo>
                  <a:cubicBezTo>
                    <a:pt x="4229" y="3143"/>
                    <a:pt x="3803" y="3638"/>
                    <a:pt x="3923" y="4153"/>
                  </a:cubicBezTo>
                  <a:lnTo>
                    <a:pt x="4016" y="4589"/>
                  </a:lnTo>
                  <a:lnTo>
                    <a:pt x="1455" y="4972"/>
                  </a:lnTo>
                  <a:cubicBezTo>
                    <a:pt x="483" y="5104"/>
                    <a:pt x="-156" y="5847"/>
                    <a:pt x="33" y="6627"/>
                  </a:cubicBezTo>
                  <a:lnTo>
                    <a:pt x="3164" y="20418"/>
                  </a:lnTo>
                  <a:cubicBezTo>
                    <a:pt x="3333" y="21115"/>
                    <a:pt x="4070" y="21600"/>
                    <a:pt x="4918" y="21600"/>
                  </a:cubicBezTo>
                  <a:cubicBezTo>
                    <a:pt x="5020" y="21600"/>
                    <a:pt x="5124" y="21594"/>
                    <a:pt x="5225" y="21579"/>
                  </a:cubicBezTo>
                  <a:lnTo>
                    <a:pt x="19833" y="19426"/>
                  </a:lnTo>
                  <a:cubicBezTo>
                    <a:pt x="20805" y="19293"/>
                    <a:pt x="21444" y="18551"/>
                    <a:pt x="21255" y="17770"/>
                  </a:cubicBezTo>
                  <a:lnTo>
                    <a:pt x="18124" y="3962"/>
                  </a:lnTo>
                  <a:cubicBezTo>
                    <a:pt x="17979" y="3273"/>
                    <a:pt x="17242" y="2791"/>
                    <a:pt x="16403" y="2791"/>
                  </a:cubicBezTo>
                  <a:cubicBezTo>
                    <a:pt x="16292" y="2791"/>
                    <a:pt x="16176" y="2801"/>
                    <a:pt x="16063" y="2819"/>
                  </a:cubicBezTo>
                  <a:lnTo>
                    <a:pt x="13526" y="3180"/>
                  </a:lnTo>
                  <a:lnTo>
                    <a:pt x="13406" y="2743"/>
                  </a:lnTo>
                  <a:cubicBezTo>
                    <a:pt x="13299" y="2279"/>
                    <a:pt x="12807" y="1969"/>
                    <a:pt x="12241" y="1969"/>
                  </a:cubicBezTo>
                  <a:cubicBezTo>
                    <a:pt x="12179" y="1969"/>
                    <a:pt x="12118" y="1974"/>
                    <a:pt x="12054" y="1980"/>
                  </a:cubicBezTo>
                  <a:lnTo>
                    <a:pt x="10158" y="2267"/>
                  </a:lnTo>
                  <a:cubicBezTo>
                    <a:pt x="10276" y="1980"/>
                    <a:pt x="10299" y="1696"/>
                    <a:pt x="10230" y="1428"/>
                  </a:cubicBezTo>
                  <a:cubicBezTo>
                    <a:pt x="10027" y="561"/>
                    <a:pt x="9105" y="0"/>
                    <a:pt x="8105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789" name="Google Shape;22;p2"/>
            <p:cNvSpPr/>
            <p:nvPr/>
          </p:nvSpPr>
          <p:spPr>
            <a:xfrm>
              <a:off x="22355331" y="3196883"/>
              <a:ext cx="135430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8" h="21600" extrusionOk="0">
                  <a:moveTo>
                    <a:pt x="9027" y="0"/>
                  </a:moveTo>
                  <a:cubicBezTo>
                    <a:pt x="8517" y="0"/>
                    <a:pt x="8007" y="42"/>
                    <a:pt x="7498" y="154"/>
                  </a:cubicBezTo>
                  <a:cubicBezTo>
                    <a:pt x="-510" y="1819"/>
                    <a:pt x="-2723" y="14144"/>
                    <a:pt x="3905" y="19641"/>
                  </a:cubicBezTo>
                  <a:cubicBezTo>
                    <a:pt x="5504" y="20998"/>
                    <a:pt x="7254" y="21600"/>
                    <a:pt x="8946" y="21600"/>
                  </a:cubicBezTo>
                  <a:cubicBezTo>
                    <a:pt x="14126" y="21600"/>
                    <a:pt x="18877" y="15962"/>
                    <a:pt x="17846" y="8813"/>
                  </a:cubicBezTo>
                  <a:cubicBezTo>
                    <a:pt x="16977" y="3609"/>
                    <a:pt x="13257" y="0"/>
                    <a:pt x="902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790" name="Google Shape;23;p2"/>
            <p:cNvSpPr/>
            <p:nvPr/>
          </p:nvSpPr>
          <p:spPr>
            <a:xfrm>
              <a:off x="22535024" y="3157099"/>
              <a:ext cx="306542" cy="1187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5" h="21600" extrusionOk="0">
                  <a:moveTo>
                    <a:pt x="17200" y="0"/>
                  </a:moveTo>
                  <a:cubicBezTo>
                    <a:pt x="16983" y="0"/>
                    <a:pt x="16760" y="63"/>
                    <a:pt x="16521" y="222"/>
                  </a:cubicBezTo>
                  <a:lnTo>
                    <a:pt x="2073" y="7793"/>
                  </a:lnTo>
                  <a:cubicBezTo>
                    <a:pt x="-1016" y="9015"/>
                    <a:pt x="-415" y="21600"/>
                    <a:pt x="2312" y="21600"/>
                  </a:cubicBezTo>
                  <a:cubicBezTo>
                    <a:pt x="2513" y="21600"/>
                    <a:pt x="2719" y="21537"/>
                    <a:pt x="2936" y="21394"/>
                  </a:cubicBezTo>
                  <a:lnTo>
                    <a:pt x="17384" y="13839"/>
                  </a:lnTo>
                  <a:cubicBezTo>
                    <a:pt x="20584" y="12950"/>
                    <a:pt x="20011" y="0"/>
                    <a:pt x="1720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791" name="Google Shape;24;p2"/>
            <p:cNvSpPr/>
            <p:nvPr/>
          </p:nvSpPr>
          <p:spPr>
            <a:xfrm>
              <a:off x="22389915" y="3384899"/>
              <a:ext cx="135070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0" h="21600" extrusionOk="0">
                  <a:moveTo>
                    <a:pt x="8987" y="0"/>
                  </a:moveTo>
                  <a:cubicBezTo>
                    <a:pt x="8477" y="0"/>
                    <a:pt x="7967" y="42"/>
                    <a:pt x="7446" y="154"/>
                  </a:cubicBezTo>
                  <a:cubicBezTo>
                    <a:pt x="-411" y="1819"/>
                    <a:pt x="-2763" y="14144"/>
                    <a:pt x="3865" y="19641"/>
                  </a:cubicBezTo>
                  <a:cubicBezTo>
                    <a:pt x="5464" y="20998"/>
                    <a:pt x="7214" y="21600"/>
                    <a:pt x="8918" y="21600"/>
                  </a:cubicBezTo>
                  <a:cubicBezTo>
                    <a:pt x="14098" y="21600"/>
                    <a:pt x="18837" y="16004"/>
                    <a:pt x="17794" y="8981"/>
                  </a:cubicBezTo>
                  <a:cubicBezTo>
                    <a:pt x="16937" y="3623"/>
                    <a:pt x="13205" y="0"/>
                    <a:pt x="898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792" name="Google Shape;25;p2"/>
            <p:cNvSpPr/>
            <p:nvPr/>
          </p:nvSpPr>
          <p:spPr>
            <a:xfrm>
              <a:off x="22573036" y="3345202"/>
              <a:ext cx="296509" cy="1176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9" h="21600" extrusionOk="0">
                  <a:moveTo>
                    <a:pt x="16950" y="0"/>
                  </a:moveTo>
                  <a:cubicBezTo>
                    <a:pt x="16881" y="0"/>
                    <a:pt x="16812" y="16"/>
                    <a:pt x="16743" y="32"/>
                  </a:cubicBezTo>
                  <a:lnTo>
                    <a:pt x="1826" y="7654"/>
                  </a:lnTo>
                  <a:cubicBezTo>
                    <a:pt x="-1024" y="10055"/>
                    <a:pt x="-340" y="21600"/>
                    <a:pt x="2516" y="21600"/>
                  </a:cubicBezTo>
                  <a:cubicBezTo>
                    <a:pt x="2602" y="21600"/>
                    <a:pt x="2694" y="21584"/>
                    <a:pt x="2786" y="21568"/>
                  </a:cubicBezTo>
                  <a:lnTo>
                    <a:pt x="17703" y="14138"/>
                  </a:lnTo>
                  <a:cubicBezTo>
                    <a:pt x="20576" y="11705"/>
                    <a:pt x="19858" y="0"/>
                    <a:pt x="1695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793" name="Google Shape;26;p2"/>
            <p:cNvSpPr/>
            <p:nvPr/>
          </p:nvSpPr>
          <p:spPr>
            <a:xfrm>
              <a:off x="22426297" y="3586351"/>
              <a:ext cx="135068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39" h="21600" extrusionOk="0">
                  <a:moveTo>
                    <a:pt x="8987" y="0"/>
                  </a:moveTo>
                  <a:cubicBezTo>
                    <a:pt x="8477" y="0"/>
                    <a:pt x="7967" y="56"/>
                    <a:pt x="7446" y="168"/>
                  </a:cubicBezTo>
                  <a:cubicBezTo>
                    <a:pt x="-411" y="1831"/>
                    <a:pt x="-2763" y="14148"/>
                    <a:pt x="3865" y="19643"/>
                  </a:cubicBezTo>
                  <a:cubicBezTo>
                    <a:pt x="5464" y="20999"/>
                    <a:pt x="7203" y="21600"/>
                    <a:pt x="8906" y="21600"/>
                  </a:cubicBezTo>
                  <a:cubicBezTo>
                    <a:pt x="14086" y="21600"/>
                    <a:pt x="18837" y="15966"/>
                    <a:pt x="17794" y="8822"/>
                  </a:cubicBezTo>
                  <a:cubicBezTo>
                    <a:pt x="16937" y="3621"/>
                    <a:pt x="13205" y="0"/>
                    <a:pt x="898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794" name="Google Shape;27;p2"/>
            <p:cNvSpPr/>
            <p:nvPr/>
          </p:nvSpPr>
          <p:spPr>
            <a:xfrm>
              <a:off x="22609607" y="3546567"/>
              <a:ext cx="297127" cy="1178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48" h="21600" extrusionOk="0">
                  <a:moveTo>
                    <a:pt x="17108" y="0"/>
                  </a:moveTo>
                  <a:cubicBezTo>
                    <a:pt x="16999" y="0"/>
                    <a:pt x="16890" y="16"/>
                    <a:pt x="16781" y="48"/>
                  </a:cubicBezTo>
                  <a:lnTo>
                    <a:pt x="1880" y="7482"/>
                  </a:lnTo>
                  <a:cubicBezTo>
                    <a:pt x="-1036" y="9689"/>
                    <a:pt x="-353" y="21600"/>
                    <a:pt x="2506" y="21600"/>
                  </a:cubicBezTo>
                  <a:cubicBezTo>
                    <a:pt x="2592" y="21600"/>
                    <a:pt x="2678" y="21584"/>
                    <a:pt x="2770" y="21568"/>
                  </a:cubicBezTo>
                  <a:lnTo>
                    <a:pt x="17665" y="13942"/>
                  </a:lnTo>
                  <a:cubicBezTo>
                    <a:pt x="20564" y="11751"/>
                    <a:pt x="19910" y="0"/>
                    <a:pt x="1710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795" name="Google Shape;28;p2"/>
            <p:cNvSpPr/>
            <p:nvPr/>
          </p:nvSpPr>
          <p:spPr>
            <a:xfrm>
              <a:off x="22289569" y="4421473"/>
              <a:ext cx="600926" cy="60592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54" h="21600" extrusionOk="0">
                  <a:moveTo>
                    <a:pt x="9752" y="0"/>
                  </a:moveTo>
                  <a:cubicBezTo>
                    <a:pt x="6862" y="0"/>
                    <a:pt x="4019" y="1459"/>
                    <a:pt x="2152" y="4186"/>
                  </a:cubicBezTo>
                  <a:lnTo>
                    <a:pt x="18192" y="15442"/>
                  </a:lnTo>
                  <a:cubicBezTo>
                    <a:pt x="20456" y="10556"/>
                    <a:pt x="18991" y="4556"/>
                    <a:pt x="14832" y="1630"/>
                  </a:cubicBezTo>
                  <a:cubicBezTo>
                    <a:pt x="13255" y="532"/>
                    <a:pt x="11494" y="0"/>
                    <a:pt x="9752" y="0"/>
                  </a:cubicBezTo>
                  <a:close/>
                  <a:moveTo>
                    <a:pt x="1020" y="6186"/>
                  </a:moveTo>
                  <a:cubicBezTo>
                    <a:pt x="-1144" y="11035"/>
                    <a:pt x="220" y="17034"/>
                    <a:pt x="4313" y="19961"/>
                  </a:cubicBezTo>
                  <a:cubicBezTo>
                    <a:pt x="5900" y="21068"/>
                    <a:pt x="7678" y="21600"/>
                    <a:pt x="9437" y="21600"/>
                  </a:cubicBezTo>
                  <a:cubicBezTo>
                    <a:pt x="12330" y="21600"/>
                    <a:pt x="15178" y="20160"/>
                    <a:pt x="17062" y="17442"/>
                  </a:cubicBezTo>
                  <a:lnTo>
                    <a:pt x="1020" y="6186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796" name="Google Shape;29;p2"/>
            <p:cNvSpPr/>
            <p:nvPr/>
          </p:nvSpPr>
          <p:spPr>
            <a:xfrm>
              <a:off x="23545089" y="3118885"/>
              <a:ext cx="504831" cy="4910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84" h="21600" extrusionOk="0">
                  <a:moveTo>
                    <a:pt x="11773" y="0"/>
                  </a:moveTo>
                  <a:lnTo>
                    <a:pt x="3260" y="6214"/>
                  </a:lnTo>
                  <a:cubicBezTo>
                    <a:pt x="-169" y="8728"/>
                    <a:pt x="-1016" y="13755"/>
                    <a:pt x="1310" y="17455"/>
                  </a:cubicBezTo>
                  <a:lnTo>
                    <a:pt x="1695" y="18050"/>
                  </a:lnTo>
                  <a:cubicBezTo>
                    <a:pt x="3146" y="20357"/>
                    <a:pt x="5501" y="21600"/>
                    <a:pt x="7892" y="21600"/>
                  </a:cubicBezTo>
                  <a:cubicBezTo>
                    <a:pt x="9336" y="21600"/>
                    <a:pt x="10794" y="21143"/>
                    <a:pt x="12071" y="20199"/>
                  </a:cubicBezTo>
                  <a:lnTo>
                    <a:pt x="20584" y="13982"/>
                  </a:lnTo>
                  <a:lnTo>
                    <a:pt x="11773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797" name="Google Shape;30;p2"/>
            <p:cNvSpPr/>
            <p:nvPr/>
          </p:nvSpPr>
          <p:spPr>
            <a:xfrm>
              <a:off x="23878480" y="2915339"/>
              <a:ext cx="505061" cy="491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93" h="21600" extrusionOk="0">
                  <a:moveTo>
                    <a:pt x="12764" y="0"/>
                  </a:moveTo>
                  <a:cubicBezTo>
                    <a:pt x="11298" y="0"/>
                    <a:pt x="9818" y="456"/>
                    <a:pt x="8513" y="1412"/>
                  </a:cubicBezTo>
                  <a:lnTo>
                    <a:pt x="0" y="7626"/>
                  </a:lnTo>
                  <a:lnTo>
                    <a:pt x="8811" y="21600"/>
                  </a:lnTo>
                  <a:lnTo>
                    <a:pt x="17324" y="15344"/>
                  </a:lnTo>
                  <a:cubicBezTo>
                    <a:pt x="20753" y="12831"/>
                    <a:pt x="21600" y="7806"/>
                    <a:pt x="19313" y="4108"/>
                  </a:cubicBezTo>
                  <a:lnTo>
                    <a:pt x="19313" y="4154"/>
                  </a:lnTo>
                  <a:lnTo>
                    <a:pt x="18932" y="3514"/>
                  </a:lnTo>
                  <a:cubicBezTo>
                    <a:pt x="17488" y="1220"/>
                    <a:pt x="15151" y="0"/>
                    <a:pt x="1276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798" name="Google Shape;31;p2"/>
            <p:cNvSpPr/>
            <p:nvPr/>
          </p:nvSpPr>
          <p:spPr>
            <a:xfrm>
              <a:off x="23366130" y="4134346"/>
              <a:ext cx="931442" cy="9306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7" h="21600" extrusionOk="0">
                  <a:moveTo>
                    <a:pt x="10021" y="0"/>
                  </a:moveTo>
                  <a:cubicBezTo>
                    <a:pt x="9665" y="0"/>
                    <a:pt x="9350" y="269"/>
                    <a:pt x="9308" y="638"/>
                  </a:cubicBezTo>
                  <a:lnTo>
                    <a:pt x="8398" y="7701"/>
                  </a:lnTo>
                  <a:lnTo>
                    <a:pt x="1373" y="6761"/>
                  </a:lnTo>
                  <a:cubicBezTo>
                    <a:pt x="1342" y="6757"/>
                    <a:pt x="1312" y="6755"/>
                    <a:pt x="1284" y="6755"/>
                  </a:cubicBezTo>
                  <a:cubicBezTo>
                    <a:pt x="911" y="6755"/>
                    <a:pt x="577" y="7033"/>
                    <a:pt x="533" y="7411"/>
                  </a:cubicBezTo>
                  <a:lnTo>
                    <a:pt x="5" y="11415"/>
                  </a:lnTo>
                  <a:cubicBezTo>
                    <a:pt x="-41" y="11824"/>
                    <a:pt x="245" y="12210"/>
                    <a:pt x="654" y="12259"/>
                  </a:cubicBezTo>
                  <a:lnTo>
                    <a:pt x="654" y="12235"/>
                  </a:lnTo>
                  <a:lnTo>
                    <a:pt x="7653" y="13174"/>
                  </a:lnTo>
                  <a:lnTo>
                    <a:pt x="6743" y="20215"/>
                  </a:lnTo>
                  <a:cubicBezTo>
                    <a:pt x="6670" y="20624"/>
                    <a:pt x="6958" y="21011"/>
                    <a:pt x="7391" y="21057"/>
                  </a:cubicBezTo>
                  <a:lnTo>
                    <a:pt x="11346" y="21588"/>
                  </a:lnTo>
                  <a:cubicBezTo>
                    <a:pt x="11388" y="21596"/>
                    <a:pt x="11431" y="21600"/>
                    <a:pt x="11471" y="21600"/>
                  </a:cubicBezTo>
                  <a:cubicBezTo>
                    <a:pt x="11829" y="21600"/>
                    <a:pt x="12141" y="21327"/>
                    <a:pt x="12186" y="20938"/>
                  </a:cubicBezTo>
                  <a:lnTo>
                    <a:pt x="13120" y="13897"/>
                  </a:lnTo>
                  <a:lnTo>
                    <a:pt x="20121" y="14839"/>
                  </a:lnTo>
                  <a:cubicBezTo>
                    <a:pt x="20151" y="14841"/>
                    <a:pt x="20180" y="14843"/>
                    <a:pt x="20210" y="14843"/>
                  </a:cubicBezTo>
                  <a:cubicBezTo>
                    <a:pt x="20582" y="14843"/>
                    <a:pt x="20917" y="14567"/>
                    <a:pt x="20983" y="14187"/>
                  </a:cubicBezTo>
                  <a:lnTo>
                    <a:pt x="21487" y="10185"/>
                  </a:lnTo>
                  <a:cubicBezTo>
                    <a:pt x="21559" y="9774"/>
                    <a:pt x="21271" y="9390"/>
                    <a:pt x="20840" y="9341"/>
                  </a:cubicBezTo>
                  <a:lnTo>
                    <a:pt x="13839" y="8401"/>
                  </a:lnTo>
                  <a:lnTo>
                    <a:pt x="14775" y="1385"/>
                  </a:lnTo>
                  <a:cubicBezTo>
                    <a:pt x="14821" y="952"/>
                    <a:pt x="14536" y="589"/>
                    <a:pt x="14127" y="516"/>
                  </a:cubicBezTo>
                  <a:lnTo>
                    <a:pt x="10148" y="10"/>
                  </a:lnTo>
                  <a:cubicBezTo>
                    <a:pt x="10106" y="4"/>
                    <a:pt x="10063" y="0"/>
                    <a:pt x="1002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799" name="Google Shape;32;p2"/>
            <p:cNvSpPr/>
            <p:nvPr/>
          </p:nvSpPr>
          <p:spPr>
            <a:xfrm>
              <a:off x="22173731" y="5543986"/>
              <a:ext cx="933058" cy="11785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2" h="21600" extrusionOk="0">
                  <a:moveTo>
                    <a:pt x="8109" y="688"/>
                  </a:moveTo>
                  <a:cubicBezTo>
                    <a:pt x="8685" y="688"/>
                    <a:pt x="9251" y="966"/>
                    <a:pt x="9355" y="1588"/>
                  </a:cubicBezTo>
                  <a:cubicBezTo>
                    <a:pt x="9427" y="1893"/>
                    <a:pt x="9331" y="2216"/>
                    <a:pt x="9070" y="2445"/>
                  </a:cubicBezTo>
                  <a:lnTo>
                    <a:pt x="7479" y="2693"/>
                  </a:lnTo>
                  <a:cubicBezTo>
                    <a:pt x="7148" y="2541"/>
                    <a:pt x="6911" y="2274"/>
                    <a:pt x="6839" y="1968"/>
                  </a:cubicBezTo>
                  <a:lnTo>
                    <a:pt x="6839" y="1949"/>
                  </a:lnTo>
                  <a:cubicBezTo>
                    <a:pt x="6612" y="1155"/>
                    <a:pt x="7365" y="688"/>
                    <a:pt x="8109" y="688"/>
                  </a:cubicBezTo>
                  <a:close/>
                  <a:moveTo>
                    <a:pt x="15498" y="4370"/>
                  </a:moveTo>
                  <a:cubicBezTo>
                    <a:pt x="16012" y="4370"/>
                    <a:pt x="16467" y="4671"/>
                    <a:pt x="16572" y="5091"/>
                  </a:cubicBezTo>
                  <a:lnTo>
                    <a:pt x="19350" y="17199"/>
                  </a:lnTo>
                  <a:cubicBezTo>
                    <a:pt x="19443" y="17676"/>
                    <a:pt x="19041" y="18133"/>
                    <a:pt x="18446" y="18208"/>
                  </a:cubicBezTo>
                  <a:lnTo>
                    <a:pt x="5960" y="20036"/>
                  </a:lnTo>
                  <a:cubicBezTo>
                    <a:pt x="5890" y="20047"/>
                    <a:pt x="5820" y="20054"/>
                    <a:pt x="5752" y="20054"/>
                  </a:cubicBezTo>
                  <a:cubicBezTo>
                    <a:pt x="5240" y="20054"/>
                    <a:pt x="4785" y="19751"/>
                    <a:pt x="4702" y="19333"/>
                  </a:cubicBezTo>
                  <a:lnTo>
                    <a:pt x="1948" y="7223"/>
                  </a:lnTo>
                  <a:cubicBezTo>
                    <a:pt x="1831" y="6748"/>
                    <a:pt x="2234" y="6291"/>
                    <a:pt x="2828" y="6214"/>
                  </a:cubicBezTo>
                  <a:lnTo>
                    <a:pt x="4323" y="5987"/>
                  </a:lnTo>
                  <a:cubicBezTo>
                    <a:pt x="4387" y="6323"/>
                    <a:pt x="4746" y="6571"/>
                    <a:pt x="5156" y="6571"/>
                  </a:cubicBezTo>
                  <a:cubicBezTo>
                    <a:pt x="5210" y="6571"/>
                    <a:pt x="5264" y="6566"/>
                    <a:pt x="5320" y="6558"/>
                  </a:cubicBezTo>
                  <a:lnTo>
                    <a:pt x="13129" y="5414"/>
                  </a:lnTo>
                  <a:cubicBezTo>
                    <a:pt x="13580" y="5339"/>
                    <a:pt x="13913" y="4978"/>
                    <a:pt x="13817" y="4596"/>
                  </a:cubicBezTo>
                  <a:lnTo>
                    <a:pt x="15290" y="4386"/>
                  </a:lnTo>
                  <a:cubicBezTo>
                    <a:pt x="15360" y="4375"/>
                    <a:pt x="15430" y="4370"/>
                    <a:pt x="15498" y="4370"/>
                  </a:cubicBezTo>
                  <a:close/>
                  <a:moveTo>
                    <a:pt x="8101" y="0"/>
                  </a:moveTo>
                  <a:cubicBezTo>
                    <a:pt x="7973" y="0"/>
                    <a:pt x="7846" y="8"/>
                    <a:pt x="7718" y="27"/>
                  </a:cubicBezTo>
                  <a:cubicBezTo>
                    <a:pt x="6506" y="198"/>
                    <a:pt x="5723" y="1131"/>
                    <a:pt x="5984" y="2084"/>
                  </a:cubicBezTo>
                  <a:cubicBezTo>
                    <a:pt x="6032" y="2349"/>
                    <a:pt x="6175" y="2616"/>
                    <a:pt x="6412" y="2845"/>
                  </a:cubicBezTo>
                  <a:lnTo>
                    <a:pt x="4845" y="3073"/>
                  </a:lnTo>
                  <a:cubicBezTo>
                    <a:pt x="4227" y="3168"/>
                    <a:pt x="3801" y="3644"/>
                    <a:pt x="3920" y="4159"/>
                  </a:cubicBezTo>
                  <a:lnTo>
                    <a:pt x="4014" y="4615"/>
                  </a:lnTo>
                  <a:lnTo>
                    <a:pt x="1450" y="4978"/>
                  </a:lnTo>
                  <a:cubicBezTo>
                    <a:pt x="477" y="5130"/>
                    <a:pt x="-139" y="5872"/>
                    <a:pt x="26" y="6633"/>
                  </a:cubicBezTo>
                  <a:lnTo>
                    <a:pt x="3161" y="20436"/>
                  </a:lnTo>
                  <a:cubicBezTo>
                    <a:pt x="3328" y="21131"/>
                    <a:pt x="4064" y="21600"/>
                    <a:pt x="4909" y="21600"/>
                  </a:cubicBezTo>
                  <a:cubicBezTo>
                    <a:pt x="5013" y="21600"/>
                    <a:pt x="5118" y="21594"/>
                    <a:pt x="5224" y="21579"/>
                  </a:cubicBezTo>
                  <a:lnTo>
                    <a:pt x="19848" y="19446"/>
                  </a:lnTo>
                  <a:cubicBezTo>
                    <a:pt x="20821" y="19294"/>
                    <a:pt x="21461" y="18552"/>
                    <a:pt x="21296" y="17770"/>
                  </a:cubicBezTo>
                  <a:lnTo>
                    <a:pt x="18137" y="3967"/>
                  </a:lnTo>
                  <a:cubicBezTo>
                    <a:pt x="17990" y="3273"/>
                    <a:pt x="17240" y="2805"/>
                    <a:pt x="16389" y="2805"/>
                  </a:cubicBezTo>
                  <a:cubicBezTo>
                    <a:pt x="16285" y="2805"/>
                    <a:pt x="16180" y="2811"/>
                    <a:pt x="16074" y="2826"/>
                  </a:cubicBezTo>
                  <a:lnTo>
                    <a:pt x="13534" y="3206"/>
                  </a:lnTo>
                  <a:lnTo>
                    <a:pt x="13414" y="2768"/>
                  </a:lnTo>
                  <a:cubicBezTo>
                    <a:pt x="13307" y="2304"/>
                    <a:pt x="12814" y="1996"/>
                    <a:pt x="12248" y="1996"/>
                  </a:cubicBezTo>
                  <a:cubicBezTo>
                    <a:pt x="12186" y="1996"/>
                    <a:pt x="12124" y="1999"/>
                    <a:pt x="12061" y="2007"/>
                  </a:cubicBezTo>
                  <a:lnTo>
                    <a:pt x="10163" y="2293"/>
                  </a:lnTo>
                  <a:cubicBezTo>
                    <a:pt x="10280" y="2026"/>
                    <a:pt x="10304" y="1740"/>
                    <a:pt x="10234" y="1455"/>
                  </a:cubicBezTo>
                  <a:cubicBezTo>
                    <a:pt x="10065" y="606"/>
                    <a:pt x="9140" y="0"/>
                    <a:pt x="810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00" name="Google Shape;33;p2"/>
            <p:cNvSpPr/>
            <p:nvPr/>
          </p:nvSpPr>
          <p:spPr>
            <a:xfrm>
              <a:off x="22355331" y="5969313"/>
              <a:ext cx="135430" cy="1347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8" h="21600" extrusionOk="0">
                  <a:moveTo>
                    <a:pt x="9027" y="0"/>
                  </a:moveTo>
                  <a:cubicBezTo>
                    <a:pt x="8517" y="0"/>
                    <a:pt x="8007" y="56"/>
                    <a:pt x="7498" y="168"/>
                  </a:cubicBezTo>
                  <a:cubicBezTo>
                    <a:pt x="-510" y="1831"/>
                    <a:pt x="-2723" y="14148"/>
                    <a:pt x="3905" y="19643"/>
                  </a:cubicBezTo>
                  <a:cubicBezTo>
                    <a:pt x="5504" y="20999"/>
                    <a:pt x="7254" y="21600"/>
                    <a:pt x="8946" y="21600"/>
                  </a:cubicBezTo>
                  <a:cubicBezTo>
                    <a:pt x="14126" y="21600"/>
                    <a:pt x="18877" y="15966"/>
                    <a:pt x="17846" y="8822"/>
                  </a:cubicBezTo>
                  <a:cubicBezTo>
                    <a:pt x="16977" y="3607"/>
                    <a:pt x="13257" y="0"/>
                    <a:pt x="902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01" name="Google Shape;34;p2"/>
            <p:cNvSpPr/>
            <p:nvPr/>
          </p:nvSpPr>
          <p:spPr>
            <a:xfrm>
              <a:off x="22536208" y="5928830"/>
              <a:ext cx="304170" cy="1181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75" h="21600" extrusionOk="0">
                  <a:moveTo>
                    <a:pt x="17186" y="0"/>
                  </a:moveTo>
                  <a:cubicBezTo>
                    <a:pt x="17001" y="0"/>
                    <a:pt x="16798" y="64"/>
                    <a:pt x="16591" y="175"/>
                  </a:cubicBezTo>
                  <a:lnTo>
                    <a:pt x="2015" y="7769"/>
                  </a:lnTo>
                  <a:cubicBezTo>
                    <a:pt x="-1006" y="9380"/>
                    <a:pt x="-411" y="21600"/>
                    <a:pt x="2346" y="21600"/>
                  </a:cubicBezTo>
                  <a:cubicBezTo>
                    <a:pt x="2520" y="21600"/>
                    <a:pt x="2700" y="21552"/>
                    <a:pt x="2885" y="21456"/>
                  </a:cubicBezTo>
                  <a:lnTo>
                    <a:pt x="17461" y="13847"/>
                  </a:lnTo>
                  <a:cubicBezTo>
                    <a:pt x="20594" y="12603"/>
                    <a:pt x="20027" y="0"/>
                    <a:pt x="1718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02" name="Google Shape;35;p2"/>
            <p:cNvSpPr/>
            <p:nvPr/>
          </p:nvSpPr>
          <p:spPr>
            <a:xfrm>
              <a:off x="22389915" y="6157067"/>
              <a:ext cx="135068" cy="1350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39" h="21600" extrusionOk="0">
                  <a:moveTo>
                    <a:pt x="9138" y="0"/>
                  </a:moveTo>
                  <a:cubicBezTo>
                    <a:pt x="8582" y="0"/>
                    <a:pt x="8014" y="70"/>
                    <a:pt x="7446" y="209"/>
                  </a:cubicBezTo>
                  <a:cubicBezTo>
                    <a:pt x="-411" y="1702"/>
                    <a:pt x="-2763" y="14163"/>
                    <a:pt x="3865" y="19647"/>
                  </a:cubicBezTo>
                  <a:cubicBezTo>
                    <a:pt x="5464" y="21000"/>
                    <a:pt x="7214" y="21600"/>
                    <a:pt x="8906" y="21600"/>
                  </a:cubicBezTo>
                  <a:cubicBezTo>
                    <a:pt x="14086" y="21600"/>
                    <a:pt x="18837" y="15977"/>
                    <a:pt x="17794" y="8847"/>
                  </a:cubicBezTo>
                  <a:cubicBezTo>
                    <a:pt x="16948" y="3712"/>
                    <a:pt x="13298" y="0"/>
                    <a:pt x="913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03" name="Google Shape;36;p2"/>
            <p:cNvSpPr/>
            <p:nvPr/>
          </p:nvSpPr>
          <p:spPr>
            <a:xfrm>
              <a:off x="22573036" y="6116671"/>
              <a:ext cx="296509" cy="117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9" h="21600" extrusionOk="0">
                  <a:moveTo>
                    <a:pt x="16950" y="0"/>
                  </a:moveTo>
                  <a:cubicBezTo>
                    <a:pt x="16881" y="0"/>
                    <a:pt x="16812" y="16"/>
                    <a:pt x="16743" y="16"/>
                  </a:cubicBezTo>
                  <a:lnTo>
                    <a:pt x="1826" y="7654"/>
                  </a:lnTo>
                  <a:cubicBezTo>
                    <a:pt x="-1024" y="10055"/>
                    <a:pt x="-340" y="21600"/>
                    <a:pt x="2516" y="21600"/>
                  </a:cubicBezTo>
                  <a:cubicBezTo>
                    <a:pt x="2602" y="21600"/>
                    <a:pt x="2694" y="21584"/>
                    <a:pt x="2786" y="21568"/>
                  </a:cubicBezTo>
                  <a:lnTo>
                    <a:pt x="17703" y="14122"/>
                  </a:lnTo>
                  <a:cubicBezTo>
                    <a:pt x="20576" y="11705"/>
                    <a:pt x="19858" y="0"/>
                    <a:pt x="1695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04" name="Google Shape;37;p2"/>
            <p:cNvSpPr/>
            <p:nvPr/>
          </p:nvSpPr>
          <p:spPr>
            <a:xfrm>
              <a:off x="22426297" y="6357821"/>
              <a:ext cx="135082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1" h="21600" extrusionOk="0">
                  <a:moveTo>
                    <a:pt x="8987" y="0"/>
                  </a:moveTo>
                  <a:cubicBezTo>
                    <a:pt x="8477" y="0"/>
                    <a:pt x="7967" y="56"/>
                    <a:pt x="7446" y="154"/>
                  </a:cubicBezTo>
                  <a:cubicBezTo>
                    <a:pt x="-411" y="1831"/>
                    <a:pt x="-2763" y="14148"/>
                    <a:pt x="3865" y="19629"/>
                  </a:cubicBezTo>
                  <a:cubicBezTo>
                    <a:pt x="5499" y="20985"/>
                    <a:pt x="7261" y="21600"/>
                    <a:pt x="8964" y="21600"/>
                  </a:cubicBezTo>
                  <a:cubicBezTo>
                    <a:pt x="14155" y="21600"/>
                    <a:pt x="18837" y="15966"/>
                    <a:pt x="17794" y="8822"/>
                  </a:cubicBezTo>
                  <a:cubicBezTo>
                    <a:pt x="16937" y="3607"/>
                    <a:pt x="13205" y="0"/>
                    <a:pt x="898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05" name="Google Shape;38;p2"/>
            <p:cNvSpPr/>
            <p:nvPr/>
          </p:nvSpPr>
          <p:spPr>
            <a:xfrm>
              <a:off x="22608858" y="6317949"/>
              <a:ext cx="299073" cy="1180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31" h="21600" extrusionOk="0">
                  <a:moveTo>
                    <a:pt x="17088" y="0"/>
                  </a:moveTo>
                  <a:cubicBezTo>
                    <a:pt x="16963" y="0"/>
                    <a:pt x="16837" y="16"/>
                    <a:pt x="16706" y="64"/>
                  </a:cubicBezTo>
                  <a:lnTo>
                    <a:pt x="1915" y="7471"/>
                  </a:lnTo>
                  <a:cubicBezTo>
                    <a:pt x="-1025" y="9675"/>
                    <a:pt x="-375" y="21600"/>
                    <a:pt x="2473" y="21600"/>
                  </a:cubicBezTo>
                  <a:cubicBezTo>
                    <a:pt x="2576" y="21600"/>
                    <a:pt x="2684" y="21584"/>
                    <a:pt x="2798" y="21552"/>
                  </a:cubicBezTo>
                  <a:lnTo>
                    <a:pt x="17584" y="13937"/>
                  </a:lnTo>
                  <a:cubicBezTo>
                    <a:pt x="20575" y="11941"/>
                    <a:pt x="19891" y="0"/>
                    <a:pt x="1708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06" name="Google Shape;39;p2"/>
            <p:cNvSpPr/>
            <p:nvPr/>
          </p:nvSpPr>
          <p:spPr>
            <a:xfrm>
              <a:off x="22288027" y="7192681"/>
              <a:ext cx="602469" cy="6079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14" h="21600" extrusionOk="0">
                  <a:moveTo>
                    <a:pt x="9734" y="0"/>
                  </a:moveTo>
                  <a:cubicBezTo>
                    <a:pt x="6862" y="0"/>
                    <a:pt x="4044" y="1448"/>
                    <a:pt x="2191" y="4182"/>
                  </a:cubicBezTo>
                  <a:lnTo>
                    <a:pt x="18156" y="15400"/>
                  </a:lnTo>
                  <a:cubicBezTo>
                    <a:pt x="20410" y="10527"/>
                    <a:pt x="18952" y="4551"/>
                    <a:pt x="14812" y="1634"/>
                  </a:cubicBezTo>
                  <a:cubicBezTo>
                    <a:pt x="13234" y="533"/>
                    <a:pt x="11476" y="0"/>
                    <a:pt x="9734" y="0"/>
                  </a:cubicBezTo>
                  <a:close/>
                  <a:moveTo>
                    <a:pt x="1064" y="6175"/>
                  </a:moveTo>
                  <a:cubicBezTo>
                    <a:pt x="-1190" y="11045"/>
                    <a:pt x="235" y="17025"/>
                    <a:pt x="4408" y="19976"/>
                  </a:cubicBezTo>
                  <a:cubicBezTo>
                    <a:pt x="5978" y="21073"/>
                    <a:pt x="7730" y="21600"/>
                    <a:pt x="9464" y="21600"/>
                  </a:cubicBezTo>
                  <a:cubicBezTo>
                    <a:pt x="12344" y="21600"/>
                    <a:pt x="15171" y="20149"/>
                    <a:pt x="17032" y="17431"/>
                  </a:cubicBezTo>
                  <a:lnTo>
                    <a:pt x="1064" y="6175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07" name="Google Shape;40;p2"/>
            <p:cNvSpPr/>
            <p:nvPr/>
          </p:nvSpPr>
          <p:spPr>
            <a:xfrm>
              <a:off x="23545369" y="5890355"/>
              <a:ext cx="504551" cy="4910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2" h="21600" extrusionOk="0">
                  <a:moveTo>
                    <a:pt x="11761" y="0"/>
                  </a:moveTo>
                  <a:lnTo>
                    <a:pt x="3248" y="6214"/>
                  </a:lnTo>
                  <a:cubicBezTo>
                    <a:pt x="-139" y="8728"/>
                    <a:pt x="-1028" y="13755"/>
                    <a:pt x="1298" y="17455"/>
                  </a:cubicBezTo>
                  <a:lnTo>
                    <a:pt x="1683" y="18096"/>
                  </a:lnTo>
                  <a:cubicBezTo>
                    <a:pt x="3106" y="20368"/>
                    <a:pt x="5461" y="21600"/>
                    <a:pt x="7855" y="21600"/>
                  </a:cubicBezTo>
                  <a:cubicBezTo>
                    <a:pt x="9310" y="21600"/>
                    <a:pt x="10779" y="21147"/>
                    <a:pt x="12059" y="20195"/>
                  </a:cubicBezTo>
                  <a:lnTo>
                    <a:pt x="20572" y="13982"/>
                  </a:lnTo>
                  <a:lnTo>
                    <a:pt x="11761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08" name="Google Shape;41;p2"/>
            <p:cNvSpPr/>
            <p:nvPr/>
          </p:nvSpPr>
          <p:spPr>
            <a:xfrm>
              <a:off x="23878480" y="5686023"/>
              <a:ext cx="505061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93" h="21600" extrusionOk="0">
                  <a:moveTo>
                    <a:pt x="12725" y="0"/>
                  </a:moveTo>
                  <a:cubicBezTo>
                    <a:pt x="11273" y="0"/>
                    <a:pt x="9808" y="456"/>
                    <a:pt x="8513" y="1398"/>
                  </a:cubicBezTo>
                  <a:lnTo>
                    <a:pt x="0" y="7644"/>
                  </a:lnTo>
                  <a:lnTo>
                    <a:pt x="8811" y="21600"/>
                  </a:lnTo>
                  <a:lnTo>
                    <a:pt x="17324" y="15354"/>
                  </a:lnTo>
                  <a:cubicBezTo>
                    <a:pt x="20753" y="12845"/>
                    <a:pt x="21600" y="7828"/>
                    <a:pt x="19313" y="4136"/>
                  </a:cubicBezTo>
                  <a:lnTo>
                    <a:pt x="18932" y="3543"/>
                  </a:lnTo>
                  <a:cubicBezTo>
                    <a:pt x="17481" y="1241"/>
                    <a:pt x="15126" y="0"/>
                    <a:pt x="12725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09" name="Google Shape;42;p2"/>
            <p:cNvSpPr/>
            <p:nvPr/>
          </p:nvSpPr>
          <p:spPr>
            <a:xfrm>
              <a:off x="23366130" y="6905031"/>
              <a:ext cx="931444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7" h="21600" extrusionOk="0">
                  <a:moveTo>
                    <a:pt x="10059" y="0"/>
                  </a:moveTo>
                  <a:cubicBezTo>
                    <a:pt x="9685" y="0"/>
                    <a:pt x="9352" y="275"/>
                    <a:pt x="9308" y="656"/>
                  </a:cubicBezTo>
                  <a:lnTo>
                    <a:pt x="8374" y="7713"/>
                  </a:lnTo>
                  <a:lnTo>
                    <a:pt x="1373" y="6774"/>
                  </a:lnTo>
                  <a:cubicBezTo>
                    <a:pt x="1342" y="6770"/>
                    <a:pt x="1312" y="6768"/>
                    <a:pt x="1284" y="6768"/>
                  </a:cubicBezTo>
                  <a:cubicBezTo>
                    <a:pt x="911" y="6768"/>
                    <a:pt x="577" y="7045"/>
                    <a:pt x="533" y="7423"/>
                  </a:cubicBezTo>
                  <a:lnTo>
                    <a:pt x="5" y="11399"/>
                  </a:lnTo>
                  <a:cubicBezTo>
                    <a:pt x="-41" y="11832"/>
                    <a:pt x="245" y="12194"/>
                    <a:pt x="654" y="12265"/>
                  </a:cubicBezTo>
                  <a:lnTo>
                    <a:pt x="7653" y="13181"/>
                  </a:lnTo>
                  <a:lnTo>
                    <a:pt x="6743" y="20238"/>
                  </a:lnTo>
                  <a:cubicBezTo>
                    <a:pt x="6695" y="20649"/>
                    <a:pt x="6982" y="21009"/>
                    <a:pt x="7391" y="21082"/>
                  </a:cubicBezTo>
                  <a:lnTo>
                    <a:pt x="11346" y="21588"/>
                  </a:lnTo>
                  <a:cubicBezTo>
                    <a:pt x="11390" y="21596"/>
                    <a:pt x="11435" y="21600"/>
                    <a:pt x="11477" y="21600"/>
                  </a:cubicBezTo>
                  <a:cubicBezTo>
                    <a:pt x="11849" y="21600"/>
                    <a:pt x="12145" y="21329"/>
                    <a:pt x="12210" y="20963"/>
                  </a:cubicBezTo>
                  <a:lnTo>
                    <a:pt x="13120" y="13904"/>
                  </a:lnTo>
                  <a:lnTo>
                    <a:pt x="20121" y="14842"/>
                  </a:lnTo>
                  <a:cubicBezTo>
                    <a:pt x="20151" y="14846"/>
                    <a:pt x="20184" y="14848"/>
                    <a:pt x="20214" y="14848"/>
                  </a:cubicBezTo>
                  <a:cubicBezTo>
                    <a:pt x="20603" y="14848"/>
                    <a:pt x="20917" y="14573"/>
                    <a:pt x="20983" y="14193"/>
                  </a:cubicBezTo>
                  <a:lnTo>
                    <a:pt x="21487" y="10193"/>
                  </a:lnTo>
                  <a:cubicBezTo>
                    <a:pt x="21559" y="9784"/>
                    <a:pt x="21271" y="9400"/>
                    <a:pt x="20864" y="9351"/>
                  </a:cubicBezTo>
                  <a:lnTo>
                    <a:pt x="13839" y="8411"/>
                  </a:lnTo>
                  <a:lnTo>
                    <a:pt x="14775" y="1378"/>
                  </a:lnTo>
                  <a:cubicBezTo>
                    <a:pt x="14821" y="967"/>
                    <a:pt x="14536" y="583"/>
                    <a:pt x="14127" y="534"/>
                  </a:cubicBezTo>
                  <a:lnTo>
                    <a:pt x="10148" y="4"/>
                  </a:lnTo>
                  <a:cubicBezTo>
                    <a:pt x="10118" y="0"/>
                    <a:pt x="10087" y="0"/>
                    <a:pt x="1005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10" name="Google Shape;43;p2"/>
            <p:cNvSpPr/>
            <p:nvPr/>
          </p:nvSpPr>
          <p:spPr>
            <a:xfrm>
              <a:off x="22173451" y="8317463"/>
              <a:ext cx="932606" cy="11786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88" h="21600" extrusionOk="0">
                  <a:moveTo>
                    <a:pt x="8135" y="657"/>
                  </a:moveTo>
                  <a:cubicBezTo>
                    <a:pt x="8708" y="657"/>
                    <a:pt x="9272" y="934"/>
                    <a:pt x="9375" y="1551"/>
                  </a:cubicBezTo>
                  <a:cubicBezTo>
                    <a:pt x="9447" y="1874"/>
                    <a:pt x="9328" y="2179"/>
                    <a:pt x="9067" y="2427"/>
                  </a:cubicBezTo>
                  <a:lnTo>
                    <a:pt x="7501" y="2656"/>
                  </a:lnTo>
                  <a:cubicBezTo>
                    <a:pt x="7147" y="2502"/>
                    <a:pt x="6910" y="2237"/>
                    <a:pt x="6838" y="1932"/>
                  </a:cubicBezTo>
                  <a:cubicBezTo>
                    <a:pt x="6609" y="1132"/>
                    <a:pt x="7382" y="657"/>
                    <a:pt x="8135" y="657"/>
                  </a:cubicBezTo>
                  <a:close/>
                  <a:moveTo>
                    <a:pt x="15521" y="4351"/>
                  </a:moveTo>
                  <a:cubicBezTo>
                    <a:pt x="16029" y="4351"/>
                    <a:pt x="16477" y="4637"/>
                    <a:pt x="16561" y="5054"/>
                  </a:cubicBezTo>
                  <a:lnTo>
                    <a:pt x="19335" y="17181"/>
                  </a:lnTo>
                  <a:cubicBezTo>
                    <a:pt x="19452" y="17657"/>
                    <a:pt x="19050" y="18113"/>
                    <a:pt x="18457" y="18189"/>
                  </a:cubicBezTo>
                  <a:lnTo>
                    <a:pt x="5960" y="20017"/>
                  </a:lnTo>
                  <a:cubicBezTo>
                    <a:pt x="5900" y="20025"/>
                    <a:pt x="5840" y="20028"/>
                    <a:pt x="5779" y="20028"/>
                  </a:cubicBezTo>
                  <a:cubicBezTo>
                    <a:pt x="5257" y="20028"/>
                    <a:pt x="4789" y="19737"/>
                    <a:pt x="4703" y="19294"/>
                  </a:cubicBezTo>
                  <a:lnTo>
                    <a:pt x="1953" y="7205"/>
                  </a:lnTo>
                  <a:cubicBezTo>
                    <a:pt x="1836" y="6730"/>
                    <a:pt x="2238" y="6273"/>
                    <a:pt x="2831" y="6177"/>
                  </a:cubicBezTo>
                  <a:lnTo>
                    <a:pt x="4325" y="5967"/>
                  </a:lnTo>
                  <a:cubicBezTo>
                    <a:pt x="4387" y="6301"/>
                    <a:pt x="4761" y="6533"/>
                    <a:pt x="5155" y="6533"/>
                  </a:cubicBezTo>
                  <a:cubicBezTo>
                    <a:pt x="5211" y="6533"/>
                    <a:pt x="5265" y="6528"/>
                    <a:pt x="5321" y="6520"/>
                  </a:cubicBezTo>
                  <a:lnTo>
                    <a:pt x="13121" y="5396"/>
                  </a:lnTo>
                  <a:cubicBezTo>
                    <a:pt x="13595" y="5320"/>
                    <a:pt x="13904" y="4958"/>
                    <a:pt x="13809" y="4578"/>
                  </a:cubicBezTo>
                  <a:lnTo>
                    <a:pt x="15304" y="4368"/>
                  </a:lnTo>
                  <a:cubicBezTo>
                    <a:pt x="15376" y="4357"/>
                    <a:pt x="15450" y="4351"/>
                    <a:pt x="15521" y="4351"/>
                  </a:cubicBezTo>
                  <a:close/>
                  <a:moveTo>
                    <a:pt x="8115" y="0"/>
                  </a:moveTo>
                  <a:cubicBezTo>
                    <a:pt x="7816" y="0"/>
                    <a:pt x="7511" y="51"/>
                    <a:pt x="7219" y="161"/>
                  </a:cubicBezTo>
                  <a:cubicBezTo>
                    <a:pt x="5938" y="619"/>
                    <a:pt x="5534" y="1932"/>
                    <a:pt x="6412" y="2808"/>
                  </a:cubicBezTo>
                  <a:lnTo>
                    <a:pt x="4847" y="3056"/>
                  </a:lnTo>
                  <a:cubicBezTo>
                    <a:pt x="4229" y="3150"/>
                    <a:pt x="3803" y="3646"/>
                    <a:pt x="3923" y="4140"/>
                  </a:cubicBezTo>
                  <a:lnTo>
                    <a:pt x="4016" y="4597"/>
                  </a:lnTo>
                  <a:lnTo>
                    <a:pt x="1455" y="4958"/>
                  </a:lnTo>
                  <a:cubicBezTo>
                    <a:pt x="483" y="5110"/>
                    <a:pt x="-156" y="5854"/>
                    <a:pt x="33" y="6634"/>
                  </a:cubicBezTo>
                  <a:lnTo>
                    <a:pt x="3164" y="20417"/>
                  </a:lnTo>
                  <a:cubicBezTo>
                    <a:pt x="3333" y="21114"/>
                    <a:pt x="4070" y="21600"/>
                    <a:pt x="4918" y="21600"/>
                  </a:cubicBezTo>
                  <a:cubicBezTo>
                    <a:pt x="5020" y="21600"/>
                    <a:pt x="5124" y="21592"/>
                    <a:pt x="5225" y="21578"/>
                  </a:cubicBezTo>
                  <a:lnTo>
                    <a:pt x="19833" y="19427"/>
                  </a:lnTo>
                  <a:cubicBezTo>
                    <a:pt x="20805" y="19275"/>
                    <a:pt x="21444" y="18532"/>
                    <a:pt x="21255" y="17771"/>
                  </a:cubicBezTo>
                  <a:lnTo>
                    <a:pt x="18124" y="3969"/>
                  </a:lnTo>
                  <a:cubicBezTo>
                    <a:pt x="17977" y="3271"/>
                    <a:pt x="17222" y="2787"/>
                    <a:pt x="16370" y="2787"/>
                  </a:cubicBezTo>
                  <a:cubicBezTo>
                    <a:pt x="16268" y="2787"/>
                    <a:pt x="16164" y="2793"/>
                    <a:pt x="16063" y="2808"/>
                  </a:cubicBezTo>
                  <a:lnTo>
                    <a:pt x="13526" y="3188"/>
                  </a:lnTo>
                  <a:lnTo>
                    <a:pt x="13406" y="2750"/>
                  </a:lnTo>
                  <a:cubicBezTo>
                    <a:pt x="13301" y="2294"/>
                    <a:pt x="12823" y="1973"/>
                    <a:pt x="12269" y="1973"/>
                  </a:cubicBezTo>
                  <a:cubicBezTo>
                    <a:pt x="12197" y="1973"/>
                    <a:pt x="12128" y="1978"/>
                    <a:pt x="12054" y="1989"/>
                  </a:cubicBezTo>
                  <a:lnTo>
                    <a:pt x="10158" y="2256"/>
                  </a:lnTo>
                  <a:cubicBezTo>
                    <a:pt x="10276" y="1989"/>
                    <a:pt x="10299" y="1703"/>
                    <a:pt x="10230" y="1437"/>
                  </a:cubicBezTo>
                  <a:cubicBezTo>
                    <a:pt x="10029" y="572"/>
                    <a:pt x="9111" y="0"/>
                    <a:pt x="8115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11" name="Google Shape;44;p2"/>
            <p:cNvSpPr/>
            <p:nvPr/>
          </p:nvSpPr>
          <p:spPr>
            <a:xfrm>
              <a:off x="22355331" y="8740521"/>
              <a:ext cx="135430" cy="135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8" h="21600" extrusionOk="0">
                  <a:moveTo>
                    <a:pt x="9178" y="0"/>
                  </a:moveTo>
                  <a:cubicBezTo>
                    <a:pt x="8622" y="0"/>
                    <a:pt x="8054" y="70"/>
                    <a:pt x="7498" y="195"/>
                  </a:cubicBezTo>
                  <a:cubicBezTo>
                    <a:pt x="-510" y="1856"/>
                    <a:pt x="-2723" y="14149"/>
                    <a:pt x="3905" y="19633"/>
                  </a:cubicBezTo>
                  <a:cubicBezTo>
                    <a:pt x="5504" y="20986"/>
                    <a:pt x="7254" y="21600"/>
                    <a:pt x="8946" y="21600"/>
                  </a:cubicBezTo>
                  <a:cubicBezTo>
                    <a:pt x="14126" y="21600"/>
                    <a:pt x="18877" y="15977"/>
                    <a:pt x="17846" y="8833"/>
                  </a:cubicBezTo>
                  <a:cubicBezTo>
                    <a:pt x="16988" y="3712"/>
                    <a:pt x="13338" y="0"/>
                    <a:pt x="917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12" name="Google Shape;45;p2"/>
            <p:cNvSpPr/>
            <p:nvPr/>
          </p:nvSpPr>
          <p:spPr>
            <a:xfrm>
              <a:off x="22535049" y="8699951"/>
              <a:ext cx="306515" cy="1188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8" h="21600" extrusionOk="0">
                  <a:moveTo>
                    <a:pt x="17202" y="0"/>
                  </a:moveTo>
                  <a:cubicBezTo>
                    <a:pt x="16985" y="0"/>
                    <a:pt x="16762" y="79"/>
                    <a:pt x="16523" y="238"/>
                  </a:cubicBezTo>
                  <a:lnTo>
                    <a:pt x="2071" y="7787"/>
                  </a:lnTo>
                  <a:cubicBezTo>
                    <a:pt x="-1013" y="9198"/>
                    <a:pt x="-417" y="21600"/>
                    <a:pt x="2305" y="21600"/>
                  </a:cubicBezTo>
                  <a:cubicBezTo>
                    <a:pt x="2505" y="21600"/>
                    <a:pt x="2717" y="21521"/>
                    <a:pt x="2934" y="21394"/>
                  </a:cubicBezTo>
                  <a:lnTo>
                    <a:pt x="17386" y="13829"/>
                  </a:lnTo>
                  <a:cubicBezTo>
                    <a:pt x="20587" y="12957"/>
                    <a:pt x="20014" y="0"/>
                    <a:pt x="1720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13" name="Google Shape;46;p2"/>
            <p:cNvSpPr/>
            <p:nvPr/>
          </p:nvSpPr>
          <p:spPr>
            <a:xfrm>
              <a:off x="22389915" y="8928537"/>
              <a:ext cx="135068" cy="135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39" h="21600" extrusionOk="0">
                  <a:moveTo>
                    <a:pt x="9138" y="0"/>
                  </a:moveTo>
                  <a:cubicBezTo>
                    <a:pt x="8582" y="0"/>
                    <a:pt x="8014" y="70"/>
                    <a:pt x="7446" y="195"/>
                  </a:cubicBezTo>
                  <a:cubicBezTo>
                    <a:pt x="-411" y="1856"/>
                    <a:pt x="-2763" y="14149"/>
                    <a:pt x="3865" y="19633"/>
                  </a:cubicBezTo>
                  <a:cubicBezTo>
                    <a:pt x="5464" y="20986"/>
                    <a:pt x="7214" y="21600"/>
                    <a:pt x="8906" y="21600"/>
                  </a:cubicBezTo>
                  <a:cubicBezTo>
                    <a:pt x="14086" y="21600"/>
                    <a:pt x="18837" y="15977"/>
                    <a:pt x="17794" y="8847"/>
                  </a:cubicBezTo>
                  <a:cubicBezTo>
                    <a:pt x="16948" y="3712"/>
                    <a:pt x="13298" y="0"/>
                    <a:pt x="913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14" name="Google Shape;47;p2"/>
            <p:cNvSpPr/>
            <p:nvPr/>
          </p:nvSpPr>
          <p:spPr>
            <a:xfrm>
              <a:off x="22573028" y="8889101"/>
              <a:ext cx="296516" cy="117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9" h="21600" extrusionOk="0">
                  <a:moveTo>
                    <a:pt x="17019" y="0"/>
                  </a:moveTo>
                  <a:cubicBezTo>
                    <a:pt x="16927" y="0"/>
                    <a:pt x="16835" y="16"/>
                    <a:pt x="16743" y="32"/>
                  </a:cubicBezTo>
                  <a:lnTo>
                    <a:pt x="1826" y="7462"/>
                  </a:lnTo>
                  <a:cubicBezTo>
                    <a:pt x="-1047" y="9895"/>
                    <a:pt x="-329" y="21600"/>
                    <a:pt x="2579" y="21600"/>
                  </a:cubicBezTo>
                  <a:cubicBezTo>
                    <a:pt x="2648" y="21600"/>
                    <a:pt x="2717" y="21584"/>
                    <a:pt x="2786" y="21568"/>
                  </a:cubicBezTo>
                  <a:lnTo>
                    <a:pt x="17703" y="13946"/>
                  </a:lnTo>
                  <a:cubicBezTo>
                    <a:pt x="20553" y="11545"/>
                    <a:pt x="19869" y="0"/>
                    <a:pt x="1701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15" name="Google Shape;48;p2"/>
            <p:cNvSpPr/>
            <p:nvPr/>
          </p:nvSpPr>
          <p:spPr>
            <a:xfrm>
              <a:off x="22426297" y="9129290"/>
              <a:ext cx="135068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39" h="21600" extrusionOk="0">
                  <a:moveTo>
                    <a:pt x="8976" y="0"/>
                  </a:moveTo>
                  <a:cubicBezTo>
                    <a:pt x="8477" y="0"/>
                    <a:pt x="7967" y="56"/>
                    <a:pt x="7446" y="154"/>
                  </a:cubicBezTo>
                  <a:cubicBezTo>
                    <a:pt x="-411" y="1817"/>
                    <a:pt x="-2763" y="14134"/>
                    <a:pt x="3865" y="19629"/>
                  </a:cubicBezTo>
                  <a:cubicBezTo>
                    <a:pt x="5464" y="20985"/>
                    <a:pt x="7214" y="21600"/>
                    <a:pt x="8918" y="21600"/>
                  </a:cubicBezTo>
                  <a:cubicBezTo>
                    <a:pt x="14086" y="21600"/>
                    <a:pt x="18837" y="15994"/>
                    <a:pt x="17794" y="8976"/>
                  </a:cubicBezTo>
                  <a:cubicBezTo>
                    <a:pt x="16937" y="3621"/>
                    <a:pt x="13205" y="0"/>
                    <a:pt x="897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16" name="Google Shape;49;p2"/>
            <p:cNvSpPr/>
            <p:nvPr/>
          </p:nvSpPr>
          <p:spPr>
            <a:xfrm>
              <a:off x="22609598" y="9089506"/>
              <a:ext cx="297134" cy="1177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49" h="21600" extrusionOk="0">
                  <a:moveTo>
                    <a:pt x="17109" y="0"/>
                  </a:moveTo>
                  <a:cubicBezTo>
                    <a:pt x="17000" y="0"/>
                    <a:pt x="16891" y="16"/>
                    <a:pt x="16782" y="48"/>
                  </a:cubicBezTo>
                  <a:lnTo>
                    <a:pt x="1881" y="7664"/>
                  </a:lnTo>
                  <a:cubicBezTo>
                    <a:pt x="-1035" y="9888"/>
                    <a:pt x="-352" y="21600"/>
                    <a:pt x="2501" y="21600"/>
                  </a:cubicBezTo>
                  <a:cubicBezTo>
                    <a:pt x="2587" y="21600"/>
                    <a:pt x="2679" y="21600"/>
                    <a:pt x="2771" y="21568"/>
                  </a:cubicBezTo>
                  <a:lnTo>
                    <a:pt x="17666" y="13952"/>
                  </a:lnTo>
                  <a:cubicBezTo>
                    <a:pt x="20565" y="11744"/>
                    <a:pt x="19911" y="0"/>
                    <a:pt x="1710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17" name="Google Shape;50;p2"/>
            <p:cNvSpPr/>
            <p:nvPr/>
          </p:nvSpPr>
          <p:spPr>
            <a:xfrm>
              <a:off x="22289569" y="9964413"/>
              <a:ext cx="600926" cy="6060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54" h="21600" extrusionOk="0">
                  <a:moveTo>
                    <a:pt x="9752" y="0"/>
                  </a:moveTo>
                  <a:cubicBezTo>
                    <a:pt x="6862" y="0"/>
                    <a:pt x="4019" y="1458"/>
                    <a:pt x="2152" y="4183"/>
                  </a:cubicBezTo>
                  <a:lnTo>
                    <a:pt x="18192" y="15477"/>
                  </a:lnTo>
                  <a:cubicBezTo>
                    <a:pt x="20456" y="10589"/>
                    <a:pt x="18991" y="4590"/>
                    <a:pt x="14832" y="1629"/>
                  </a:cubicBezTo>
                  <a:cubicBezTo>
                    <a:pt x="13255" y="529"/>
                    <a:pt x="11494" y="0"/>
                    <a:pt x="9752" y="0"/>
                  </a:cubicBezTo>
                  <a:close/>
                  <a:moveTo>
                    <a:pt x="1020" y="6182"/>
                  </a:moveTo>
                  <a:cubicBezTo>
                    <a:pt x="-1144" y="11071"/>
                    <a:pt x="220" y="17032"/>
                    <a:pt x="4313" y="19955"/>
                  </a:cubicBezTo>
                  <a:cubicBezTo>
                    <a:pt x="5903" y="21065"/>
                    <a:pt x="7684" y="21600"/>
                    <a:pt x="9448" y="21600"/>
                  </a:cubicBezTo>
                  <a:cubicBezTo>
                    <a:pt x="12338" y="21600"/>
                    <a:pt x="15181" y="20166"/>
                    <a:pt x="17062" y="17477"/>
                  </a:cubicBezTo>
                  <a:lnTo>
                    <a:pt x="1020" y="6182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18" name="Google Shape;51;p2"/>
            <p:cNvSpPr/>
            <p:nvPr/>
          </p:nvSpPr>
          <p:spPr>
            <a:xfrm>
              <a:off x="23545089" y="8661824"/>
              <a:ext cx="504831" cy="4912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84" h="21600" extrusionOk="0">
                  <a:moveTo>
                    <a:pt x="11773" y="0"/>
                  </a:moveTo>
                  <a:lnTo>
                    <a:pt x="3260" y="6256"/>
                  </a:lnTo>
                  <a:cubicBezTo>
                    <a:pt x="-169" y="8723"/>
                    <a:pt x="-1016" y="13744"/>
                    <a:pt x="1310" y="17446"/>
                  </a:cubicBezTo>
                  <a:lnTo>
                    <a:pt x="1695" y="18082"/>
                  </a:lnTo>
                  <a:cubicBezTo>
                    <a:pt x="3150" y="20369"/>
                    <a:pt x="5515" y="21600"/>
                    <a:pt x="7913" y="21600"/>
                  </a:cubicBezTo>
                  <a:cubicBezTo>
                    <a:pt x="9350" y="21600"/>
                    <a:pt x="10798" y="21155"/>
                    <a:pt x="12071" y="20231"/>
                  </a:cubicBezTo>
                  <a:lnTo>
                    <a:pt x="20584" y="13974"/>
                  </a:lnTo>
                  <a:lnTo>
                    <a:pt x="11773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19" name="Google Shape;52;p2"/>
            <p:cNvSpPr/>
            <p:nvPr/>
          </p:nvSpPr>
          <p:spPr>
            <a:xfrm>
              <a:off x="23878480" y="8457493"/>
              <a:ext cx="505061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93" h="21600" extrusionOk="0">
                  <a:moveTo>
                    <a:pt x="12725" y="0"/>
                  </a:moveTo>
                  <a:cubicBezTo>
                    <a:pt x="11273" y="0"/>
                    <a:pt x="9808" y="452"/>
                    <a:pt x="8513" y="1398"/>
                  </a:cubicBezTo>
                  <a:lnTo>
                    <a:pt x="0" y="7644"/>
                  </a:lnTo>
                  <a:lnTo>
                    <a:pt x="8811" y="21600"/>
                  </a:lnTo>
                  <a:lnTo>
                    <a:pt x="17324" y="15350"/>
                  </a:lnTo>
                  <a:cubicBezTo>
                    <a:pt x="20753" y="12845"/>
                    <a:pt x="21600" y="7828"/>
                    <a:pt x="19313" y="4178"/>
                  </a:cubicBezTo>
                  <a:lnTo>
                    <a:pt x="18932" y="3543"/>
                  </a:lnTo>
                  <a:cubicBezTo>
                    <a:pt x="17481" y="1241"/>
                    <a:pt x="15126" y="0"/>
                    <a:pt x="12725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20" name="Google Shape;53;p2"/>
            <p:cNvSpPr/>
            <p:nvPr/>
          </p:nvSpPr>
          <p:spPr>
            <a:xfrm>
              <a:off x="23366130" y="9677198"/>
              <a:ext cx="931442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7" h="21600" extrusionOk="0">
                  <a:moveTo>
                    <a:pt x="10021" y="0"/>
                  </a:moveTo>
                  <a:cubicBezTo>
                    <a:pt x="9665" y="0"/>
                    <a:pt x="9350" y="271"/>
                    <a:pt x="9308" y="637"/>
                  </a:cubicBezTo>
                  <a:lnTo>
                    <a:pt x="8374" y="7696"/>
                  </a:lnTo>
                  <a:lnTo>
                    <a:pt x="1373" y="6758"/>
                  </a:lnTo>
                  <a:cubicBezTo>
                    <a:pt x="1342" y="6754"/>
                    <a:pt x="1312" y="6752"/>
                    <a:pt x="1284" y="6752"/>
                  </a:cubicBezTo>
                  <a:cubicBezTo>
                    <a:pt x="911" y="6752"/>
                    <a:pt x="577" y="7027"/>
                    <a:pt x="533" y="7407"/>
                  </a:cubicBezTo>
                  <a:lnTo>
                    <a:pt x="5" y="11407"/>
                  </a:lnTo>
                  <a:cubicBezTo>
                    <a:pt x="-41" y="11816"/>
                    <a:pt x="245" y="12200"/>
                    <a:pt x="654" y="12249"/>
                  </a:cubicBezTo>
                  <a:lnTo>
                    <a:pt x="7653" y="13189"/>
                  </a:lnTo>
                  <a:lnTo>
                    <a:pt x="6743" y="20222"/>
                  </a:lnTo>
                  <a:cubicBezTo>
                    <a:pt x="6670" y="20633"/>
                    <a:pt x="6958" y="21017"/>
                    <a:pt x="7391" y="21066"/>
                  </a:cubicBezTo>
                  <a:lnTo>
                    <a:pt x="11346" y="21596"/>
                  </a:lnTo>
                  <a:cubicBezTo>
                    <a:pt x="11376" y="21600"/>
                    <a:pt x="11406" y="21600"/>
                    <a:pt x="11435" y="21600"/>
                  </a:cubicBezTo>
                  <a:cubicBezTo>
                    <a:pt x="11807" y="21600"/>
                    <a:pt x="12141" y="21325"/>
                    <a:pt x="12186" y="20944"/>
                  </a:cubicBezTo>
                  <a:lnTo>
                    <a:pt x="13120" y="13912"/>
                  </a:lnTo>
                  <a:lnTo>
                    <a:pt x="20121" y="14826"/>
                  </a:lnTo>
                  <a:cubicBezTo>
                    <a:pt x="20164" y="14834"/>
                    <a:pt x="20204" y="14838"/>
                    <a:pt x="20246" y="14838"/>
                  </a:cubicBezTo>
                  <a:cubicBezTo>
                    <a:pt x="20605" y="14838"/>
                    <a:pt x="20919" y="14565"/>
                    <a:pt x="20983" y="14177"/>
                  </a:cubicBezTo>
                  <a:lnTo>
                    <a:pt x="21487" y="10201"/>
                  </a:lnTo>
                  <a:cubicBezTo>
                    <a:pt x="21559" y="9792"/>
                    <a:pt x="21271" y="9406"/>
                    <a:pt x="20840" y="9357"/>
                  </a:cubicBezTo>
                  <a:lnTo>
                    <a:pt x="13839" y="8419"/>
                  </a:lnTo>
                  <a:lnTo>
                    <a:pt x="14775" y="1386"/>
                  </a:lnTo>
                  <a:cubicBezTo>
                    <a:pt x="14821" y="951"/>
                    <a:pt x="14536" y="591"/>
                    <a:pt x="14127" y="518"/>
                  </a:cubicBezTo>
                  <a:lnTo>
                    <a:pt x="10148" y="12"/>
                  </a:lnTo>
                  <a:cubicBezTo>
                    <a:pt x="10106" y="4"/>
                    <a:pt x="10063" y="0"/>
                    <a:pt x="1002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21" name="Google Shape;54;p2"/>
            <p:cNvSpPr/>
            <p:nvPr/>
          </p:nvSpPr>
          <p:spPr>
            <a:xfrm>
              <a:off x="22173731" y="11086838"/>
              <a:ext cx="933058" cy="11795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2" h="21600" extrusionOk="0">
                  <a:moveTo>
                    <a:pt x="8123" y="695"/>
                  </a:moveTo>
                  <a:cubicBezTo>
                    <a:pt x="8693" y="695"/>
                    <a:pt x="9253" y="971"/>
                    <a:pt x="9355" y="1588"/>
                  </a:cubicBezTo>
                  <a:cubicBezTo>
                    <a:pt x="9427" y="1892"/>
                    <a:pt x="9331" y="2216"/>
                    <a:pt x="9070" y="2464"/>
                  </a:cubicBezTo>
                  <a:lnTo>
                    <a:pt x="7479" y="2690"/>
                  </a:lnTo>
                  <a:cubicBezTo>
                    <a:pt x="7148" y="2539"/>
                    <a:pt x="6911" y="2291"/>
                    <a:pt x="6839" y="1987"/>
                  </a:cubicBezTo>
                  <a:lnTo>
                    <a:pt x="6839" y="1968"/>
                  </a:lnTo>
                  <a:cubicBezTo>
                    <a:pt x="6610" y="1169"/>
                    <a:pt x="7375" y="695"/>
                    <a:pt x="8123" y="695"/>
                  </a:cubicBezTo>
                  <a:close/>
                  <a:moveTo>
                    <a:pt x="15506" y="4387"/>
                  </a:moveTo>
                  <a:cubicBezTo>
                    <a:pt x="16030" y="4387"/>
                    <a:pt x="16467" y="4687"/>
                    <a:pt x="16572" y="5106"/>
                  </a:cubicBezTo>
                  <a:lnTo>
                    <a:pt x="19350" y="17186"/>
                  </a:lnTo>
                  <a:cubicBezTo>
                    <a:pt x="19443" y="17679"/>
                    <a:pt x="19041" y="18136"/>
                    <a:pt x="18446" y="18213"/>
                  </a:cubicBezTo>
                  <a:lnTo>
                    <a:pt x="5960" y="20039"/>
                  </a:lnTo>
                  <a:cubicBezTo>
                    <a:pt x="5900" y="20047"/>
                    <a:pt x="5838" y="20050"/>
                    <a:pt x="5778" y="20050"/>
                  </a:cubicBezTo>
                  <a:cubicBezTo>
                    <a:pt x="5256" y="20050"/>
                    <a:pt x="4787" y="19761"/>
                    <a:pt x="4702" y="19335"/>
                  </a:cubicBezTo>
                  <a:lnTo>
                    <a:pt x="1948" y="7237"/>
                  </a:lnTo>
                  <a:cubicBezTo>
                    <a:pt x="1831" y="6761"/>
                    <a:pt x="2234" y="6306"/>
                    <a:pt x="2828" y="6229"/>
                  </a:cubicBezTo>
                  <a:lnTo>
                    <a:pt x="4323" y="6020"/>
                  </a:lnTo>
                  <a:cubicBezTo>
                    <a:pt x="4387" y="6339"/>
                    <a:pt x="4746" y="6584"/>
                    <a:pt x="5156" y="6584"/>
                  </a:cubicBezTo>
                  <a:cubicBezTo>
                    <a:pt x="5210" y="6584"/>
                    <a:pt x="5264" y="6581"/>
                    <a:pt x="5320" y="6571"/>
                  </a:cubicBezTo>
                  <a:lnTo>
                    <a:pt x="13129" y="5430"/>
                  </a:lnTo>
                  <a:cubicBezTo>
                    <a:pt x="13580" y="5354"/>
                    <a:pt x="13913" y="4993"/>
                    <a:pt x="13817" y="4612"/>
                  </a:cubicBezTo>
                  <a:lnTo>
                    <a:pt x="15290" y="4403"/>
                  </a:lnTo>
                  <a:cubicBezTo>
                    <a:pt x="15362" y="4392"/>
                    <a:pt x="15434" y="4387"/>
                    <a:pt x="15506" y="4387"/>
                  </a:cubicBezTo>
                  <a:close/>
                  <a:moveTo>
                    <a:pt x="8101" y="0"/>
                  </a:moveTo>
                  <a:cubicBezTo>
                    <a:pt x="7973" y="0"/>
                    <a:pt x="7846" y="10"/>
                    <a:pt x="7718" y="29"/>
                  </a:cubicBezTo>
                  <a:cubicBezTo>
                    <a:pt x="6506" y="200"/>
                    <a:pt x="5723" y="1131"/>
                    <a:pt x="5984" y="2082"/>
                  </a:cubicBezTo>
                  <a:cubicBezTo>
                    <a:pt x="6032" y="2368"/>
                    <a:pt x="6175" y="2615"/>
                    <a:pt x="6412" y="2844"/>
                  </a:cubicBezTo>
                  <a:lnTo>
                    <a:pt x="4845" y="3072"/>
                  </a:lnTo>
                  <a:cubicBezTo>
                    <a:pt x="4227" y="3167"/>
                    <a:pt x="3801" y="3662"/>
                    <a:pt x="3920" y="4155"/>
                  </a:cubicBezTo>
                  <a:lnTo>
                    <a:pt x="4014" y="4612"/>
                  </a:lnTo>
                  <a:lnTo>
                    <a:pt x="1450" y="4993"/>
                  </a:lnTo>
                  <a:cubicBezTo>
                    <a:pt x="477" y="5125"/>
                    <a:pt x="-139" y="5868"/>
                    <a:pt x="26" y="6648"/>
                  </a:cubicBezTo>
                  <a:lnTo>
                    <a:pt x="3161" y="20439"/>
                  </a:lnTo>
                  <a:cubicBezTo>
                    <a:pt x="3330" y="21118"/>
                    <a:pt x="4068" y="21600"/>
                    <a:pt x="4917" y="21600"/>
                  </a:cubicBezTo>
                  <a:cubicBezTo>
                    <a:pt x="5019" y="21600"/>
                    <a:pt x="5120" y="21594"/>
                    <a:pt x="5224" y="21579"/>
                  </a:cubicBezTo>
                  <a:lnTo>
                    <a:pt x="19848" y="19430"/>
                  </a:lnTo>
                  <a:cubicBezTo>
                    <a:pt x="20821" y="19298"/>
                    <a:pt x="21461" y="18536"/>
                    <a:pt x="21296" y="17775"/>
                  </a:cubicBezTo>
                  <a:lnTo>
                    <a:pt x="18137" y="3984"/>
                  </a:lnTo>
                  <a:cubicBezTo>
                    <a:pt x="17992" y="3298"/>
                    <a:pt x="17254" y="2817"/>
                    <a:pt x="16415" y="2817"/>
                  </a:cubicBezTo>
                  <a:cubicBezTo>
                    <a:pt x="16303" y="2817"/>
                    <a:pt x="16188" y="2825"/>
                    <a:pt x="16074" y="2844"/>
                  </a:cubicBezTo>
                  <a:lnTo>
                    <a:pt x="13534" y="3224"/>
                  </a:lnTo>
                  <a:lnTo>
                    <a:pt x="13414" y="2767"/>
                  </a:lnTo>
                  <a:cubicBezTo>
                    <a:pt x="13307" y="2318"/>
                    <a:pt x="12810" y="1995"/>
                    <a:pt x="12240" y="1995"/>
                  </a:cubicBezTo>
                  <a:cubicBezTo>
                    <a:pt x="12180" y="1995"/>
                    <a:pt x="12122" y="1999"/>
                    <a:pt x="12061" y="2007"/>
                  </a:cubicBezTo>
                  <a:lnTo>
                    <a:pt x="10163" y="2291"/>
                  </a:lnTo>
                  <a:cubicBezTo>
                    <a:pt x="10280" y="2026"/>
                    <a:pt x="10304" y="1740"/>
                    <a:pt x="10234" y="1454"/>
                  </a:cubicBezTo>
                  <a:cubicBezTo>
                    <a:pt x="10065" y="607"/>
                    <a:pt x="9140" y="0"/>
                    <a:pt x="810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22" name="Google Shape;55;p2"/>
            <p:cNvSpPr/>
            <p:nvPr/>
          </p:nvSpPr>
          <p:spPr>
            <a:xfrm>
              <a:off x="22355331" y="11512252"/>
              <a:ext cx="135430" cy="1347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8" h="21600" extrusionOk="0">
                  <a:moveTo>
                    <a:pt x="9027" y="0"/>
                  </a:moveTo>
                  <a:cubicBezTo>
                    <a:pt x="8517" y="0"/>
                    <a:pt x="8007" y="56"/>
                    <a:pt x="7498" y="154"/>
                  </a:cubicBezTo>
                  <a:cubicBezTo>
                    <a:pt x="-510" y="1819"/>
                    <a:pt x="-2723" y="14144"/>
                    <a:pt x="3905" y="19641"/>
                  </a:cubicBezTo>
                  <a:cubicBezTo>
                    <a:pt x="5504" y="20998"/>
                    <a:pt x="7254" y="21600"/>
                    <a:pt x="8946" y="21600"/>
                  </a:cubicBezTo>
                  <a:cubicBezTo>
                    <a:pt x="14126" y="21600"/>
                    <a:pt x="18877" y="15962"/>
                    <a:pt x="17846" y="8813"/>
                  </a:cubicBezTo>
                  <a:cubicBezTo>
                    <a:pt x="16977" y="3609"/>
                    <a:pt x="13257" y="0"/>
                    <a:pt x="902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23" name="Google Shape;56;p2"/>
            <p:cNvSpPr/>
            <p:nvPr/>
          </p:nvSpPr>
          <p:spPr>
            <a:xfrm>
              <a:off x="22536208" y="11472643"/>
              <a:ext cx="304166" cy="1172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90" h="21600" extrusionOk="0">
                  <a:moveTo>
                    <a:pt x="17244" y="0"/>
                  </a:moveTo>
                  <a:cubicBezTo>
                    <a:pt x="17042" y="0"/>
                    <a:pt x="16828" y="64"/>
                    <a:pt x="16603" y="209"/>
                  </a:cubicBezTo>
                  <a:lnTo>
                    <a:pt x="2016" y="7666"/>
                  </a:lnTo>
                  <a:cubicBezTo>
                    <a:pt x="-1007" y="9289"/>
                    <a:pt x="-411" y="21600"/>
                    <a:pt x="2348" y="21600"/>
                  </a:cubicBezTo>
                  <a:cubicBezTo>
                    <a:pt x="2522" y="21600"/>
                    <a:pt x="2702" y="21552"/>
                    <a:pt x="2887" y="21439"/>
                  </a:cubicBezTo>
                  <a:lnTo>
                    <a:pt x="17474" y="13982"/>
                  </a:lnTo>
                  <a:cubicBezTo>
                    <a:pt x="20593" y="12729"/>
                    <a:pt x="20048" y="0"/>
                    <a:pt x="1724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24" name="Google Shape;57;p2"/>
            <p:cNvSpPr/>
            <p:nvPr/>
          </p:nvSpPr>
          <p:spPr>
            <a:xfrm>
              <a:off x="22389915" y="11700268"/>
              <a:ext cx="135068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39" h="21600" extrusionOk="0">
                  <a:moveTo>
                    <a:pt x="8987" y="0"/>
                  </a:moveTo>
                  <a:cubicBezTo>
                    <a:pt x="8477" y="0"/>
                    <a:pt x="7967" y="56"/>
                    <a:pt x="7446" y="154"/>
                  </a:cubicBezTo>
                  <a:cubicBezTo>
                    <a:pt x="-411" y="1817"/>
                    <a:pt x="-2763" y="14134"/>
                    <a:pt x="3865" y="19629"/>
                  </a:cubicBezTo>
                  <a:cubicBezTo>
                    <a:pt x="5464" y="20985"/>
                    <a:pt x="7214" y="21600"/>
                    <a:pt x="8906" y="21600"/>
                  </a:cubicBezTo>
                  <a:cubicBezTo>
                    <a:pt x="14086" y="21600"/>
                    <a:pt x="18837" y="15952"/>
                    <a:pt x="17794" y="8808"/>
                  </a:cubicBezTo>
                  <a:cubicBezTo>
                    <a:pt x="16937" y="3607"/>
                    <a:pt x="13217" y="0"/>
                    <a:pt x="898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25" name="Google Shape;58;p2"/>
            <p:cNvSpPr/>
            <p:nvPr/>
          </p:nvSpPr>
          <p:spPr>
            <a:xfrm>
              <a:off x="22573028" y="11660571"/>
              <a:ext cx="296516" cy="117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9" h="21600" extrusionOk="0">
                  <a:moveTo>
                    <a:pt x="17019" y="0"/>
                  </a:moveTo>
                  <a:cubicBezTo>
                    <a:pt x="16927" y="0"/>
                    <a:pt x="16835" y="0"/>
                    <a:pt x="16743" y="32"/>
                  </a:cubicBezTo>
                  <a:lnTo>
                    <a:pt x="1826" y="7467"/>
                  </a:lnTo>
                  <a:cubicBezTo>
                    <a:pt x="-1047" y="9887"/>
                    <a:pt x="-329" y="21600"/>
                    <a:pt x="2579" y="21600"/>
                  </a:cubicBezTo>
                  <a:cubicBezTo>
                    <a:pt x="2648" y="21600"/>
                    <a:pt x="2717" y="21600"/>
                    <a:pt x="2786" y="21584"/>
                  </a:cubicBezTo>
                  <a:lnTo>
                    <a:pt x="17703" y="13957"/>
                  </a:lnTo>
                  <a:cubicBezTo>
                    <a:pt x="20553" y="11553"/>
                    <a:pt x="19869" y="0"/>
                    <a:pt x="1701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26" name="Google Shape;59;p2"/>
            <p:cNvSpPr/>
            <p:nvPr/>
          </p:nvSpPr>
          <p:spPr>
            <a:xfrm>
              <a:off x="22426297" y="11900761"/>
              <a:ext cx="135068" cy="1357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39" h="21600" extrusionOk="0">
                  <a:moveTo>
                    <a:pt x="8941" y="0"/>
                  </a:moveTo>
                  <a:cubicBezTo>
                    <a:pt x="8443" y="0"/>
                    <a:pt x="7944" y="56"/>
                    <a:pt x="7446" y="153"/>
                  </a:cubicBezTo>
                  <a:cubicBezTo>
                    <a:pt x="-411" y="1805"/>
                    <a:pt x="-2763" y="14034"/>
                    <a:pt x="3865" y="19657"/>
                  </a:cubicBezTo>
                  <a:cubicBezTo>
                    <a:pt x="5464" y="21003"/>
                    <a:pt x="7203" y="21600"/>
                    <a:pt x="8906" y="21600"/>
                  </a:cubicBezTo>
                  <a:cubicBezTo>
                    <a:pt x="14086" y="21600"/>
                    <a:pt x="18837" y="16006"/>
                    <a:pt x="17794" y="8912"/>
                  </a:cubicBezTo>
                  <a:cubicBezTo>
                    <a:pt x="17052" y="3720"/>
                    <a:pt x="13205" y="0"/>
                    <a:pt x="894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27" name="Google Shape;60;p2"/>
            <p:cNvSpPr/>
            <p:nvPr/>
          </p:nvSpPr>
          <p:spPr>
            <a:xfrm>
              <a:off x="22608829" y="11860802"/>
              <a:ext cx="299104" cy="1182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49" h="21600" extrusionOk="0">
                  <a:moveTo>
                    <a:pt x="17103" y="0"/>
                  </a:moveTo>
                  <a:cubicBezTo>
                    <a:pt x="16978" y="0"/>
                    <a:pt x="16852" y="32"/>
                    <a:pt x="16721" y="80"/>
                  </a:cubicBezTo>
                  <a:lnTo>
                    <a:pt x="1918" y="7668"/>
                  </a:lnTo>
                  <a:cubicBezTo>
                    <a:pt x="-1007" y="9660"/>
                    <a:pt x="-385" y="21600"/>
                    <a:pt x="2420" y="21600"/>
                  </a:cubicBezTo>
                  <a:cubicBezTo>
                    <a:pt x="2540" y="21600"/>
                    <a:pt x="2671" y="21568"/>
                    <a:pt x="2802" y="21520"/>
                  </a:cubicBezTo>
                  <a:lnTo>
                    <a:pt x="17599" y="14124"/>
                  </a:lnTo>
                  <a:cubicBezTo>
                    <a:pt x="20593" y="11940"/>
                    <a:pt x="19909" y="0"/>
                    <a:pt x="1710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28" name="Google Shape;61;p2"/>
            <p:cNvSpPr/>
            <p:nvPr/>
          </p:nvSpPr>
          <p:spPr>
            <a:xfrm>
              <a:off x="22288027" y="12736145"/>
              <a:ext cx="602469" cy="6074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14" h="21600" extrusionOk="0">
                  <a:moveTo>
                    <a:pt x="9728" y="0"/>
                  </a:moveTo>
                  <a:cubicBezTo>
                    <a:pt x="6860" y="0"/>
                    <a:pt x="4044" y="1452"/>
                    <a:pt x="2191" y="4164"/>
                  </a:cubicBezTo>
                  <a:lnTo>
                    <a:pt x="18156" y="15432"/>
                  </a:lnTo>
                  <a:cubicBezTo>
                    <a:pt x="20410" y="10555"/>
                    <a:pt x="18952" y="4570"/>
                    <a:pt x="14812" y="1654"/>
                  </a:cubicBezTo>
                  <a:cubicBezTo>
                    <a:pt x="13234" y="537"/>
                    <a:pt x="11473" y="0"/>
                    <a:pt x="9728" y="0"/>
                  </a:cubicBezTo>
                  <a:close/>
                  <a:moveTo>
                    <a:pt x="1064" y="6159"/>
                  </a:moveTo>
                  <a:cubicBezTo>
                    <a:pt x="-1190" y="11036"/>
                    <a:pt x="235" y="17055"/>
                    <a:pt x="4408" y="19974"/>
                  </a:cubicBezTo>
                  <a:cubicBezTo>
                    <a:pt x="5978" y="21073"/>
                    <a:pt x="7730" y="21600"/>
                    <a:pt x="9464" y="21600"/>
                  </a:cubicBezTo>
                  <a:cubicBezTo>
                    <a:pt x="12344" y="21600"/>
                    <a:pt x="15171" y="20145"/>
                    <a:pt x="17032" y="17427"/>
                  </a:cubicBezTo>
                  <a:lnTo>
                    <a:pt x="1064" y="6159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29" name="Google Shape;62;p2"/>
            <p:cNvSpPr/>
            <p:nvPr/>
          </p:nvSpPr>
          <p:spPr>
            <a:xfrm>
              <a:off x="23545369" y="11433207"/>
              <a:ext cx="504551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2" h="21600" extrusionOk="0">
                  <a:moveTo>
                    <a:pt x="11761" y="0"/>
                  </a:moveTo>
                  <a:lnTo>
                    <a:pt x="3248" y="6250"/>
                  </a:lnTo>
                  <a:cubicBezTo>
                    <a:pt x="-139" y="8755"/>
                    <a:pt x="-1028" y="13772"/>
                    <a:pt x="1298" y="17464"/>
                  </a:cubicBezTo>
                  <a:lnTo>
                    <a:pt x="1683" y="18057"/>
                  </a:lnTo>
                  <a:cubicBezTo>
                    <a:pt x="3106" y="20359"/>
                    <a:pt x="5468" y="21600"/>
                    <a:pt x="7869" y="21600"/>
                  </a:cubicBezTo>
                  <a:cubicBezTo>
                    <a:pt x="9317" y="21600"/>
                    <a:pt x="10782" y="21148"/>
                    <a:pt x="12059" y="20202"/>
                  </a:cubicBezTo>
                  <a:lnTo>
                    <a:pt x="20572" y="13956"/>
                  </a:lnTo>
                  <a:lnTo>
                    <a:pt x="11761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30" name="Google Shape;63;p2"/>
            <p:cNvSpPr/>
            <p:nvPr/>
          </p:nvSpPr>
          <p:spPr>
            <a:xfrm>
              <a:off x="23878480" y="11228963"/>
              <a:ext cx="505061" cy="4919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93" h="21600" extrusionOk="0">
                  <a:moveTo>
                    <a:pt x="12725" y="0"/>
                  </a:moveTo>
                  <a:cubicBezTo>
                    <a:pt x="11273" y="0"/>
                    <a:pt x="9808" y="452"/>
                    <a:pt x="8513" y="1398"/>
                  </a:cubicBezTo>
                  <a:lnTo>
                    <a:pt x="0" y="7646"/>
                  </a:lnTo>
                  <a:lnTo>
                    <a:pt x="8811" y="21600"/>
                  </a:lnTo>
                  <a:lnTo>
                    <a:pt x="17324" y="15353"/>
                  </a:lnTo>
                  <a:cubicBezTo>
                    <a:pt x="20753" y="12844"/>
                    <a:pt x="21600" y="7829"/>
                    <a:pt x="19313" y="4179"/>
                  </a:cubicBezTo>
                  <a:lnTo>
                    <a:pt x="18932" y="3543"/>
                  </a:lnTo>
                  <a:cubicBezTo>
                    <a:pt x="17481" y="1241"/>
                    <a:pt x="15126" y="0"/>
                    <a:pt x="12725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31" name="Google Shape;64;p2"/>
            <p:cNvSpPr/>
            <p:nvPr/>
          </p:nvSpPr>
          <p:spPr>
            <a:xfrm>
              <a:off x="23366130" y="12447883"/>
              <a:ext cx="932235" cy="9322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16" h="21600" extrusionOk="0">
                  <a:moveTo>
                    <a:pt x="10059" y="0"/>
                  </a:moveTo>
                  <a:cubicBezTo>
                    <a:pt x="9685" y="0"/>
                    <a:pt x="9352" y="277"/>
                    <a:pt x="9308" y="655"/>
                  </a:cubicBezTo>
                  <a:lnTo>
                    <a:pt x="8398" y="7708"/>
                  </a:lnTo>
                  <a:lnTo>
                    <a:pt x="1373" y="6768"/>
                  </a:lnTo>
                  <a:cubicBezTo>
                    <a:pt x="1342" y="6766"/>
                    <a:pt x="1312" y="6764"/>
                    <a:pt x="1284" y="6764"/>
                  </a:cubicBezTo>
                  <a:cubicBezTo>
                    <a:pt x="911" y="6764"/>
                    <a:pt x="577" y="7039"/>
                    <a:pt x="533" y="7419"/>
                  </a:cubicBezTo>
                  <a:lnTo>
                    <a:pt x="5" y="11414"/>
                  </a:lnTo>
                  <a:cubicBezTo>
                    <a:pt x="-41" y="11824"/>
                    <a:pt x="245" y="12184"/>
                    <a:pt x="654" y="12257"/>
                  </a:cubicBezTo>
                  <a:lnTo>
                    <a:pt x="7653" y="13194"/>
                  </a:lnTo>
                  <a:lnTo>
                    <a:pt x="6743" y="20223"/>
                  </a:lnTo>
                  <a:cubicBezTo>
                    <a:pt x="6670" y="20632"/>
                    <a:pt x="6958" y="21018"/>
                    <a:pt x="7391" y="21066"/>
                  </a:cubicBezTo>
                  <a:lnTo>
                    <a:pt x="11346" y="21596"/>
                  </a:lnTo>
                  <a:cubicBezTo>
                    <a:pt x="11376" y="21598"/>
                    <a:pt x="11406" y="21600"/>
                    <a:pt x="11435" y="21600"/>
                  </a:cubicBezTo>
                  <a:cubicBezTo>
                    <a:pt x="11807" y="21600"/>
                    <a:pt x="12141" y="21325"/>
                    <a:pt x="12186" y="20945"/>
                  </a:cubicBezTo>
                  <a:lnTo>
                    <a:pt x="13120" y="13918"/>
                  </a:lnTo>
                  <a:lnTo>
                    <a:pt x="20145" y="14832"/>
                  </a:lnTo>
                  <a:cubicBezTo>
                    <a:pt x="20174" y="14836"/>
                    <a:pt x="20204" y="14838"/>
                    <a:pt x="20234" y="14838"/>
                  </a:cubicBezTo>
                  <a:cubicBezTo>
                    <a:pt x="20603" y="14838"/>
                    <a:pt x="20917" y="14561"/>
                    <a:pt x="20983" y="14183"/>
                  </a:cubicBezTo>
                  <a:lnTo>
                    <a:pt x="21511" y="10186"/>
                  </a:lnTo>
                  <a:cubicBezTo>
                    <a:pt x="21559" y="9778"/>
                    <a:pt x="21271" y="9392"/>
                    <a:pt x="20864" y="9343"/>
                  </a:cubicBezTo>
                  <a:lnTo>
                    <a:pt x="13839" y="8430"/>
                  </a:lnTo>
                  <a:lnTo>
                    <a:pt x="14775" y="1377"/>
                  </a:lnTo>
                  <a:cubicBezTo>
                    <a:pt x="14821" y="968"/>
                    <a:pt x="14536" y="606"/>
                    <a:pt x="14127" y="536"/>
                  </a:cubicBezTo>
                  <a:lnTo>
                    <a:pt x="10148" y="6"/>
                  </a:lnTo>
                  <a:cubicBezTo>
                    <a:pt x="10118" y="2"/>
                    <a:pt x="10087" y="0"/>
                    <a:pt x="1005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32" name="Google Shape;65;p2"/>
            <p:cNvSpPr/>
            <p:nvPr/>
          </p:nvSpPr>
          <p:spPr>
            <a:xfrm>
              <a:off x="19402263" y="0"/>
              <a:ext cx="933373" cy="1179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05" h="21600" extrusionOk="0">
                  <a:moveTo>
                    <a:pt x="8118" y="695"/>
                  </a:moveTo>
                  <a:cubicBezTo>
                    <a:pt x="8691" y="695"/>
                    <a:pt x="9255" y="970"/>
                    <a:pt x="9369" y="1588"/>
                  </a:cubicBezTo>
                  <a:cubicBezTo>
                    <a:pt x="9416" y="1911"/>
                    <a:pt x="9321" y="2216"/>
                    <a:pt x="9060" y="2462"/>
                  </a:cubicBezTo>
                  <a:lnTo>
                    <a:pt x="7496" y="2690"/>
                  </a:lnTo>
                  <a:cubicBezTo>
                    <a:pt x="7140" y="2539"/>
                    <a:pt x="6903" y="2272"/>
                    <a:pt x="6831" y="1968"/>
                  </a:cubicBezTo>
                  <a:cubicBezTo>
                    <a:pt x="6602" y="1169"/>
                    <a:pt x="7367" y="695"/>
                    <a:pt x="8118" y="695"/>
                  </a:cubicBezTo>
                  <a:close/>
                  <a:moveTo>
                    <a:pt x="15478" y="4392"/>
                  </a:moveTo>
                  <a:cubicBezTo>
                    <a:pt x="16000" y="4392"/>
                    <a:pt x="16468" y="4681"/>
                    <a:pt x="16554" y="5125"/>
                  </a:cubicBezTo>
                  <a:lnTo>
                    <a:pt x="19328" y="17205"/>
                  </a:lnTo>
                  <a:cubicBezTo>
                    <a:pt x="19422" y="17679"/>
                    <a:pt x="19043" y="18136"/>
                    <a:pt x="18426" y="18213"/>
                  </a:cubicBezTo>
                  <a:lnTo>
                    <a:pt x="5955" y="20039"/>
                  </a:lnTo>
                  <a:cubicBezTo>
                    <a:pt x="5883" y="20050"/>
                    <a:pt x="5814" y="20055"/>
                    <a:pt x="5746" y="20055"/>
                  </a:cubicBezTo>
                  <a:cubicBezTo>
                    <a:pt x="5234" y="20055"/>
                    <a:pt x="4782" y="19755"/>
                    <a:pt x="4698" y="19335"/>
                  </a:cubicBezTo>
                  <a:lnTo>
                    <a:pt x="1946" y="7237"/>
                  </a:lnTo>
                  <a:cubicBezTo>
                    <a:pt x="1829" y="6761"/>
                    <a:pt x="2231" y="6304"/>
                    <a:pt x="2824" y="6229"/>
                  </a:cubicBezTo>
                  <a:lnTo>
                    <a:pt x="4318" y="6020"/>
                  </a:lnTo>
                  <a:cubicBezTo>
                    <a:pt x="4380" y="6354"/>
                    <a:pt x="4736" y="6585"/>
                    <a:pt x="5143" y="6585"/>
                  </a:cubicBezTo>
                  <a:cubicBezTo>
                    <a:pt x="5198" y="6585"/>
                    <a:pt x="5256" y="6581"/>
                    <a:pt x="5314" y="6571"/>
                  </a:cubicBezTo>
                  <a:lnTo>
                    <a:pt x="13115" y="5430"/>
                  </a:lnTo>
                  <a:cubicBezTo>
                    <a:pt x="13589" y="5373"/>
                    <a:pt x="13897" y="4993"/>
                    <a:pt x="13804" y="4632"/>
                  </a:cubicBezTo>
                  <a:lnTo>
                    <a:pt x="15297" y="4403"/>
                  </a:lnTo>
                  <a:cubicBezTo>
                    <a:pt x="15357" y="4395"/>
                    <a:pt x="15419" y="4392"/>
                    <a:pt x="15478" y="4392"/>
                  </a:cubicBezTo>
                  <a:close/>
                  <a:moveTo>
                    <a:pt x="8074" y="0"/>
                  </a:moveTo>
                  <a:cubicBezTo>
                    <a:pt x="7947" y="0"/>
                    <a:pt x="7815" y="10"/>
                    <a:pt x="7686" y="27"/>
                  </a:cubicBezTo>
                  <a:cubicBezTo>
                    <a:pt x="6499" y="217"/>
                    <a:pt x="5718" y="1131"/>
                    <a:pt x="5955" y="2082"/>
                  </a:cubicBezTo>
                  <a:cubicBezTo>
                    <a:pt x="6025" y="2368"/>
                    <a:pt x="6168" y="2634"/>
                    <a:pt x="6381" y="2842"/>
                  </a:cubicBezTo>
                  <a:lnTo>
                    <a:pt x="4840" y="3071"/>
                  </a:lnTo>
                  <a:cubicBezTo>
                    <a:pt x="4222" y="3167"/>
                    <a:pt x="3796" y="3660"/>
                    <a:pt x="3916" y="4175"/>
                  </a:cubicBezTo>
                  <a:lnTo>
                    <a:pt x="4009" y="4612"/>
                  </a:lnTo>
                  <a:lnTo>
                    <a:pt x="1448" y="4993"/>
                  </a:lnTo>
                  <a:cubicBezTo>
                    <a:pt x="476" y="5125"/>
                    <a:pt x="-139" y="5868"/>
                    <a:pt x="26" y="6629"/>
                  </a:cubicBezTo>
                  <a:lnTo>
                    <a:pt x="3157" y="20419"/>
                  </a:lnTo>
                  <a:cubicBezTo>
                    <a:pt x="3304" y="21116"/>
                    <a:pt x="4077" y="21600"/>
                    <a:pt x="4917" y="21600"/>
                  </a:cubicBezTo>
                  <a:cubicBezTo>
                    <a:pt x="5017" y="21600"/>
                    <a:pt x="5119" y="21594"/>
                    <a:pt x="5220" y="21579"/>
                  </a:cubicBezTo>
                  <a:lnTo>
                    <a:pt x="19850" y="19430"/>
                  </a:lnTo>
                  <a:cubicBezTo>
                    <a:pt x="20822" y="19277"/>
                    <a:pt x="21461" y="18536"/>
                    <a:pt x="21272" y="17775"/>
                  </a:cubicBezTo>
                  <a:lnTo>
                    <a:pt x="18119" y="4004"/>
                  </a:lnTo>
                  <a:cubicBezTo>
                    <a:pt x="17970" y="3306"/>
                    <a:pt x="17215" y="2821"/>
                    <a:pt x="16363" y="2821"/>
                  </a:cubicBezTo>
                  <a:cubicBezTo>
                    <a:pt x="16261" y="2821"/>
                    <a:pt x="16160" y="2829"/>
                    <a:pt x="16056" y="2842"/>
                  </a:cubicBezTo>
                  <a:lnTo>
                    <a:pt x="13495" y="3224"/>
                  </a:lnTo>
                  <a:lnTo>
                    <a:pt x="13399" y="2786"/>
                  </a:lnTo>
                  <a:cubicBezTo>
                    <a:pt x="13294" y="2329"/>
                    <a:pt x="12816" y="2010"/>
                    <a:pt x="12262" y="2010"/>
                  </a:cubicBezTo>
                  <a:cubicBezTo>
                    <a:pt x="12192" y="2010"/>
                    <a:pt x="12121" y="2015"/>
                    <a:pt x="12049" y="2026"/>
                  </a:cubicBezTo>
                  <a:lnTo>
                    <a:pt x="10151" y="2291"/>
                  </a:lnTo>
                  <a:cubicBezTo>
                    <a:pt x="10271" y="2026"/>
                    <a:pt x="10293" y="1740"/>
                    <a:pt x="10223" y="1473"/>
                  </a:cubicBezTo>
                  <a:cubicBezTo>
                    <a:pt x="10054" y="609"/>
                    <a:pt x="9130" y="0"/>
                    <a:pt x="807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33" name="Google Shape;66;p2"/>
            <p:cNvSpPr/>
            <p:nvPr/>
          </p:nvSpPr>
          <p:spPr>
            <a:xfrm>
              <a:off x="19583829" y="425151"/>
              <a:ext cx="134643" cy="1348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12" h="21600" extrusionOk="0">
                  <a:moveTo>
                    <a:pt x="9057" y="0"/>
                  </a:moveTo>
                  <a:cubicBezTo>
                    <a:pt x="8500" y="0"/>
                    <a:pt x="7943" y="56"/>
                    <a:pt x="7374" y="196"/>
                  </a:cubicBezTo>
                  <a:cubicBezTo>
                    <a:pt x="-507" y="1858"/>
                    <a:pt x="-2712" y="14167"/>
                    <a:pt x="3915" y="19658"/>
                  </a:cubicBezTo>
                  <a:cubicBezTo>
                    <a:pt x="5506" y="20999"/>
                    <a:pt x="7235" y="21600"/>
                    <a:pt x="8906" y="21600"/>
                  </a:cubicBezTo>
                  <a:cubicBezTo>
                    <a:pt x="14118" y="21600"/>
                    <a:pt x="18888" y="15886"/>
                    <a:pt x="17739" y="8844"/>
                  </a:cubicBezTo>
                  <a:cubicBezTo>
                    <a:pt x="17008" y="3702"/>
                    <a:pt x="13259" y="0"/>
                    <a:pt x="905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34" name="Google Shape;67;p2"/>
            <p:cNvSpPr/>
            <p:nvPr/>
          </p:nvSpPr>
          <p:spPr>
            <a:xfrm>
              <a:off x="19764340" y="385803"/>
              <a:ext cx="304562" cy="1180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44" h="21600" extrusionOk="0">
                  <a:moveTo>
                    <a:pt x="17207" y="0"/>
                  </a:moveTo>
                  <a:cubicBezTo>
                    <a:pt x="17006" y="0"/>
                    <a:pt x="16793" y="64"/>
                    <a:pt x="16569" y="208"/>
                  </a:cubicBezTo>
                  <a:lnTo>
                    <a:pt x="16502" y="208"/>
                  </a:lnTo>
                  <a:lnTo>
                    <a:pt x="2040" y="7807"/>
                  </a:lnTo>
                  <a:cubicBezTo>
                    <a:pt x="-1056" y="9243"/>
                    <a:pt x="-384" y="21600"/>
                    <a:pt x="2421" y="21600"/>
                  </a:cubicBezTo>
                  <a:cubicBezTo>
                    <a:pt x="2578" y="21600"/>
                    <a:pt x="2734" y="21568"/>
                    <a:pt x="2902" y="21488"/>
                  </a:cubicBezTo>
                  <a:lnTo>
                    <a:pt x="17437" y="13889"/>
                  </a:lnTo>
                  <a:cubicBezTo>
                    <a:pt x="20544" y="12644"/>
                    <a:pt x="20001" y="0"/>
                    <a:pt x="1720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35" name="Google Shape;68;p2"/>
            <p:cNvSpPr/>
            <p:nvPr/>
          </p:nvSpPr>
          <p:spPr>
            <a:xfrm>
              <a:off x="19617894" y="613429"/>
              <a:ext cx="134849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9" h="21600" extrusionOk="0">
                  <a:moveTo>
                    <a:pt x="8942" y="0"/>
                  </a:moveTo>
                  <a:cubicBezTo>
                    <a:pt x="8442" y="0"/>
                    <a:pt x="7920" y="42"/>
                    <a:pt x="7409" y="154"/>
                  </a:cubicBezTo>
                  <a:cubicBezTo>
                    <a:pt x="-477" y="1819"/>
                    <a:pt x="-2683" y="14144"/>
                    <a:pt x="3809" y="19641"/>
                  </a:cubicBezTo>
                  <a:cubicBezTo>
                    <a:pt x="5446" y="20998"/>
                    <a:pt x="7223" y="21600"/>
                    <a:pt x="8942" y="21600"/>
                  </a:cubicBezTo>
                  <a:cubicBezTo>
                    <a:pt x="14179" y="21600"/>
                    <a:pt x="18917" y="15962"/>
                    <a:pt x="17779" y="8813"/>
                  </a:cubicBezTo>
                  <a:cubicBezTo>
                    <a:pt x="17036" y="3609"/>
                    <a:pt x="13203" y="0"/>
                    <a:pt x="894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36" name="Google Shape;69;p2"/>
            <p:cNvSpPr/>
            <p:nvPr/>
          </p:nvSpPr>
          <p:spPr>
            <a:xfrm>
              <a:off x="19801574" y="573732"/>
              <a:ext cx="296581" cy="117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13" h="21600" extrusionOk="0">
                  <a:moveTo>
                    <a:pt x="16994" y="0"/>
                  </a:moveTo>
                  <a:cubicBezTo>
                    <a:pt x="16931" y="0"/>
                    <a:pt x="16862" y="16"/>
                    <a:pt x="16793" y="32"/>
                  </a:cubicBezTo>
                  <a:lnTo>
                    <a:pt x="16724" y="32"/>
                  </a:lnTo>
                  <a:lnTo>
                    <a:pt x="1829" y="7659"/>
                  </a:lnTo>
                  <a:cubicBezTo>
                    <a:pt x="-1047" y="9903"/>
                    <a:pt x="-329" y="21600"/>
                    <a:pt x="2575" y="21600"/>
                  </a:cubicBezTo>
                  <a:cubicBezTo>
                    <a:pt x="2644" y="21600"/>
                    <a:pt x="2713" y="21600"/>
                    <a:pt x="2782" y="21584"/>
                  </a:cubicBezTo>
                  <a:lnTo>
                    <a:pt x="17683" y="13957"/>
                  </a:lnTo>
                  <a:cubicBezTo>
                    <a:pt x="20553" y="11713"/>
                    <a:pt x="19835" y="0"/>
                    <a:pt x="1699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37" name="Google Shape;70;p2"/>
            <p:cNvSpPr/>
            <p:nvPr/>
          </p:nvSpPr>
          <p:spPr>
            <a:xfrm>
              <a:off x="19654826" y="813921"/>
              <a:ext cx="135077" cy="1356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1" h="21600" extrusionOk="0">
                  <a:moveTo>
                    <a:pt x="8976" y="0"/>
                  </a:moveTo>
                  <a:cubicBezTo>
                    <a:pt x="8477" y="0"/>
                    <a:pt x="7967" y="42"/>
                    <a:pt x="7446" y="153"/>
                  </a:cubicBezTo>
                  <a:cubicBezTo>
                    <a:pt x="-411" y="1806"/>
                    <a:pt x="-2763" y="14043"/>
                    <a:pt x="3865" y="19669"/>
                  </a:cubicBezTo>
                  <a:cubicBezTo>
                    <a:pt x="5476" y="21003"/>
                    <a:pt x="7226" y="21600"/>
                    <a:pt x="8906" y="21600"/>
                  </a:cubicBezTo>
                  <a:cubicBezTo>
                    <a:pt x="14132" y="21600"/>
                    <a:pt x="18837" y="15919"/>
                    <a:pt x="17794" y="8918"/>
                  </a:cubicBezTo>
                  <a:cubicBezTo>
                    <a:pt x="16937" y="3598"/>
                    <a:pt x="13205" y="0"/>
                    <a:pt x="897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38" name="Google Shape;71;p2"/>
            <p:cNvSpPr/>
            <p:nvPr/>
          </p:nvSpPr>
          <p:spPr>
            <a:xfrm>
              <a:off x="19836930" y="774050"/>
              <a:ext cx="299123" cy="1190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14" h="21600" extrusionOk="0">
                  <a:moveTo>
                    <a:pt x="17043" y="0"/>
                  </a:moveTo>
                  <a:cubicBezTo>
                    <a:pt x="16941" y="0"/>
                    <a:pt x="16827" y="16"/>
                    <a:pt x="16719" y="63"/>
                  </a:cubicBezTo>
                  <a:lnTo>
                    <a:pt x="1943" y="7601"/>
                  </a:lnTo>
                  <a:cubicBezTo>
                    <a:pt x="-1062" y="9596"/>
                    <a:pt x="-351" y="21600"/>
                    <a:pt x="2501" y="21600"/>
                  </a:cubicBezTo>
                  <a:cubicBezTo>
                    <a:pt x="2609" y="21600"/>
                    <a:pt x="2717" y="21584"/>
                    <a:pt x="2825" y="21552"/>
                  </a:cubicBezTo>
                  <a:lnTo>
                    <a:pt x="17601" y="14015"/>
                  </a:lnTo>
                  <a:cubicBezTo>
                    <a:pt x="20538" y="11829"/>
                    <a:pt x="19889" y="0"/>
                    <a:pt x="1704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39" name="Google Shape;72;p2"/>
            <p:cNvSpPr/>
            <p:nvPr/>
          </p:nvSpPr>
          <p:spPr>
            <a:xfrm>
              <a:off x="19516774" y="1649044"/>
              <a:ext cx="602470" cy="6076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14" h="21600" extrusionOk="0">
                  <a:moveTo>
                    <a:pt x="9749" y="0"/>
                  </a:moveTo>
                  <a:cubicBezTo>
                    <a:pt x="6872" y="0"/>
                    <a:pt x="4042" y="1451"/>
                    <a:pt x="2184" y="4171"/>
                  </a:cubicBezTo>
                  <a:lnTo>
                    <a:pt x="18149" y="15432"/>
                  </a:lnTo>
                  <a:cubicBezTo>
                    <a:pt x="20403" y="10560"/>
                    <a:pt x="18978" y="4577"/>
                    <a:pt x="14805" y="1625"/>
                  </a:cubicBezTo>
                  <a:cubicBezTo>
                    <a:pt x="13235" y="527"/>
                    <a:pt x="11483" y="0"/>
                    <a:pt x="9749" y="0"/>
                  </a:cubicBezTo>
                  <a:close/>
                  <a:moveTo>
                    <a:pt x="1057" y="6202"/>
                  </a:moveTo>
                  <a:cubicBezTo>
                    <a:pt x="-1197" y="11040"/>
                    <a:pt x="261" y="17019"/>
                    <a:pt x="4401" y="19975"/>
                  </a:cubicBezTo>
                  <a:cubicBezTo>
                    <a:pt x="5971" y="21073"/>
                    <a:pt x="7723" y="21600"/>
                    <a:pt x="9457" y="21600"/>
                  </a:cubicBezTo>
                  <a:cubicBezTo>
                    <a:pt x="12337" y="21600"/>
                    <a:pt x="15164" y="20146"/>
                    <a:pt x="17025" y="17426"/>
                  </a:cubicBezTo>
                  <a:lnTo>
                    <a:pt x="1057" y="6202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40" name="Google Shape;73;p2"/>
            <p:cNvSpPr/>
            <p:nvPr/>
          </p:nvSpPr>
          <p:spPr>
            <a:xfrm>
              <a:off x="20773897" y="346368"/>
              <a:ext cx="504551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2" h="21600" extrusionOk="0">
                  <a:moveTo>
                    <a:pt x="11761" y="0"/>
                  </a:moveTo>
                  <a:lnTo>
                    <a:pt x="3248" y="6246"/>
                  </a:lnTo>
                  <a:cubicBezTo>
                    <a:pt x="-139" y="8755"/>
                    <a:pt x="-1028" y="13772"/>
                    <a:pt x="1298" y="17464"/>
                  </a:cubicBezTo>
                  <a:lnTo>
                    <a:pt x="1683" y="18057"/>
                  </a:lnTo>
                  <a:cubicBezTo>
                    <a:pt x="3134" y="20359"/>
                    <a:pt x="5489" y="21600"/>
                    <a:pt x="7890" y="21600"/>
                  </a:cubicBezTo>
                  <a:cubicBezTo>
                    <a:pt x="9342" y="21600"/>
                    <a:pt x="10807" y="21144"/>
                    <a:pt x="12102" y="20202"/>
                  </a:cubicBezTo>
                  <a:lnTo>
                    <a:pt x="20572" y="13956"/>
                  </a:lnTo>
                  <a:lnTo>
                    <a:pt x="11761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41" name="Google Shape;74;p2"/>
            <p:cNvSpPr/>
            <p:nvPr/>
          </p:nvSpPr>
          <p:spPr>
            <a:xfrm>
              <a:off x="21107009" y="143171"/>
              <a:ext cx="505542" cy="4919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2" h="21600" extrusionOk="0">
                  <a:moveTo>
                    <a:pt x="12667" y="0"/>
                  </a:moveTo>
                  <a:cubicBezTo>
                    <a:pt x="11226" y="0"/>
                    <a:pt x="9770" y="452"/>
                    <a:pt x="8496" y="1398"/>
                  </a:cubicBezTo>
                  <a:lnTo>
                    <a:pt x="0" y="7646"/>
                  </a:lnTo>
                  <a:lnTo>
                    <a:pt x="8794" y="21600"/>
                  </a:lnTo>
                  <a:lnTo>
                    <a:pt x="17290" y="15353"/>
                  </a:lnTo>
                  <a:cubicBezTo>
                    <a:pt x="20712" y="12844"/>
                    <a:pt x="21600" y="7826"/>
                    <a:pt x="19278" y="4133"/>
                  </a:cubicBezTo>
                  <a:lnTo>
                    <a:pt x="18852" y="3539"/>
                  </a:lnTo>
                  <a:cubicBezTo>
                    <a:pt x="17404" y="1237"/>
                    <a:pt x="15053" y="0"/>
                    <a:pt x="1266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42" name="Google Shape;75;p2"/>
            <p:cNvSpPr/>
            <p:nvPr/>
          </p:nvSpPr>
          <p:spPr>
            <a:xfrm>
              <a:off x="20595460" y="1362876"/>
              <a:ext cx="930678" cy="9303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0" h="21600" extrusionOk="0">
                  <a:moveTo>
                    <a:pt x="10004" y="0"/>
                  </a:moveTo>
                  <a:cubicBezTo>
                    <a:pt x="9646" y="0"/>
                    <a:pt x="9331" y="273"/>
                    <a:pt x="9289" y="662"/>
                  </a:cubicBezTo>
                  <a:lnTo>
                    <a:pt x="8355" y="7705"/>
                  </a:lnTo>
                  <a:lnTo>
                    <a:pt x="1378" y="6763"/>
                  </a:lnTo>
                  <a:cubicBezTo>
                    <a:pt x="1333" y="6755"/>
                    <a:pt x="1289" y="6753"/>
                    <a:pt x="1247" y="6753"/>
                  </a:cubicBezTo>
                  <a:cubicBezTo>
                    <a:pt x="874" y="6753"/>
                    <a:pt x="578" y="7024"/>
                    <a:pt x="514" y="7415"/>
                  </a:cubicBezTo>
                  <a:lnTo>
                    <a:pt x="10" y="11393"/>
                  </a:lnTo>
                  <a:cubicBezTo>
                    <a:pt x="-60" y="11805"/>
                    <a:pt x="228" y="12189"/>
                    <a:pt x="659" y="12238"/>
                  </a:cubicBezTo>
                  <a:lnTo>
                    <a:pt x="635" y="12238"/>
                  </a:lnTo>
                  <a:lnTo>
                    <a:pt x="7636" y="13178"/>
                  </a:lnTo>
                  <a:lnTo>
                    <a:pt x="6724" y="20221"/>
                  </a:lnTo>
                  <a:cubicBezTo>
                    <a:pt x="6651" y="20630"/>
                    <a:pt x="6939" y="21017"/>
                    <a:pt x="7372" y="21065"/>
                  </a:cubicBezTo>
                  <a:lnTo>
                    <a:pt x="11327" y="21596"/>
                  </a:lnTo>
                  <a:cubicBezTo>
                    <a:pt x="11357" y="21598"/>
                    <a:pt x="11387" y="21600"/>
                    <a:pt x="11416" y="21600"/>
                  </a:cubicBezTo>
                  <a:cubicBezTo>
                    <a:pt x="11790" y="21600"/>
                    <a:pt x="12122" y="21325"/>
                    <a:pt x="12167" y="20944"/>
                  </a:cubicBezTo>
                  <a:lnTo>
                    <a:pt x="13101" y="13901"/>
                  </a:lnTo>
                  <a:lnTo>
                    <a:pt x="20102" y="14843"/>
                  </a:lnTo>
                  <a:cubicBezTo>
                    <a:pt x="20132" y="14847"/>
                    <a:pt x="20161" y="14847"/>
                    <a:pt x="20191" y="14847"/>
                  </a:cubicBezTo>
                  <a:cubicBezTo>
                    <a:pt x="20563" y="14847"/>
                    <a:pt x="20896" y="14571"/>
                    <a:pt x="20942" y="14191"/>
                  </a:cubicBezTo>
                  <a:lnTo>
                    <a:pt x="21470" y="10188"/>
                  </a:lnTo>
                  <a:cubicBezTo>
                    <a:pt x="21540" y="9777"/>
                    <a:pt x="21228" y="9392"/>
                    <a:pt x="20821" y="9344"/>
                  </a:cubicBezTo>
                  <a:lnTo>
                    <a:pt x="13820" y="8404"/>
                  </a:lnTo>
                  <a:lnTo>
                    <a:pt x="14756" y="1361"/>
                  </a:lnTo>
                  <a:cubicBezTo>
                    <a:pt x="14804" y="952"/>
                    <a:pt x="14517" y="565"/>
                    <a:pt x="14108" y="517"/>
                  </a:cubicBezTo>
                  <a:lnTo>
                    <a:pt x="10129" y="10"/>
                  </a:lnTo>
                  <a:cubicBezTo>
                    <a:pt x="10087" y="4"/>
                    <a:pt x="10044" y="0"/>
                    <a:pt x="1000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43" name="Google Shape;76;p2"/>
            <p:cNvSpPr/>
            <p:nvPr/>
          </p:nvSpPr>
          <p:spPr>
            <a:xfrm>
              <a:off x="19401983" y="2772167"/>
              <a:ext cx="933653" cy="11799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88" h="21600" extrusionOk="0">
                  <a:moveTo>
                    <a:pt x="8108" y="685"/>
                  </a:moveTo>
                  <a:cubicBezTo>
                    <a:pt x="8683" y="685"/>
                    <a:pt x="9251" y="965"/>
                    <a:pt x="9365" y="1592"/>
                  </a:cubicBezTo>
                  <a:cubicBezTo>
                    <a:pt x="9413" y="1897"/>
                    <a:pt x="9317" y="2220"/>
                    <a:pt x="9057" y="2448"/>
                  </a:cubicBezTo>
                  <a:lnTo>
                    <a:pt x="7495" y="2696"/>
                  </a:lnTo>
                  <a:cubicBezTo>
                    <a:pt x="7139" y="2544"/>
                    <a:pt x="6902" y="2278"/>
                    <a:pt x="6830" y="1955"/>
                  </a:cubicBezTo>
                  <a:cubicBezTo>
                    <a:pt x="6604" y="1158"/>
                    <a:pt x="7360" y="685"/>
                    <a:pt x="8108" y="685"/>
                  </a:cubicBezTo>
                  <a:close/>
                  <a:moveTo>
                    <a:pt x="15494" y="4391"/>
                  </a:moveTo>
                  <a:cubicBezTo>
                    <a:pt x="16007" y="4391"/>
                    <a:pt x="16461" y="4692"/>
                    <a:pt x="16566" y="5111"/>
                  </a:cubicBezTo>
                  <a:lnTo>
                    <a:pt x="19313" y="17187"/>
                  </a:lnTo>
                  <a:cubicBezTo>
                    <a:pt x="19407" y="17661"/>
                    <a:pt x="19029" y="18118"/>
                    <a:pt x="18412" y="18195"/>
                  </a:cubicBezTo>
                  <a:lnTo>
                    <a:pt x="5955" y="20020"/>
                  </a:lnTo>
                  <a:cubicBezTo>
                    <a:pt x="5884" y="20032"/>
                    <a:pt x="5814" y="20036"/>
                    <a:pt x="5746" y="20036"/>
                  </a:cubicBezTo>
                  <a:cubicBezTo>
                    <a:pt x="5235" y="20036"/>
                    <a:pt x="4783" y="19736"/>
                    <a:pt x="4700" y="19316"/>
                  </a:cubicBezTo>
                  <a:lnTo>
                    <a:pt x="1951" y="7242"/>
                  </a:lnTo>
                  <a:cubicBezTo>
                    <a:pt x="1857" y="6766"/>
                    <a:pt x="2259" y="6309"/>
                    <a:pt x="2852" y="6234"/>
                  </a:cubicBezTo>
                  <a:lnTo>
                    <a:pt x="4320" y="6005"/>
                  </a:lnTo>
                  <a:cubicBezTo>
                    <a:pt x="4406" y="6349"/>
                    <a:pt x="4781" y="6583"/>
                    <a:pt x="5203" y="6583"/>
                  </a:cubicBezTo>
                  <a:cubicBezTo>
                    <a:pt x="5247" y="6583"/>
                    <a:pt x="5293" y="6580"/>
                    <a:pt x="5338" y="6576"/>
                  </a:cubicBezTo>
                  <a:lnTo>
                    <a:pt x="13131" y="5434"/>
                  </a:lnTo>
                  <a:cubicBezTo>
                    <a:pt x="13580" y="5358"/>
                    <a:pt x="13912" y="4998"/>
                    <a:pt x="13817" y="4616"/>
                  </a:cubicBezTo>
                  <a:lnTo>
                    <a:pt x="15287" y="4408"/>
                  </a:lnTo>
                  <a:cubicBezTo>
                    <a:pt x="15357" y="4395"/>
                    <a:pt x="15426" y="4391"/>
                    <a:pt x="15494" y="4391"/>
                  </a:cubicBezTo>
                  <a:close/>
                  <a:moveTo>
                    <a:pt x="8106" y="0"/>
                  </a:moveTo>
                  <a:cubicBezTo>
                    <a:pt x="7966" y="0"/>
                    <a:pt x="7825" y="11"/>
                    <a:pt x="7684" y="34"/>
                  </a:cubicBezTo>
                  <a:cubicBezTo>
                    <a:pt x="6498" y="204"/>
                    <a:pt x="5718" y="1118"/>
                    <a:pt x="5955" y="2087"/>
                  </a:cubicBezTo>
                  <a:cubicBezTo>
                    <a:pt x="6025" y="2354"/>
                    <a:pt x="6168" y="2619"/>
                    <a:pt x="6381" y="2848"/>
                  </a:cubicBezTo>
                  <a:lnTo>
                    <a:pt x="4841" y="3076"/>
                  </a:lnTo>
                  <a:cubicBezTo>
                    <a:pt x="4224" y="3172"/>
                    <a:pt x="3799" y="3665"/>
                    <a:pt x="3918" y="4180"/>
                  </a:cubicBezTo>
                  <a:lnTo>
                    <a:pt x="4012" y="4616"/>
                  </a:lnTo>
                  <a:lnTo>
                    <a:pt x="1453" y="4998"/>
                  </a:lnTo>
                  <a:cubicBezTo>
                    <a:pt x="483" y="5130"/>
                    <a:pt x="-156" y="5871"/>
                    <a:pt x="33" y="6651"/>
                  </a:cubicBezTo>
                  <a:lnTo>
                    <a:pt x="3160" y="20420"/>
                  </a:lnTo>
                  <a:cubicBezTo>
                    <a:pt x="3307" y="21116"/>
                    <a:pt x="4079" y="21600"/>
                    <a:pt x="4919" y="21600"/>
                  </a:cubicBezTo>
                  <a:cubicBezTo>
                    <a:pt x="5018" y="21600"/>
                    <a:pt x="5120" y="21594"/>
                    <a:pt x="5221" y="21579"/>
                  </a:cubicBezTo>
                  <a:lnTo>
                    <a:pt x="19835" y="19429"/>
                  </a:lnTo>
                  <a:cubicBezTo>
                    <a:pt x="20805" y="19297"/>
                    <a:pt x="21444" y="18556"/>
                    <a:pt x="21255" y="17776"/>
                  </a:cubicBezTo>
                  <a:lnTo>
                    <a:pt x="18128" y="3990"/>
                  </a:lnTo>
                  <a:cubicBezTo>
                    <a:pt x="17961" y="3301"/>
                    <a:pt x="17225" y="2821"/>
                    <a:pt x="16387" y="2821"/>
                  </a:cubicBezTo>
                  <a:cubicBezTo>
                    <a:pt x="16274" y="2821"/>
                    <a:pt x="16160" y="2830"/>
                    <a:pt x="16045" y="2848"/>
                  </a:cubicBezTo>
                  <a:lnTo>
                    <a:pt x="13487" y="3209"/>
                  </a:lnTo>
                  <a:lnTo>
                    <a:pt x="13391" y="2773"/>
                  </a:lnTo>
                  <a:cubicBezTo>
                    <a:pt x="13284" y="2309"/>
                    <a:pt x="12773" y="2000"/>
                    <a:pt x="12222" y="2000"/>
                  </a:cubicBezTo>
                  <a:cubicBezTo>
                    <a:pt x="12162" y="2000"/>
                    <a:pt x="12102" y="2004"/>
                    <a:pt x="12042" y="2011"/>
                  </a:cubicBezTo>
                  <a:lnTo>
                    <a:pt x="10147" y="2297"/>
                  </a:lnTo>
                  <a:cubicBezTo>
                    <a:pt x="10266" y="2011"/>
                    <a:pt x="10288" y="1727"/>
                    <a:pt x="10218" y="1460"/>
                  </a:cubicBezTo>
                  <a:cubicBezTo>
                    <a:pt x="10051" y="604"/>
                    <a:pt x="9146" y="0"/>
                    <a:pt x="810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44" name="Google Shape;77;p2"/>
            <p:cNvSpPr/>
            <p:nvPr/>
          </p:nvSpPr>
          <p:spPr>
            <a:xfrm>
              <a:off x="19583829" y="3196883"/>
              <a:ext cx="134627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19" h="21600" extrusionOk="0">
                  <a:moveTo>
                    <a:pt x="8912" y="0"/>
                  </a:moveTo>
                  <a:cubicBezTo>
                    <a:pt x="8412" y="0"/>
                    <a:pt x="7890" y="42"/>
                    <a:pt x="7379" y="154"/>
                  </a:cubicBezTo>
                  <a:cubicBezTo>
                    <a:pt x="-507" y="1819"/>
                    <a:pt x="-2713" y="14144"/>
                    <a:pt x="3918" y="19641"/>
                  </a:cubicBezTo>
                  <a:cubicBezTo>
                    <a:pt x="5521" y="20998"/>
                    <a:pt x="7274" y="21600"/>
                    <a:pt x="8970" y="21600"/>
                  </a:cubicBezTo>
                  <a:cubicBezTo>
                    <a:pt x="14149" y="21600"/>
                    <a:pt x="18887" y="15962"/>
                    <a:pt x="17749" y="8813"/>
                  </a:cubicBezTo>
                  <a:cubicBezTo>
                    <a:pt x="17006" y="3609"/>
                    <a:pt x="13173" y="0"/>
                    <a:pt x="891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45" name="Google Shape;78;p2"/>
            <p:cNvSpPr/>
            <p:nvPr/>
          </p:nvSpPr>
          <p:spPr>
            <a:xfrm>
              <a:off x="19762803" y="3157099"/>
              <a:ext cx="307292" cy="1187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47" h="21600" extrusionOk="0">
                  <a:moveTo>
                    <a:pt x="17199" y="0"/>
                  </a:moveTo>
                  <a:cubicBezTo>
                    <a:pt x="16988" y="0"/>
                    <a:pt x="16760" y="63"/>
                    <a:pt x="16522" y="222"/>
                  </a:cubicBezTo>
                  <a:lnTo>
                    <a:pt x="16455" y="222"/>
                  </a:lnTo>
                  <a:lnTo>
                    <a:pt x="2120" y="7793"/>
                  </a:lnTo>
                  <a:cubicBezTo>
                    <a:pt x="-1027" y="9015"/>
                    <a:pt x="-433" y="21600"/>
                    <a:pt x="2342" y="21600"/>
                  </a:cubicBezTo>
                  <a:cubicBezTo>
                    <a:pt x="2542" y="21600"/>
                    <a:pt x="2752" y="21537"/>
                    <a:pt x="2974" y="21394"/>
                  </a:cubicBezTo>
                  <a:lnTo>
                    <a:pt x="17382" y="13839"/>
                  </a:lnTo>
                  <a:cubicBezTo>
                    <a:pt x="20573" y="12950"/>
                    <a:pt x="20001" y="0"/>
                    <a:pt x="1719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46" name="Google Shape;79;p2"/>
            <p:cNvSpPr/>
            <p:nvPr/>
          </p:nvSpPr>
          <p:spPr>
            <a:xfrm>
              <a:off x="19617894" y="3384899"/>
              <a:ext cx="134852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9" h="21600" extrusionOk="0">
                  <a:moveTo>
                    <a:pt x="8942" y="0"/>
                  </a:moveTo>
                  <a:cubicBezTo>
                    <a:pt x="8431" y="0"/>
                    <a:pt x="7920" y="42"/>
                    <a:pt x="7409" y="154"/>
                  </a:cubicBezTo>
                  <a:cubicBezTo>
                    <a:pt x="-477" y="1819"/>
                    <a:pt x="-2683" y="14144"/>
                    <a:pt x="3809" y="19641"/>
                  </a:cubicBezTo>
                  <a:cubicBezTo>
                    <a:pt x="5446" y="20998"/>
                    <a:pt x="7223" y="21600"/>
                    <a:pt x="8953" y="21600"/>
                  </a:cubicBezTo>
                  <a:cubicBezTo>
                    <a:pt x="14191" y="21600"/>
                    <a:pt x="18917" y="16004"/>
                    <a:pt x="17779" y="8981"/>
                  </a:cubicBezTo>
                  <a:cubicBezTo>
                    <a:pt x="17036" y="3623"/>
                    <a:pt x="13203" y="0"/>
                    <a:pt x="894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47" name="Google Shape;80;p2"/>
            <p:cNvSpPr/>
            <p:nvPr/>
          </p:nvSpPr>
          <p:spPr>
            <a:xfrm>
              <a:off x="19801580" y="3345202"/>
              <a:ext cx="296494" cy="1176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8" h="21600" extrusionOk="0">
                  <a:moveTo>
                    <a:pt x="16949" y="0"/>
                  </a:moveTo>
                  <a:cubicBezTo>
                    <a:pt x="16880" y="0"/>
                    <a:pt x="16811" y="16"/>
                    <a:pt x="16742" y="32"/>
                  </a:cubicBezTo>
                  <a:lnTo>
                    <a:pt x="1831" y="7654"/>
                  </a:lnTo>
                  <a:cubicBezTo>
                    <a:pt x="-1025" y="10055"/>
                    <a:pt x="-341" y="21600"/>
                    <a:pt x="2515" y="21600"/>
                  </a:cubicBezTo>
                  <a:cubicBezTo>
                    <a:pt x="2601" y="21600"/>
                    <a:pt x="2693" y="21584"/>
                    <a:pt x="2785" y="21568"/>
                  </a:cubicBezTo>
                  <a:lnTo>
                    <a:pt x="17702" y="14138"/>
                  </a:lnTo>
                  <a:cubicBezTo>
                    <a:pt x="20575" y="11705"/>
                    <a:pt x="19857" y="0"/>
                    <a:pt x="1694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48" name="Google Shape;81;p2"/>
            <p:cNvSpPr/>
            <p:nvPr/>
          </p:nvSpPr>
          <p:spPr>
            <a:xfrm>
              <a:off x="19654826" y="3586351"/>
              <a:ext cx="135068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39" h="21600" extrusionOk="0">
                  <a:moveTo>
                    <a:pt x="8987" y="0"/>
                  </a:moveTo>
                  <a:cubicBezTo>
                    <a:pt x="8477" y="0"/>
                    <a:pt x="7967" y="56"/>
                    <a:pt x="7446" y="168"/>
                  </a:cubicBezTo>
                  <a:cubicBezTo>
                    <a:pt x="-411" y="1831"/>
                    <a:pt x="-2763" y="14148"/>
                    <a:pt x="3865" y="19643"/>
                  </a:cubicBezTo>
                  <a:cubicBezTo>
                    <a:pt x="5464" y="20999"/>
                    <a:pt x="7203" y="21600"/>
                    <a:pt x="8906" y="21600"/>
                  </a:cubicBezTo>
                  <a:cubicBezTo>
                    <a:pt x="14086" y="21600"/>
                    <a:pt x="18837" y="15966"/>
                    <a:pt x="17794" y="8822"/>
                  </a:cubicBezTo>
                  <a:cubicBezTo>
                    <a:pt x="16937" y="3621"/>
                    <a:pt x="13205" y="0"/>
                    <a:pt x="898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49" name="Google Shape;82;p2"/>
            <p:cNvSpPr/>
            <p:nvPr/>
          </p:nvSpPr>
          <p:spPr>
            <a:xfrm>
              <a:off x="19837810" y="3546567"/>
              <a:ext cx="297467" cy="1178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71" h="21600" extrusionOk="0">
                  <a:moveTo>
                    <a:pt x="17130" y="0"/>
                  </a:moveTo>
                  <a:cubicBezTo>
                    <a:pt x="17021" y="0"/>
                    <a:pt x="16912" y="16"/>
                    <a:pt x="16803" y="48"/>
                  </a:cubicBezTo>
                  <a:lnTo>
                    <a:pt x="1902" y="7482"/>
                  </a:lnTo>
                  <a:cubicBezTo>
                    <a:pt x="-1014" y="9689"/>
                    <a:pt x="-394" y="21600"/>
                    <a:pt x="2522" y="21600"/>
                  </a:cubicBezTo>
                  <a:cubicBezTo>
                    <a:pt x="2608" y="21600"/>
                    <a:pt x="2700" y="21584"/>
                    <a:pt x="2792" y="21568"/>
                  </a:cubicBezTo>
                  <a:lnTo>
                    <a:pt x="17693" y="13942"/>
                  </a:lnTo>
                  <a:cubicBezTo>
                    <a:pt x="20586" y="11751"/>
                    <a:pt x="19932" y="0"/>
                    <a:pt x="1713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50" name="Google Shape;83;p2"/>
            <p:cNvSpPr/>
            <p:nvPr/>
          </p:nvSpPr>
          <p:spPr>
            <a:xfrm>
              <a:off x="19516774" y="4422172"/>
              <a:ext cx="600926" cy="6060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54" h="21600" extrusionOk="0">
                  <a:moveTo>
                    <a:pt x="9817" y="0"/>
                  </a:moveTo>
                  <a:cubicBezTo>
                    <a:pt x="6924" y="0"/>
                    <a:pt x="4076" y="1443"/>
                    <a:pt x="2194" y="4161"/>
                  </a:cubicBezTo>
                  <a:lnTo>
                    <a:pt x="18234" y="15415"/>
                  </a:lnTo>
                  <a:cubicBezTo>
                    <a:pt x="20398" y="10567"/>
                    <a:pt x="19034" y="4568"/>
                    <a:pt x="14941" y="1642"/>
                  </a:cubicBezTo>
                  <a:cubicBezTo>
                    <a:pt x="13354" y="535"/>
                    <a:pt x="11576" y="0"/>
                    <a:pt x="9817" y="0"/>
                  </a:cubicBezTo>
                  <a:close/>
                  <a:moveTo>
                    <a:pt x="1062" y="6160"/>
                  </a:moveTo>
                  <a:cubicBezTo>
                    <a:pt x="-1202" y="11046"/>
                    <a:pt x="263" y="17044"/>
                    <a:pt x="4422" y="19971"/>
                  </a:cubicBezTo>
                  <a:cubicBezTo>
                    <a:pt x="5999" y="21068"/>
                    <a:pt x="7760" y="21600"/>
                    <a:pt x="9502" y="21600"/>
                  </a:cubicBezTo>
                  <a:cubicBezTo>
                    <a:pt x="12395" y="21600"/>
                    <a:pt x="15235" y="20142"/>
                    <a:pt x="17105" y="17414"/>
                  </a:cubicBezTo>
                  <a:lnTo>
                    <a:pt x="1062" y="616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51" name="Google Shape;84;p2"/>
            <p:cNvSpPr/>
            <p:nvPr/>
          </p:nvSpPr>
          <p:spPr>
            <a:xfrm>
              <a:off x="20773159" y="3118885"/>
              <a:ext cx="505290" cy="4910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62" h="21600" extrusionOk="0">
                  <a:moveTo>
                    <a:pt x="11768" y="0"/>
                  </a:moveTo>
                  <a:lnTo>
                    <a:pt x="3272" y="6214"/>
                  </a:lnTo>
                  <a:cubicBezTo>
                    <a:pt x="-150" y="8728"/>
                    <a:pt x="-1038" y="13755"/>
                    <a:pt x="1326" y="17455"/>
                  </a:cubicBezTo>
                  <a:lnTo>
                    <a:pt x="1710" y="18050"/>
                  </a:lnTo>
                  <a:cubicBezTo>
                    <a:pt x="3158" y="20357"/>
                    <a:pt x="5509" y="21600"/>
                    <a:pt x="7905" y="21600"/>
                  </a:cubicBezTo>
                  <a:cubicBezTo>
                    <a:pt x="9354" y="21600"/>
                    <a:pt x="10816" y="21143"/>
                    <a:pt x="12109" y="20199"/>
                  </a:cubicBezTo>
                  <a:lnTo>
                    <a:pt x="20562" y="13982"/>
                  </a:lnTo>
                  <a:lnTo>
                    <a:pt x="11768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52" name="Google Shape;85;p2"/>
            <p:cNvSpPr/>
            <p:nvPr/>
          </p:nvSpPr>
          <p:spPr>
            <a:xfrm>
              <a:off x="21107009" y="2915339"/>
              <a:ext cx="504805" cy="491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82" h="21600" extrusionOk="0">
                  <a:moveTo>
                    <a:pt x="12732" y="0"/>
                  </a:moveTo>
                  <a:cubicBezTo>
                    <a:pt x="11273" y="0"/>
                    <a:pt x="9804" y="456"/>
                    <a:pt x="8513" y="1412"/>
                  </a:cubicBezTo>
                  <a:lnTo>
                    <a:pt x="0" y="7626"/>
                  </a:lnTo>
                  <a:lnTo>
                    <a:pt x="8811" y="21600"/>
                  </a:lnTo>
                  <a:lnTo>
                    <a:pt x="17324" y="15344"/>
                  </a:lnTo>
                  <a:cubicBezTo>
                    <a:pt x="20711" y="12831"/>
                    <a:pt x="21600" y="7806"/>
                    <a:pt x="19316" y="4108"/>
                  </a:cubicBezTo>
                  <a:lnTo>
                    <a:pt x="19316" y="4154"/>
                  </a:lnTo>
                  <a:lnTo>
                    <a:pt x="18889" y="3514"/>
                  </a:lnTo>
                  <a:cubicBezTo>
                    <a:pt x="17449" y="1220"/>
                    <a:pt x="15108" y="0"/>
                    <a:pt x="1273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53" name="Google Shape;86;p2"/>
            <p:cNvSpPr/>
            <p:nvPr/>
          </p:nvSpPr>
          <p:spPr>
            <a:xfrm>
              <a:off x="20595460" y="4133560"/>
              <a:ext cx="930678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0" h="21600" extrusionOk="0">
                  <a:moveTo>
                    <a:pt x="10040" y="0"/>
                  </a:moveTo>
                  <a:cubicBezTo>
                    <a:pt x="9666" y="0"/>
                    <a:pt x="9333" y="275"/>
                    <a:pt x="9289" y="656"/>
                  </a:cubicBezTo>
                  <a:lnTo>
                    <a:pt x="8355" y="7713"/>
                  </a:lnTo>
                  <a:lnTo>
                    <a:pt x="1378" y="6774"/>
                  </a:lnTo>
                  <a:cubicBezTo>
                    <a:pt x="1333" y="6766"/>
                    <a:pt x="1289" y="6764"/>
                    <a:pt x="1247" y="6764"/>
                  </a:cubicBezTo>
                  <a:cubicBezTo>
                    <a:pt x="874" y="6764"/>
                    <a:pt x="578" y="7035"/>
                    <a:pt x="514" y="7423"/>
                  </a:cubicBezTo>
                  <a:lnTo>
                    <a:pt x="10" y="11399"/>
                  </a:lnTo>
                  <a:cubicBezTo>
                    <a:pt x="-60" y="11808"/>
                    <a:pt x="228" y="12194"/>
                    <a:pt x="659" y="12243"/>
                  </a:cubicBezTo>
                  <a:lnTo>
                    <a:pt x="635" y="12243"/>
                  </a:lnTo>
                  <a:lnTo>
                    <a:pt x="7636" y="13181"/>
                  </a:lnTo>
                  <a:lnTo>
                    <a:pt x="6724" y="20216"/>
                  </a:lnTo>
                  <a:cubicBezTo>
                    <a:pt x="6651" y="20625"/>
                    <a:pt x="6939" y="21011"/>
                    <a:pt x="7372" y="21058"/>
                  </a:cubicBezTo>
                  <a:lnTo>
                    <a:pt x="11327" y="21588"/>
                  </a:lnTo>
                  <a:cubicBezTo>
                    <a:pt x="11369" y="21596"/>
                    <a:pt x="11412" y="21600"/>
                    <a:pt x="11452" y="21600"/>
                  </a:cubicBezTo>
                  <a:cubicBezTo>
                    <a:pt x="11810" y="21600"/>
                    <a:pt x="12124" y="21327"/>
                    <a:pt x="12167" y="20938"/>
                  </a:cubicBezTo>
                  <a:lnTo>
                    <a:pt x="13101" y="13904"/>
                  </a:lnTo>
                  <a:lnTo>
                    <a:pt x="20102" y="14844"/>
                  </a:lnTo>
                  <a:cubicBezTo>
                    <a:pt x="20132" y="14846"/>
                    <a:pt x="20161" y="14848"/>
                    <a:pt x="20191" y="14848"/>
                  </a:cubicBezTo>
                  <a:cubicBezTo>
                    <a:pt x="20563" y="14848"/>
                    <a:pt x="20896" y="14573"/>
                    <a:pt x="20942" y="14193"/>
                  </a:cubicBezTo>
                  <a:lnTo>
                    <a:pt x="21470" y="10195"/>
                  </a:lnTo>
                  <a:cubicBezTo>
                    <a:pt x="21540" y="9784"/>
                    <a:pt x="21228" y="9400"/>
                    <a:pt x="20821" y="9351"/>
                  </a:cubicBezTo>
                  <a:lnTo>
                    <a:pt x="13820" y="8413"/>
                  </a:lnTo>
                  <a:lnTo>
                    <a:pt x="14756" y="1378"/>
                  </a:lnTo>
                  <a:cubicBezTo>
                    <a:pt x="14804" y="969"/>
                    <a:pt x="14517" y="583"/>
                    <a:pt x="14108" y="534"/>
                  </a:cubicBezTo>
                  <a:lnTo>
                    <a:pt x="10129" y="4"/>
                  </a:lnTo>
                  <a:cubicBezTo>
                    <a:pt x="10099" y="2"/>
                    <a:pt x="10068" y="0"/>
                    <a:pt x="1004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54" name="Google Shape;87;p2"/>
            <p:cNvSpPr/>
            <p:nvPr/>
          </p:nvSpPr>
          <p:spPr>
            <a:xfrm>
              <a:off x="19402263" y="5543986"/>
              <a:ext cx="933373" cy="11787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05" h="21600" extrusionOk="0">
                  <a:moveTo>
                    <a:pt x="8106" y="687"/>
                  </a:moveTo>
                  <a:cubicBezTo>
                    <a:pt x="8681" y="687"/>
                    <a:pt x="9255" y="966"/>
                    <a:pt x="9369" y="1588"/>
                  </a:cubicBezTo>
                  <a:cubicBezTo>
                    <a:pt x="9416" y="1893"/>
                    <a:pt x="9321" y="2216"/>
                    <a:pt x="9060" y="2444"/>
                  </a:cubicBezTo>
                  <a:lnTo>
                    <a:pt x="7496" y="2692"/>
                  </a:lnTo>
                  <a:cubicBezTo>
                    <a:pt x="7140" y="2540"/>
                    <a:pt x="6903" y="2273"/>
                    <a:pt x="6831" y="1968"/>
                  </a:cubicBezTo>
                  <a:lnTo>
                    <a:pt x="6831" y="1949"/>
                  </a:lnTo>
                  <a:cubicBezTo>
                    <a:pt x="6604" y="1154"/>
                    <a:pt x="7359" y="687"/>
                    <a:pt x="8106" y="687"/>
                  </a:cubicBezTo>
                  <a:close/>
                  <a:moveTo>
                    <a:pt x="15504" y="4369"/>
                  </a:moveTo>
                  <a:cubicBezTo>
                    <a:pt x="16016" y="4369"/>
                    <a:pt x="16470" y="4670"/>
                    <a:pt x="16554" y="5090"/>
                  </a:cubicBezTo>
                  <a:lnTo>
                    <a:pt x="19328" y="17196"/>
                  </a:lnTo>
                  <a:cubicBezTo>
                    <a:pt x="19422" y="17672"/>
                    <a:pt x="19043" y="18129"/>
                    <a:pt x="18426" y="18204"/>
                  </a:cubicBezTo>
                  <a:lnTo>
                    <a:pt x="5955" y="20032"/>
                  </a:lnTo>
                  <a:cubicBezTo>
                    <a:pt x="5883" y="20043"/>
                    <a:pt x="5814" y="20049"/>
                    <a:pt x="5746" y="20049"/>
                  </a:cubicBezTo>
                  <a:cubicBezTo>
                    <a:pt x="5234" y="20049"/>
                    <a:pt x="4782" y="19747"/>
                    <a:pt x="4698" y="19328"/>
                  </a:cubicBezTo>
                  <a:lnTo>
                    <a:pt x="1946" y="7221"/>
                  </a:lnTo>
                  <a:cubicBezTo>
                    <a:pt x="1829" y="6747"/>
                    <a:pt x="2231" y="6289"/>
                    <a:pt x="2824" y="6213"/>
                  </a:cubicBezTo>
                  <a:lnTo>
                    <a:pt x="4318" y="5986"/>
                  </a:lnTo>
                  <a:cubicBezTo>
                    <a:pt x="4382" y="6321"/>
                    <a:pt x="4740" y="6569"/>
                    <a:pt x="5150" y="6569"/>
                  </a:cubicBezTo>
                  <a:cubicBezTo>
                    <a:pt x="5204" y="6569"/>
                    <a:pt x="5260" y="6564"/>
                    <a:pt x="5314" y="6556"/>
                  </a:cubicBezTo>
                  <a:lnTo>
                    <a:pt x="13115" y="5413"/>
                  </a:lnTo>
                  <a:cubicBezTo>
                    <a:pt x="13589" y="5338"/>
                    <a:pt x="13897" y="4977"/>
                    <a:pt x="13804" y="4595"/>
                  </a:cubicBezTo>
                  <a:lnTo>
                    <a:pt x="15297" y="4385"/>
                  </a:lnTo>
                  <a:cubicBezTo>
                    <a:pt x="15367" y="4374"/>
                    <a:pt x="15437" y="4369"/>
                    <a:pt x="15504" y="4369"/>
                  </a:cubicBezTo>
                  <a:close/>
                  <a:moveTo>
                    <a:pt x="8074" y="0"/>
                  </a:moveTo>
                  <a:cubicBezTo>
                    <a:pt x="7947" y="0"/>
                    <a:pt x="7817" y="8"/>
                    <a:pt x="7686" y="27"/>
                  </a:cubicBezTo>
                  <a:cubicBezTo>
                    <a:pt x="6499" y="198"/>
                    <a:pt x="5718" y="1130"/>
                    <a:pt x="5955" y="2083"/>
                  </a:cubicBezTo>
                  <a:cubicBezTo>
                    <a:pt x="6025" y="2348"/>
                    <a:pt x="6168" y="2615"/>
                    <a:pt x="6381" y="2844"/>
                  </a:cubicBezTo>
                  <a:lnTo>
                    <a:pt x="4840" y="3073"/>
                  </a:lnTo>
                  <a:cubicBezTo>
                    <a:pt x="4222" y="3167"/>
                    <a:pt x="3796" y="3643"/>
                    <a:pt x="3916" y="4158"/>
                  </a:cubicBezTo>
                  <a:lnTo>
                    <a:pt x="4009" y="4614"/>
                  </a:lnTo>
                  <a:lnTo>
                    <a:pt x="1448" y="4977"/>
                  </a:lnTo>
                  <a:cubicBezTo>
                    <a:pt x="476" y="5129"/>
                    <a:pt x="-139" y="5870"/>
                    <a:pt x="26" y="6631"/>
                  </a:cubicBezTo>
                  <a:lnTo>
                    <a:pt x="3157" y="20431"/>
                  </a:lnTo>
                  <a:cubicBezTo>
                    <a:pt x="3302" y="21120"/>
                    <a:pt x="4057" y="21600"/>
                    <a:pt x="4884" y="21600"/>
                  </a:cubicBezTo>
                  <a:cubicBezTo>
                    <a:pt x="4995" y="21600"/>
                    <a:pt x="5107" y="21592"/>
                    <a:pt x="5220" y="21574"/>
                  </a:cubicBezTo>
                  <a:lnTo>
                    <a:pt x="19850" y="19442"/>
                  </a:lnTo>
                  <a:cubicBezTo>
                    <a:pt x="20822" y="19290"/>
                    <a:pt x="21461" y="18548"/>
                    <a:pt x="21272" y="17766"/>
                  </a:cubicBezTo>
                  <a:lnTo>
                    <a:pt x="18141" y="3966"/>
                  </a:lnTo>
                  <a:cubicBezTo>
                    <a:pt x="17974" y="3273"/>
                    <a:pt x="17221" y="2804"/>
                    <a:pt x="16371" y="2804"/>
                  </a:cubicBezTo>
                  <a:cubicBezTo>
                    <a:pt x="16267" y="2804"/>
                    <a:pt x="16162" y="2811"/>
                    <a:pt x="16056" y="2825"/>
                  </a:cubicBezTo>
                  <a:lnTo>
                    <a:pt x="13495" y="3205"/>
                  </a:lnTo>
                  <a:lnTo>
                    <a:pt x="13399" y="2767"/>
                  </a:lnTo>
                  <a:cubicBezTo>
                    <a:pt x="13292" y="2304"/>
                    <a:pt x="12800" y="1995"/>
                    <a:pt x="12234" y="1995"/>
                  </a:cubicBezTo>
                  <a:cubicBezTo>
                    <a:pt x="12173" y="1995"/>
                    <a:pt x="12111" y="1998"/>
                    <a:pt x="12049" y="2006"/>
                  </a:cubicBezTo>
                  <a:lnTo>
                    <a:pt x="10151" y="2293"/>
                  </a:lnTo>
                  <a:cubicBezTo>
                    <a:pt x="10271" y="2026"/>
                    <a:pt x="10293" y="1739"/>
                    <a:pt x="10223" y="1455"/>
                  </a:cubicBezTo>
                  <a:cubicBezTo>
                    <a:pt x="10054" y="606"/>
                    <a:pt x="9130" y="0"/>
                    <a:pt x="807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55" name="Google Shape;88;p2"/>
            <p:cNvSpPr/>
            <p:nvPr/>
          </p:nvSpPr>
          <p:spPr>
            <a:xfrm>
              <a:off x="19583829" y="5969313"/>
              <a:ext cx="134627" cy="1347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19" h="21600" extrusionOk="0">
                  <a:moveTo>
                    <a:pt x="8912" y="0"/>
                  </a:moveTo>
                  <a:cubicBezTo>
                    <a:pt x="8412" y="0"/>
                    <a:pt x="7890" y="56"/>
                    <a:pt x="7379" y="168"/>
                  </a:cubicBezTo>
                  <a:cubicBezTo>
                    <a:pt x="-507" y="1831"/>
                    <a:pt x="-2713" y="14148"/>
                    <a:pt x="3918" y="19643"/>
                  </a:cubicBezTo>
                  <a:cubicBezTo>
                    <a:pt x="5521" y="20999"/>
                    <a:pt x="7274" y="21600"/>
                    <a:pt x="8970" y="21600"/>
                  </a:cubicBezTo>
                  <a:cubicBezTo>
                    <a:pt x="14149" y="21600"/>
                    <a:pt x="18887" y="15966"/>
                    <a:pt x="17749" y="8822"/>
                  </a:cubicBezTo>
                  <a:cubicBezTo>
                    <a:pt x="17006" y="3607"/>
                    <a:pt x="13173" y="0"/>
                    <a:pt x="891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56" name="Google Shape;89;p2"/>
            <p:cNvSpPr/>
            <p:nvPr/>
          </p:nvSpPr>
          <p:spPr>
            <a:xfrm>
              <a:off x="19764334" y="5928830"/>
              <a:ext cx="304572" cy="1181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45" h="21600" extrusionOk="0">
                  <a:moveTo>
                    <a:pt x="17163" y="0"/>
                  </a:moveTo>
                  <a:cubicBezTo>
                    <a:pt x="16978" y="0"/>
                    <a:pt x="16776" y="64"/>
                    <a:pt x="16569" y="175"/>
                  </a:cubicBezTo>
                  <a:lnTo>
                    <a:pt x="16502" y="175"/>
                  </a:lnTo>
                  <a:lnTo>
                    <a:pt x="2040" y="7769"/>
                  </a:lnTo>
                  <a:cubicBezTo>
                    <a:pt x="-1039" y="9380"/>
                    <a:pt x="-390" y="21600"/>
                    <a:pt x="2365" y="21600"/>
                  </a:cubicBezTo>
                  <a:cubicBezTo>
                    <a:pt x="2539" y="21600"/>
                    <a:pt x="2718" y="21552"/>
                    <a:pt x="2903" y="21456"/>
                  </a:cubicBezTo>
                  <a:lnTo>
                    <a:pt x="17437" y="13847"/>
                  </a:lnTo>
                  <a:cubicBezTo>
                    <a:pt x="20561" y="12603"/>
                    <a:pt x="19996" y="0"/>
                    <a:pt x="1716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57" name="Google Shape;90;p2"/>
            <p:cNvSpPr/>
            <p:nvPr/>
          </p:nvSpPr>
          <p:spPr>
            <a:xfrm>
              <a:off x="19617894" y="6157067"/>
              <a:ext cx="134849" cy="1350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9" h="21600" extrusionOk="0">
                  <a:moveTo>
                    <a:pt x="9092" y="0"/>
                  </a:moveTo>
                  <a:cubicBezTo>
                    <a:pt x="8535" y="0"/>
                    <a:pt x="7978" y="70"/>
                    <a:pt x="7409" y="209"/>
                  </a:cubicBezTo>
                  <a:cubicBezTo>
                    <a:pt x="-477" y="1702"/>
                    <a:pt x="-2683" y="14163"/>
                    <a:pt x="3809" y="19647"/>
                  </a:cubicBezTo>
                  <a:cubicBezTo>
                    <a:pt x="5446" y="21000"/>
                    <a:pt x="7223" y="21600"/>
                    <a:pt x="8942" y="21600"/>
                  </a:cubicBezTo>
                  <a:cubicBezTo>
                    <a:pt x="14179" y="21600"/>
                    <a:pt x="18917" y="15977"/>
                    <a:pt x="17779" y="8847"/>
                  </a:cubicBezTo>
                  <a:cubicBezTo>
                    <a:pt x="17047" y="3712"/>
                    <a:pt x="13296" y="0"/>
                    <a:pt x="909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58" name="Google Shape;91;p2"/>
            <p:cNvSpPr/>
            <p:nvPr/>
          </p:nvSpPr>
          <p:spPr>
            <a:xfrm>
              <a:off x="19801580" y="6116671"/>
              <a:ext cx="296575" cy="117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33" h="21600" extrusionOk="0">
                  <a:moveTo>
                    <a:pt x="17012" y="0"/>
                  </a:moveTo>
                  <a:cubicBezTo>
                    <a:pt x="16949" y="0"/>
                    <a:pt x="16880" y="16"/>
                    <a:pt x="16811" y="16"/>
                  </a:cubicBezTo>
                  <a:lnTo>
                    <a:pt x="16742" y="16"/>
                  </a:lnTo>
                  <a:lnTo>
                    <a:pt x="1831" y="7654"/>
                  </a:lnTo>
                  <a:cubicBezTo>
                    <a:pt x="-1025" y="10055"/>
                    <a:pt x="-341" y="21600"/>
                    <a:pt x="2515" y="21600"/>
                  </a:cubicBezTo>
                  <a:cubicBezTo>
                    <a:pt x="2601" y="21600"/>
                    <a:pt x="2693" y="21584"/>
                    <a:pt x="2785" y="21568"/>
                  </a:cubicBezTo>
                  <a:lnTo>
                    <a:pt x="17702" y="14122"/>
                  </a:lnTo>
                  <a:cubicBezTo>
                    <a:pt x="20575" y="11705"/>
                    <a:pt x="19857" y="0"/>
                    <a:pt x="1701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59" name="Google Shape;92;p2"/>
            <p:cNvSpPr/>
            <p:nvPr/>
          </p:nvSpPr>
          <p:spPr>
            <a:xfrm>
              <a:off x="19654826" y="6357821"/>
              <a:ext cx="135084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2" h="21600" extrusionOk="0">
                  <a:moveTo>
                    <a:pt x="8987" y="0"/>
                  </a:moveTo>
                  <a:cubicBezTo>
                    <a:pt x="8477" y="0"/>
                    <a:pt x="7967" y="56"/>
                    <a:pt x="7446" y="154"/>
                  </a:cubicBezTo>
                  <a:cubicBezTo>
                    <a:pt x="-411" y="1831"/>
                    <a:pt x="-2763" y="14148"/>
                    <a:pt x="3865" y="19629"/>
                  </a:cubicBezTo>
                  <a:cubicBezTo>
                    <a:pt x="5499" y="20985"/>
                    <a:pt x="7261" y="21600"/>
                    <a:pt x="8964" y="21600"/>
                  </a:cubicBezTo>
                  <a:cubicBezTo>
                    <a:pt x="14167" y="21600"/>
                    <a:pt x="18837" y="15966"/>
                    <a:pt x="17794" y="8822"/>
                  </a:cubicBezTo>
                  <a:cubicBezTo>
                    <a:pt x="16937" y="3607"/>
                    <a:pt x="13205" y="0"/>
                    <a:pt x="898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60" name="Google Shape;93;p2"/>
            <p:cNvSpPr/>
            <p:nvPr/>
          </p:nvSpPr>
          <p:spPr>
            <a:xfrm>
              <a:off x="19836930" y="6317949"/>
              <a:ext cx="299125" cy="1180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9" h="21600" extrusionOk="0">
                  <a:moveTo>
                    <a:pt x="17114" y="0"/>
                  </a:moveTo>
                  <a:cubicBezTo>
                    <a:pt x="16988" y="0"/>
                    <a:pt x="16863" y="16"/>
                    <a:pt x="16732" y="64"/>
                  </a:cubicBezTo>
                  <a:lnTo>
                    <a:pt x="1945" y="7471"/>
                  </a:lnTo>
                  <a:cubicBezTo>
                    <a:pt x="-1063" y="9675"/>
                    <a:pt x="-351" y="21600"/>
                    <a:pt x="2503" y="21600"/>
                  </a:cubicBezTo>
                  <a:cubicBezTo>
                    <a:pt x="2605" y="21600"/>
                    <a:pt x="2714" y="21584"/>
                    <a:pt x="2828" y="21552"/>
                  </a:cubicBezTo>
                  <a:lnTo>
                    <a:pt x="17615" y="13937"/>
                  </a:lnTo>
                  <a:cubicBezTo>
                    <a:pt x="20537" y="11941"/>
                    <a:pt x="19910" y="0"/>
                    <a:pt x="1711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61" name="Google Shape;94;p2"/>
            <p:cNvSpPr/>
            <p:nvPr/>
          </p:nvSpPr>
          <p:spPr>
            <a:xfrm>
              <a:off x="19516774" y="7191984"/>
              <a:ext cx="602470" cy="6079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14" h="21600" extrusionOk="0">
                  <a:moveTo>
                    <a:pt x="9757" y="0"/>
                  </a:moveTo>
                  <a:cubicBezTo>
                    <a:pt x="6878" y="0"/>
                    <a:pt x="4045" y="1460"/>
                    <a:pt x="2184" y="4207"/>
                  </a:cubicBezTo>
                  <a:lnTo>
                    <a:pt x="18149" y="15425"/>
                  </a:lnTo>
                  <a:cubicBezTo>
                    <a:pt x="20403" y="10552"/>
                    <a:pt x="18978" y="4575"/>
                    <a:pt x="14805" y="1621"/>
                  </a:cubicBezTo>
                  <a:cubicBezTo>
                    <a:pt x="13238" y="527"/>
                    <a:pt x="11488" y="0"/>
                    <a:pt x="9757" y="0"/>
                  </a:cubicBezTo>
                  <a:close/>
                  <a:moveTo>
                    <a:pt x="1057" y="6200"/>
                  </a:moveTo>
                  <a:cubicBezTo>
                    <a:pt x="-1197" y="11070"/>
                    <a:pt x="261" y="17049"/>
                    <a:pt x="4401" y="19966"/>
                  </a:cubicBezTo>
                  <a:cubicBezTo>
                    <a:pt x="5982" y="21067"/>
                    <a:pt x="7746" y="21600"/>
                    <a:pt x="9490" y="21600"/>
                  </a:cubicBezTo>
                  <a:cubicBezTo>
                    <a:pt x="12356" y="21600"/>
                    <a:pt x="15169" y="20162"/>
                    <a:pt x="17025" y="17455"/>
                  </a:cubicBezTo>
                  <a:lnTo>
                    <a:pt x="1057" y="620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62" name="Google Shape;95;p2"/>
            <p:cNvSpPr/>
            <p:nvPr/>
          </p:nvSpPr>
          <p:spPr>
            <a:xfrm>
              <a:off x="20773897" y="5890355"/>
              <a:ext cx="504551" cy="4910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2" h="21600" extrusionOk="0">
                  <a:moveTo>
                    <a:pt x="11761" y="0"/>
                  </a:moveTo>
                  <a:lnTo>
                    <a:pt x="3248" y="6214"/>
                  </a:lnTo>
                  <a:cubicBezTo>
                    <a:pt x="-139" y="8728"/>
                    <a:pt x="-1028" y="13755"/>
                    <a:pt x="1298" y="17455"/>
                  </a:cubicBezTo>
                  <a:lnTo>
                    <a:pt x="1683" y="18096"/>
                  </a:lnTo>
                  <a:cubicBezTo>
                    <a:pt x="3130" y="20368"/>
                    <a:pt x="5482" y="21600"/>
                    <a:pt x="7880" y="21600"/>
                  </a:cubicBezTo>
                  <a:cubicBezTo>
                    <a:pt x="9334" y="21600"/>
                    <a:pt x="10804" y="21147"/>
                    <a:pt x="12102" y="20195"/>
                  </a:cubicBezTo>
                  <a:lnTo>
                    <a:pt x="20572" y="13982"/>
                  </a:lnTo>
                  <a:lnTo>
                    <a:pt x="11761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63" name="Google Shape;96;p2"/>
            <p:cNvSpPr/>
            <p:nvPr/>
          </p:nvSpPr>
          <p:spPr>
            <a:xfrm>
              <a:off x="21107009" y="5686023"/>
              <a:ext cx="504805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82" h="21600" extrusionOk="0">
                  <a:moveTo>
                    <a:pt x="12692" y="0"/>
                  </a:moveTo>
                  <a:cubicBezTo>
                    <a:pt x="11248" y="0"/>
                    <a:pt x="9790" y="456"/>
                    <a:pt x="8513" y="1398"/>
                  </a:cubicBezTo>
                  <a:lnTo>
                    <a:pt x="0" y="7644"/>
                  </a:lnTo>
                  <a:lnTo>
                    <a:pt x="8811" y="21600"/>
                  </a:lnTo>
                  <a:lnTo>
                    <a:pt x="17324" y="15354"/>
                  </a:lnTo>
                  <a:cubicBezTo>
                    <a:pt x="20711" y="12845"/>
                    <a:pt x="21600" y="7828"/>
                    <a:pt x="19316" y="4136"/>
                  </a:cubicBezTo>
                  <a:lnTo>
                    <a:pt x="18889" y="3543"/>
                  </a:lnTo>
                  <a:cubicBezTo>
                    <a:pt x="17438" y="1241"/>
                    <a:pt x="15083" y="0"/>
                    <a:pt x="1269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64" name="Google Shape;97;p2"/>
            <p:cNvSpPr/>
            <p:nvPr/>
          </p:nvSpPr>
          <p:spPr>
            <a:xfrm>
              <a:off x="20595460" y="6905031"/>
              <a:ext cx="930678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0" h="21600" extrusionOk="0">
                  <a:moveTo>
                    <a:pt x="10040" y="0"/>
                  </a:moveTo>
                  <a:cubicBezTo>
                    <a:pt x="9666" y="0"/>
                    <a:pt x="9333" y="275"/>
                    <a:pt x="9289" y="656"/>
                  </a:cubicBezTo>
                  <a:lnTo>
                    <a:pt x="8355" y="7713"/>
                  </a:lnTo>
                  <a:lnTo>
                    <a:pt x="1378" y="6774"/>
                  </a:lnTo>
                  <a:cubicBezTo>
                    <a:pt x="1345" y="6770"/>
                    <a:pt x="1315" y="6768"/>
                    <a:pt x="1285" y="6768"/>
                  </a:cubicBezTo>
                  <a:cubicBezTo>
                    <a:pt x="894" y="6768"/>
                    <a:pt x="582" y="7045"/>
                    <a:pt x="514" y="7423"/>
                  </a:cubicBezTo>
                  <a:lnTo>
                    <a:pt x="10" y="11399"/>
                  </a:lnTo>
                  <a:cubicBezTo>
                    <a:pt x="-60" y="11832"/>
                    <a:pt x="228" y="12194"/>
                    <a:pt x="659" y="12265"/>
                  </a:cubicBezTo>
                  <a:lnTo>
                    <a:pt x="635" y="12265"/>
                  </a:lnTo>
                  <a:lnTo>
                    <a:pt x="7636" y="13181"/>
                  </a:lnTo>
                  <a:lnTo>
                    <a:pt x="6724" y="20238"/>
                  </a:lnTo>
                  <a:cubicBezTo>
                    <a:pt x="6651" y="20649"/>
                    <a:pt x="6939" y="21009"/>
                    <a:pt x="7372" y="21082"/>
                  </a:cubicBezTo>
                  <a:lnTo>
                    <a:pt x="11327" y="21588"/>
                  </a:lnTo>
                  <a:cubicBezTo>
                    <a:pt x="11369" y="21596"/>
                    <a:pt x="11412" y="21600"/>
                    <a:pt x="11454" y="21600"/>
                  </a:cubicBezTo>
                  <a:cubicBezTo>
                    <a:pt x="11810" y="21600"/>
                    <a:pt x="12124" y="21329"/>
                    <a:pt x="12167" y="20963"/>
                  </a:cubicBezTo>
                  <a:lnTo>
                    <a:pt x="13101" y="13904"/>
                  </a:lnTo>
                  <a:lnTo>
                    <a:pt x="20102" y="14842"/>
                  </a:lnTo>
                  <a:cubicBezTo>
                    <a:pt x="20132" y="14846"/>
                    <a:pt x="20161" y="14848"/>
                    <a:pt x="20191" y="14848"/>
                  </a:cubicBezTo>
                  <a:cubicBezTo>
                    <a:pt x="20563" y="14848"/>
                    <a:pt x="20896" y="14573"/>
                    <a:pt x="20942" y="14193"/>
                  </a:cubicBezTo>
                  <a:lnTo>
                    <a:pt x="21470" y="10193"/>
                  </a:lnTo>
                  <a:cubicBezTo>
                    <a:pt x="21540" y="9784"/>
                    <a:pt x="21228" y="9400"/>
                    <a:pt x="20821" y="9351"/>
                  </a:cubicBezTo>
                  <a:lnTo>
                    <a:pt x="13820" y="8435"/>
                  </a:lnTo>
                  <a:lnTo>
                    <a:pt x="14756" y="1378"/>
                  </a:lnTo>
                  <a:cubicBezTo>
                    <a:pt x="14804" y="967"/>
                    <a:pt x="14517" y="583"/>
                    <a:pt x="14108" y="534"/>
                  </a:cubicBezTo>
                  <a:lnTo>
                    <a:pt x="10129" y="4"/>
                  </a:lnTo>
                  <a:cubicBezTo>
                    <a:pt x="10099" y="0"/>
                    <a:pt x="10068" y="0"/>
                    <a:pt x="1004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65" name="Google Shape;98;p2"/>
            <p:cNvSpPr/>
            <p:nvPr/>
          </p:nvSpPr>
          <p:spPr>
            <a:xfrm>
              <a:off x="19401983" y="8315456"/>
              <a:ext cx="933653" cy="11806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88" h="21600" extrusionOk="0">
                  <a:moveTo>
                    <a:pt x="8116" y="693"/>
                  </a:moveTo>
                  <a:cubicBezTo>
                    <a:pt x="8689" y="693"/>
                    <a:pt x="9251" y="969"/>
                    <a:pt x="9365" y="1585"/>
                  </a:cubicBezTo>
                  <a:cubicBezTo>
                    <a:pt x="9413" y="1907"/>
                    <a:pt x="9317" y="2212"/>
                    <a:pt x="9057" y="2460"/>
                  </a:cubicBezTo>
                  <a:lnTo>
                    <a:pt x="7495" y="2688"/>
                  </a:lnTo>
                  <a:cubicBezTo>
                    <a:pt x="7139" y="2535"/>
                    <a:pt x="6902" y="2270"/>
                    <a:pt x="6830" y="1965"/>
                  </a:cubicBezTo>
                  <a:cubicBezTo>
                    <a:pt x="6602" y="1167"/>
                    <a:pt x="7366" y="693"/>
                    <a:pt x="8116" y="693"/>
                  </a:cubicBezTo>
                  <a:close/>
                  <a:moveTo>
                    <a:pt x="15504" y="4380"/>
                  </a:moveTo>
                  <a:cubicBezTo>
                    <a:pt x="16011" y="4380"/>
                    <a:pt x="16459" y="4666"/>
                    <a:pt x="16542" y="5082"/>
                  </a:cubicBezTo>
                  <a:lnTo>
                    <a:pt x="19313" y="17188"/>
                  </a:lnTo>
                  <a:cubicBezTo>
                    <a:pt x="19407" y="17664"/>
                    <a:pt x="19029" y="18119"/>
                    <a:pt x="18412" y="18195"/>
                  </a:cubicBezTo>
                  <a:lnTo>
                    <a:pt x="5955" y="20020"/>
                  </a:lnTo>
                  <a:cubicBezTo>
                    <a:pt x="5886" y="20031"/>
                    <a:pt x="5816" y="20036"/>
                    <a:pt x="5746" y="20036"/>
                  </a:cubicBezTo>
                  <a:cubicBezTo>
                    <a:pt x="5235" y="20036"/>
                    <a:pt x="4783" y="19734"/>
                    <a:pt x="4700" y="19298"/>
                  </a:cubicBezTo>
                  <a:lnTo>
                    <a:pt x="1951" y="7229"/>
                  </a:lnTo>
                  <a:cubicBezTo>
                    <a:pt x="1833" y="6755"/>
                    <a:pt x="2235" y="6299"/>
                    <a:pt x="2828" y="6203"/>
                  </a:cubicBezTo>
                  <a:lnTo>
                    <a:pt x="4320" y="5994"/>
                  </a:lnTo>
                  <a:cubicBezTo>
                    <a:pt x="4382" y="6327"/>
                    <a:pt x="4738" y="6559"/>
                    <a:pt x="5144" y="6559"/>
                  </a:cubicBezTo>
                  <a:cubicBezTo>
                    <a:pt x="5199" y="6559"/>
                    <a:pt x="5257" y="6554"/>
                    <a:pt x="5315" y="6546"/>
                  </a:cubicBezTo>
                  <a:lnTo>
                    <a:pt x="13107" y="5424"/>
                  </a:lnTo>
                  <a:cubicBezTo>
                    <a:pt x="13580" y="5347"/>
                    <a:pt x="13889" y="4987"/>
                    <a:pt x="13795" y="4607"/>
                  </a:cubicBezTo>
                  <a:lnTo>
                    <a:pt x="15287" y="4398"/>
                  </a:lnTo>
                  <a:cubicBezTo>
                    <a:pt x="15359" y="4386"/>
                    <a:pt x="15432" y="4380"/>
                    <a:pt x="15504" y="4380"/>
                  </a:cubicBezTo>
                  <a:close/>
                  <a:moveTo>
                    <a:pt x="8072" y="0"/>
                  </a:moveTo>
                  <a:cubicBezTo>
                    <a:pt x="7944" y="0"/>
                    <a:pt x="7813" y="8"/>
                    <a:pt x="7684" y="27"/>
                  </a:cubicBezTo>
                  <a:cubicBezTo>
                    <a:pt x="6498" y="198"/>
                    <a:pt x="5718" y="1129"/>
                    <a:pt x="5955" y="2080"/>
                  </a:cubicBezTo>
                  <a:cubicBezTo>
                    <a:pt x="6025" y="2364"/>
                    <a:pt x="6168" y="2631"/>
                    <a:pt x="6381" y="2840"/>
                  </a:cubicBezTo>
                  <a:lnTo>
                    <a:pt x="4841" y="3087"/>
                  </a:lnTo>
                  <a:cubicBezTo>
                    <a:pt x="4224" y="3181"/>
                    <a:pt x="3799" y="3676"/>
                    <a:pt x="3918" y="4169"/>
                  </a:cubicBezTo>
                  <a:lnTo>
                    <a:pt x="4012" y="4626"/>
                  </a:lnTo>
                  <a:lnTo>
                    <a:pt x="1453" y="4987"/>
                  </a:lnTo>
                  <a:cubicBezTo>
                    <a:pt x="483" y="5138"/>
                    <a:pt x="-156" y="5880"/>
                    <a:pt x="33" y="6659"/>
                  </a:cubicBezTo>
                  <a:lnTo>
                    <a:pt x="3160" y="20419"/>
                  </a:lnTo>
                  <a:cubicBezTo>
                    <a:pt x="3307" y="21115"/>
                    <a:pt x="4079" y="21600"/>
                    <a:pt x="4919" y="21600"/>
                  </a:cubicBezTo>
                  <a:cubicBezTo>
                    <a:pt x="5018" y="21600"/>
                    <a:pt x="5120" y="21592"/>
                    <a:pt x="5221" y="21578"/>
                  </a:cubicBezTo>
                  <a:lnTo>
                    <a:pt x="19835" y="19431"/>
                  </a:lnTo>
                  <a:cubicBezTo>
                    <a:pt x="20805" y="19279"/>
                    <a:pt x="21444" y="18537"/>
                    <a:pt x="21255" y="17777"/>
                  </a:cubicBezTo>
                  <a:lnTo>
                    <a:pt x="18128" y="3999"/>
                  </a:lnTo>
                  <a:cubicBezTo>
                    <a:pt x="17959" y="3303"/>
                    <a:pt x="17203" y="2819"/>
                    <a:pt x="16351" y="2819"/>
                  </a:cubicBezTo>
                  <a:cubicBezTo>
                    <a:pt x="16250" y="2819"/>
                    <a:pt x="16148" y="2825"/>
                    <a:pt x="16045" y="2840"/>
                  </a:cubicBezTo>
                  <a:lnTo>
                    <a:pt x="13487" y="3220"/>
                  </a:lnTo>
                  <a:lnTo>
                    <a:pt x="13391" y="2782"/>
                  </a:lnTo>
                  <a:cubicBezTo>
                    <a:pt x="13286" y="2327"/>
                    <a:pt x="12790" y="2006"/>
                    <a:pt x="12249" y="2006"/>
                  </a:cubicBezTo>
                  <a:cubicBezTo>
                    <a:pt x="12180" y="2006"/>
                    <a:pt x="12110" y="2011"/>
                    <a:pt x="12042" y="2022"/>
                  </a:cubicBezTo>
                  <a:lnTo>
                    <a:pt x="10147" y="2289"/>
                  </a:lnTo>
                  <a:cubicBezTo>
                    <a:pt x="10266" y="2022"/>
                    <a:pt x="10288" y="1737"/>
                    <a:pt x="10218" y="1472"/>
                  </a:cubicBezTo>
                  <a:cubicBezTo>
                    <a:pt x="10049" y="607"/>
                    <a:pt x="9126" y="0"/>
                    <a:pt x="807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66" name="Google Shape;99;p2"/>
            <p:cNvSpPr/>
            <p:nvPr/>
          </p:nvSpPr>
          <p:spPr>
            <a:xfrm>
              <a:off x="19583829" y="8740782"/>
              <a:ext cx="134627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19" h="21600" extrusionOk="0">
                  <a:moveTo>
                    <a:pt x="8912" y="0"/>
                  </a:moveTo>
                  <a:cubicBezTo>
                    <a:pt x="8412" y="0"/>
                    <a:pt x="7890" y="56"/>
                    <a:pt x="7379" y="154"/>
                  </a:cubicBezTo>
                  <a:cubicBezTo>
                    <a:pt x="-507" y="1817"/>
                    <a:pt x="-2713" y="14134"/>
                    <a:pt x="3918" y="19629"/>
                  </a:cubicBezTo>
                  <a:cubicBezTo>
                    <a:pt x="5521" y="20985"/>
                    <a:pt x="7274" y="21600"/>
                    <a:pt x="8970" y="21600"/>
                  </a:cubicBezTo>
                  <a:cubicBezTo>
                    <a:pt x="14149" y="21600"/>
                    <a:pt x="18887" y="15966"/>
                    <a:pt x="17749" y="8808"/>
                  </a:cubicBezTo>
                  <a:cubicBezTo>
                    <a:pt x="17006" y="3607"/>
                    <a:pt x="13173" y="0"/>
                    <a:pt x="891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67" name="Google Shape;100;p2"/>
            <p:cNvSpPr/>
            <p:nvPr/>
          </p:nvSpPr>
          <p:spPr>
            <a:xfrm>
              <a:off x="19762803" y="8699951"/>
              <a:ext cx="307292" cy="1187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47" h="21600" extrusionOk="0">
                  <a:moveTo>
                    <a:pt x="17199" y="0"/>
                  </a:moveTo>
                  <a:cubicBezTo>
                    <a:pt x="16988" y="0"/>
                    <a:pt x="16760" y="79"/>
                    <a:pt x="16522" y="238"/>
                  </a:cubicBezTo>
                  <a:lnTo>
                    <a:pt x="16455" y="238"/>
                  </a:lnTo>
                  <a:lnTo>
                    <a:pt x="2120" y="7793"/>
                  </a:lnTo>
                  <a:cubicBezTo>
                    <a:pt x="-1027" y="9030"/>
                    <a:pt x="-433" y="21600"/>
                    <a:pt x="2342" y="21600"/>
                  </a:cubicBezTo>
                  <a:cubicBezTo>
                    <a:pt x="2542" y="21600"/>
                    <a:pt x="2752" y="21537"/>
                    <a:pt x="2974" y="21410"/>
                  </a:cubicBezTo>
                  <a:lnTo>
                    <a:pt x="17382" y="13839"/>
                  </a:lnTo>
                  <a:cubicBezTo>
                    <a:pt x="20573" y="12966"/>
                    <a:pt x="20001" y="0"/>
                    <a:pt x="1719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68" name="Google Shape;101;p2"/>
            <p:cNvSpPr/>
            <p:nvPr/>
          </p:nvSpPr>
          <p:spPr>
            <a:xfrm>
              <a:off x="19617894" y="8928537"/>
              <a:ext cx="134849" cy="135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9" h="21600" extrusionOk="0">
                  <a:moveTo>
                    <a:pt x="9092" y="0"/>
                  </a:moveTo>
                  <a:cubicBezTo>
                    <a:pt x="8535" y="0"/>
                    <a:pt x="7978" y="70"/>
                    <a:pt x="7409" y="195"/>
                  </a:cubicBezTo>
                  <a:cubicBezTo>
                    <a:pt x="-477" y="1856"/>
                    <a:pt x="-2683" y="14149"/>
                    <a:pt x="3809" y="19633"/>
                  </a:cubicBezTo>
                  <a:cubicBezTo>
                    <a:pt x="5446" y="20986"/>
                    <a:pt x="7223" y="21600"/>
                    <a:pt x="8942" y="21600"/>
                  </a:cubicBezTo>
                  <a:cubicBezTo>
                    <a:pt x="14179" y="21600"/>
                    <a:pt x="18917" y="15977"/>
                    <a:pt x="17779" y="8847"/>
                  </a:cubicBezTo>
                  <a:cubicBezTo>
                    <a:pt x="17047" y="3712"/>
                    <a:pt x="13296" y="0"/>
                    <a:pt x="909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69" name="Google Shape;102;p2"/>
            <p:cNvSpPr/>
            <p:nvPr/>
          </p:nvSpPr>
          <p:spPr>
            <a:xfrm>
              <a:off x="19801574" y="8889101"/>
              <a:ext cx="296501" cy="117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8" h="21600" extrusionOk="0">
                  <a:moveTo>
                    <a:pt x="17018" y="0"/>
                  </a:moveTo>
                  <a:cubicBezTo>
                    <a:pt x="16926" y="0"/>
                    <a:pt x="16834" y="16"/>
                    <a:pt x="16742" y="32"/>
                  </a:cubicBezTo>
                  <a:lnTo>
                    <a:pt x="1831" y="7462"/>
                  </a:lnTo>
                  <a:cubicBezTo>
                    <a:pt x="-1048" y="9895"/>
                    <a:pt x="-330" y="21600"/>
                    <a:pt x="2578" y="21600"/>
                  </a:cubicBezTo>
                  <a:cubicBezTo>
                    <a:pt x="2647" y="21600"/>
                    <a:pt x="2716" y="21584"/>
                    <a:pt x="2785" y="21568"/>
                  </a:cubicBezTo>
                  <a:lnTo>
                    <a:pt x="17702" y="13946"/>
                  </a:lnTo>
                  <a:cubicBezTo>
                    <a:pt x="20552" y="11545"/>
                    <a:pt x="19868" y="0"/>
                    <a:pt x="1701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70" name="Google Shape;103;p2"/>
            <p:cNvSpPr/>
            <p:nvPr/>
          </p:nvSpPr>
          <p:spPr>
            <a:xfrm>
              <a:off x="19654826" y="9129290"/>
              <a:ext cx="135068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39" h="21600" extrusionOk="0">
                  <a:moveTo>
                    <a:pt x="8976" y="0"/>
                  </a:moveTo>
                  <a:cubicBezTo>
                    <a:pt x="8477" y="0"/>
                    <a:pt x="7967" y="56"/>
                    <a:pt x="7446" y="154"/>
                  </a:cubicBezTo>
                  <a:cubicBezTo>
                    <a:pt x="-411" y="1817"/>
                    <a:pt x="-2763" y="14134"/>
                    <a:pt x="3865" y="19629"/>
                  </a:cubicBezTo>
                  <a:cubicBezTo>
                    <a:pt x="5464" y="20985"/>
                    <a:pt x="7214" y="21600"/>
                    <a:pt x="8918" y="21600"/>
                  </a:cubicBezTo>
                  <a:cubicBezTo>
                    <a:pt x="14086" y="21600"/>
                    <a:pt x="18837" y="15994"/>
                    <a:pt x="17794" y="8976"/>
                  </a:cubicBezTo>
                  <a:cubicBezTo>
                    <a:pt x="16937" y="3621"/>
                    <a:pt x="13205" y="0"/>
                    <a:pt x="897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71" name="Google Shape;104;p2"/>
            <p:cNvSpPr/>
            <p:nvPr/>
          </p:nvSpPr>
          <p:spPr>
            <a:xfrm>
              <a:off x="19837804" y="9089594"/>
              <a:ext cx="297483" cy="117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1" h="21600" extrusionOk="0">
                  <a:moveTo>
                    <a:pt x="17055" y="0"/>
                  </a:moveTo>
                  <a:cubicBezTo>
                    <a:pt x="16963" y="0"/>
                    <a:pt x="16877" y="16"/>
                    <a:pt x="16785" y="32"/>
                  </a:cubicBezTo>
                  <a:lnTo>
                    <a:pt x="1900" y="7654"/>
                  </a:lnTo>
                  <a:cubicBezTo>
                    <a:pt x="-1013" y="9879"/>
                    <a:pt x="-394" y="21600"/>
                    <a:pt x="2513" y="21600"/>
                  </a:cubicBezTo>
                  <a:cubicBezTo>
                    <a:pt x="2605" y="21600"/>
                    <a:pt x="2697" y="21600"/>
                    <a:pt x="2789" y="21568"/>
                  </a:cubicBezTo>
                  <a:lnTo>
                    <a:pt x="17674" y="13946"/>
                  </a:lnTo>
                  <a:cubicBezTo>
                    <a:pt x="20587" y="11721"/>
                    <a:pt x="19899" y="0"/>
                    <a:pt x="17055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72" name="Google Shape;105;p2"/>
            <p:cNvSpPr/>
            <p:nvPr/>
          </p:nvSpPr>
          <p:spPr>
            <a:xfrm>
              <a:off x="19516774" y="9965635"/>
              <a:ext cx="600926" cy="6061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54" h="21600" extrusionOk="0">
                  <a:moveTo>
                    <a:pt x="9812" y="0"/>
                  </a:moveTo>
                  <a:cubicBezTo>
                    <a:pt x="6921" y="0"/>
                    <a:pt x="4076" y="1449"/>
                    <a:pt x="2194" y="4138"/>
                  </a:cubicBezTo>
                  <a:lnTo>
                    <a:pt x="18234" y="15429"/>
                  </a:lnTo>
                  <a:cubicBezTo>
                    <a:pt x="20398" y="10542"/>
                    <a:pt x="19034" y="4582"/>
                    <a:pt x="14941" y="1660"/>
                  </a:cubicBezTo>
                  <a:cubicBezTo>
                    <a:pt x="13354" y="538"/>
                    <a:pt x="11573" y="0"/>
                    <a:pt x="9812" y="0"/>
                  </a:cubicBezTo>
                  <a:close/>
                  <a:moveTo>
                    <a:pt x="1062" y="6137"/>
                  </a:moveTo>
                  <a:cubicBezTo>
                    <a:pt x="-1202" y="11024"/>
                    <a:pt x="263" y="17021"/>
                    <a:pt x="4422" y="19943"/>
                  </a:cubicBezTo>
                  <a:cubicBezTo>
                    <a:pt x="6007" y="21062"/>
                    <a:pt x="7780" y="21600"/>
                    <a:pt x="9530" y="21600"/>
                  </a:cubicBezTo>
                  <a:cubicBezTo>
                    <a:pt x="12412" y="21600"/>
                    <a:pt x="15240" y="20145"/>
                    <a:pt x="17105" y="17428"/>
                  </a:cubicBezTo>
                  <a:lnTo>
                    <a:pt x="1062" y="6137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73" name="Google Shape;106;p2"/>
            <p:cNvSpPr/>
            <p:nvPr/>
          </p:nvSpPr>
          <p:spPr>
            <a:xfrm>
              <a:off x="20773159" y="8661824"/>
              <a:ext cx="505290" cy="4912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62" h="21600" extrusionOk="0">
                  <a:moveTo>
                    <a:pt x="11768" y="0"/>
                  </a:moveTo>
                  <a:lnTo>
                    <a:pt x="3272" y="6256"/>
                  </a:lnTo>
                  <a:cubicBezTo>
                    <a:pt x="-150" y="8723"/>
                    <a:pt x="-1038" y="13744"/>
                    <a:pt x="1326" y="17446"/>
                  </a:cubicBezTo>
                  <a:lnTo>
                    <a:pt x="1710" y="18082"/>
                  </a:lnTo>
                  <a:cubicBezTo>
                    <a:pt x="3162" y="20369"/>
                    <a:pt x="5523" y="21600"/>
                    <a:pt x="7926" y="21600"/>
                  </a:cubicBezTo>
                  <a:cubicBezTo>
                    <a:pt x="9368" y="21600"/>
                    <a:pt x="10824" y="21155"/>
                    <a:pt x="12109" y="20231"/>
                  </a:cubicBezTo>
                  <a:lnTo>
                    <a:pt x="20562" y="13974"/>
                  </a:lnTo>
                  <a:lnTo>
                    <a:pt x="11768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74" name="Google Shape;107;p2"/>
            <p:cNvSpPr/>
            <p:nvPr/>
          </p:nvSpPr>
          <p:spPr>
            <a:xfrm>
              <a:off x="21107009" y="8457493"/>
              <a:ext cx="504805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82" h="21600" extrusionOk="0">
                  <a:moveTo>
                    <a:pt x="12692" y="0"/>
                  </a:moveTo>
                  <a:cubicBezTo>
                    <a:pt x="11248" y="0"/>
                    <a:pt x="9790" y="452"/>
                    <a:pt x="8513" y="1398"/>
                  </a:cubicBezTo>
                  <a:lnTo>
                    <a:pt x="0" y="7644"/>
                  </a:lnTo>
                  <a:lnTo>
                    <a:pt x="8811" y="21600"/>
                  </a:lnTo>
                  <a:lnTo>
                    <a:pt x="17324" y="15350"/>
                  </a:lnTo>
                  <a:cubicBezTo>
                    <a:pt x="20711" y="12845"/>
                    <a:pt x="21600" y="7828"/>
                    <a:pt x="19316" y="4178"/>
                  </a:cubicBezTo>
                  <a:lnTo>
                    <a:pt x="18889" y="3543"/>
                  </a:lnTo>
                  <a:cubicBezTo>
                    <a:pt x="17438" y="1241"/>
                    <a:pt x="15083" y="0"/>
                    <a:pt x="1269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75" name="Google Shape;108;p2"/>
            <p:cNvSpPr/>
            <p:nvPr/>
          </p:nvSpPr>
          <p:spPr>
            <a:xfrm>
              <a:off x="20595460" y="9677198"/>
              <a:ext cx="930678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0" h="21600" extrusionOk="0">
                  <a:moveTo>
                    <a:pt x="10004" y="0"/>
                  </a:moveTo>
                  <a:cubicBezTo>
                    <a:pt x="9646" y="0"/>
                    <a:pt x="9331" y="273"/>
                    <a:pt x="9289" y="662"/>
                  </a:cubicBezTo>
                  <a:lnTo>
                    <a:pt x="8355" y="7696"/>
                  </a:lnTo>
                  <a:lnTo>
                    <a:pt x="1378" y="6758"/>
                  </a:lnTo>
                  <a:cubicBezTo>
                    <a:pt x="1345" y="6754"/>
                    <a:pt x="1315" y="6752"/>
                    <a:pt x="1285" y="6752"/>
                  </a:cubicBezTo>
                  <a:cubicBezTo>
                    <a:pt x="894" y="6752"/>
                    <a:pt x="582" y="7027"/>
                    <a:pt x="514" y="7407"/>
                  </a:cubicBezTo>
                  <a:lnTo>
                    <a:pt x="10" y="11407"/>
                  </a:lnTo>
                  <a:cubicBezTo>
                    <a:pt x="-60" y="11816"/>
                    <a:pt x="228" y="12200"/>
                    <a:pt x="659" y="12249"/>
                  </a:cubicBezTo>
                  <a:lnTo>
                    <a:pt x="635" y="12249"/>
                  </a:lnTo>
                  <a:lnTo>
                    <a:pt x="7636" y="13189"/>
                  </a:lnTo>
                  <a:lnTo>
                    <a:pt x="6724" y="20222"/>
                  </a:lnTo>
                  <a:cubicBezTo>
                    <a:pt x="6651" y="20633"/>
                    <a:pt x="6939" y="21017"/>
                    <a:pt x="7372" y="21066"/>
                  </a:cubicBezTo>
                  <a:lnTo>
                    <a:pt x="11327" y="21596"/>
                  </a:lnTo>
                  <a:cubicBezTo>
                    <a:pt x="11357" y="21600"/>
                    <a:pt x="11387" y="21600"/>
                    <a:pt x="11416" y="21600"/>
                  </a:cubicBezTo>
                  <a:cubicBezTo>
                    <a:pt x="11790" y="21600"/>
                    <a:pt x="12122" y="21325"/>
                    <a:pt x="12167" y="20944"/>
                  </a:cubicBezTo>
                  <a:lnTo>
                    <a:pt x="13101" y="13912"/>
                  </a:lnTo>
                  <a:lnTo>
                    <a:pt x="20102" y="14826"/>
                  </a:lnTo>
                  <a:cubicBezTo>
                    <a:pt x="20145" y="14834"/>
                    <a:pt x="20185" y="14838"/>
                    <a:pt x="20227" y="14838"/>
                  </a:cubicBezTo>
                  <a:cubicBezTo>
                    <a:pt x="20586" y="14838"/>
                    <a:pt x="20898" y="14565"/>
                    <a:pt x="20942" y="14177"/>
                  </a:cubicBezTo>
                  <a:lnTo>
                    <a:pt x="21470" y="10201"/>
                  </a:lnTo>
                  <a:cubicBezTo>
                    <a:pt x="21540" y="9792"/>
                    <a:pt x="21228" y="9406"/>
                    <a:pt x="20821" y="9357"/>
                  </a:cubicBezTo>
                  <a:lnTo>
                    <a:pt x="13820" y="8419"/>
                  </a:lnTo>
                  <a:lnTo>
                    <a:pt x="14756" y="1386"/>
                  </a:lnTo>
                  <a:cubicBezTo>
                    <a:pt x="14804" y="975"/>
                    <a:pt x="14517" y="591"/>
                    <a:pt x="14108" y="542"/>
                  </a:cubicBezTo>
                  <a:lnTo>
                    <a:pt x="10129" y="12"/>
                  </a:lnTo>
                  <a:cubicBezTo>
                    <a:pt x="10087" y="4"/>
                    <a:pt x="10044" y="0"/>
                    <a:pt x="1000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76" name="Google Shape;109;p2"/>
            <p:cNvSpPr/>
            <p:nvPr/>
          </p:nvSpPr>
          <p:spPr>
            <a:xfrm>
              <a:off x="19402263" y="11086838"/>
              <a:ext cx="933373" cy="11795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05" h="21600" extrusionOk="0">
                  <a:moveTo>
                    <a:pt x="8118" y="695"/>
                  </a:moveTo>
                  <a:cubicBezTo>
                    <a:pt x="8691" y="695"/>
                    <a:pt x="9255" y="971"/>
                    <a:pt x="9369" y="1588"/>
                  </a:cubicBezTo>
                  <a:cubicBezTo>
                    <a:pt x="9416" y="1892"/>
                    <a:pt x="9321" y="2216"/>
                    <a:pt x="9060" y="2464"/>
                  </a:cubicBezTo>
                  <a:lnTo>
                    <a:pt x="7496" y="2690"/>
                  </a:lnTo>
                  <a:cubicBezTo>
                    <a:pt x="7140" y="2539"/>
                    <a:pt x="6903" y="2291"/>
                    <a:pt x="6831" y="1987"/>
                  </a:cubicBezTo>
                  <a:lnTo>
                    <a:pt x="6831" y="1968"/>
                  </a:lnTo>
                  <a:cubicBezTo>
                    <a:pt x="6602" y="1169"/>
                    <a:pt x="7367" y="695"/>
                    <a:pt x="8118" y="695"/>
                  </a:cubicBezTo>
                  <a:close/>
                  <a:moveTo>
                    <a:pt x="15504" y="4387"/>
                  </a:moveTo>
                  <a:cubicBezTo>
                    <a:pt x="16016" y="4387"/>
                    <a:pt x="16470" y="4687"/>
                    <a:pt x="16554" y="5106"/>
                  </a:cubicBezTo>
                  <a:lnTo>
                    <a:pt x="19328" y="17186"/>
                  </a:lnTo>
                  <a:cubicBezTo>
                    <a:pt x="19422" y="17679"/>
                    <a:pt x="19043" y="18117"/>
                    <a:pt x="18426" y="18213"/>
                  </a:cubicBezTo>
                  <a:lnTo>
                    <a:pt x="5955" y="20039"/>
                  </a:lnTo>
                  <a:cubicBezTo>
                    <a:pt x="5893" y="20047"/>
                    <a:pt x="5832" y="20050"/>
                    <a:pt x="5772" y="20050"/>
                  </a:cubicBezTo>
                  <a:cubicBezTo>
                    <a:pt x="5250" y="20050"/>
                    <a:pt x="4782" y="19761"/>
                    <a:pt x="4698" y="19335"/>
                  </a:cubicBezTo>
                  <a:lnTo>
                    <a:pt x="1946" y="7237"/>
                  </a:lnTo>
                  <a:cubicBezTo>
                    <a:pt x="1829" y="6761"/>
                    <a:pt x="2231" y="6306"/>
                    <a:pt x="2824" y="6229"/>
                  </a:cubicBezTo>
                  <a:lnTo>
                    <a:pt x="4318" y="6020"/>
                  </a:lnTo>
                  <a:cubicBezTo>
                    <a:pt x="4382" y="6339"/>
                    <a:pt x="4740" y="6584"/>
                    <a:pt x="5150" y="6584"/>
                  </a:cubicBezTo>
                  <a:cubicBezTo>
                    <a:pt x="5204" y="6584"/>
                    <a:pt x="5260" y="6581"/>
                    <a:pt x="5314" y="6571"/>
                  </a:cubicBezTo>
                  <a:lnTo>
                    <a:pt x="13115" y="5430"/>
                  </a:lnTo>
                  <a:cubicBezTo>
                    <a:pt x="13589" y="5354"/>
                    <a:pt x="13897" y="4993"/>
                    <a:pt x="13804" y="4612"/>
                  </a:cubicBezTo>
                  <a:lnTo>
                    <a:pt x="15297" y="4403"/>
                  </a:lnTo>
                  <a:cubicBezTo>
                    <a:pt x="15367" y="4392"/>
                    <a:pt x="15437" y="4387"/>
                    <a:pt x="15504" y="4387"/>
                  </a:cubicBezTo>
                  <a:close/>
                  <a:moveTo>
                    <a:pt x="8074" y="0"/>
                  </a:moveTo>
                  <a:cubicBezTo>
                    <a:pt x="7947" y="0"/>
                    <a:pt x="7817" y="10"/>
                    <a:pt x="7686" y="29"/>
                  </a:cubicBezTo>
                  <a:cubicBezTo>
                    <a:pt x="6499" y="200"/>
                    <a:pt x="5718" y="1131"/>
                    <a:pt x="5955" y="2082"/>
                  </a:cubicBezTo>
                  <a:cubicBezTo>
                    <a:pt x="6025" y="2368"/>
                    <a:pt x="6168" y="2615"/>
                    <a:pt x="6381" y="2844"/>
                  </a:cubicBezTo>
                  <a:lnTo>
                    <a:pt x="4840" y="3072"/>
                  </a:lnTo>
                  <a:cubicBezTo>
                    <a:pt x="4222" y="3167"/>
                    <a:pt x="3796" y="3662"/>
                    <a:pt x="3916" y="4155"/>
                  </a:cubicBezTo>
                  <a:lnTo>
                    <a:pt x="4009" y="4612"/>
                  </a:lnTo>
                  <a:lnTo>
                    <a:pt x="1448" y="4993"/>
                  </a:lnTo>
                  <a:cubicBezTo>
                    <a:pt x="476" y="5125"/>
                    <a:pt x="-139" y="5868"/>
                    <a:pt x="26" y="6648"/>
                  </a:cubicBezTo>
                  <a:lnTo>
                    <a:pt x="3157" y="20439"/>
                  </a:lnTo>
                  <a:cubicBezTo>
                    <a:pt x="3304" y="21118"/>
                    <a:pt x="4077" y="21600"/>
                    <a:pt x="4917" y="21600"/>
                  </a:cubicBezTo>
                  <a:cubicBezTo>
                    <a:pt x="5017" y="21600"/>
                    <a:pt x="5119" y="21594"/>
                    <a:pt x="5220" y="21579"/>
                  </a:cubicBezTo>
                  <a:lnTo>
                    <a:pt x="19850" y="19430"/>
                  </a:lnTo>
                  <a:cubicBezTo>
                    <a:pt x="20822" y="19298"/>
                    <a:pt x="21461" y="18536"/>
                    <a:pt x="21272" y="17775"/>
                  </a:cubicBezTo>
                  <a:lnTo>
                    <a:pt x="18141" y="3984"/>
                  </a:lnTo>
                  <a:cubicBezTo>
                    <a:pt x="17974" y="3298"/>
                    <a:pt x="17237" y="2817"/>
                    <a:pt x="16399" y="2817"/>
                  </a:cubicBezTo>
                  <a:cubicBezTo>
                    <a:pt x="16285" y="2817"/>
                    <a:pt x="16172" y="2825"/>
                    <a:pt x="16056" y="2844"/>
                  </a:cubicBezTo>
                  <a:lnTo>
                    <a:pt x="13495" y="3224"/>
                  </a:lnTo>
                  <a:lnTo>
                    <a:pt x="13399" y="2767"/>
                  </a:lnTo>
                  <a:cubicBezTo>
                    <a:pt x="13292" y="2318"/>
                    <a:pt x="12796" y="1995"/>
                    <a:pt x="12226" y="1995"/>
                  </a:cubicBezTo>
                  <a:cubicBezTo>
                    <a:pt x="12169" y="1995"/>
                    <a:pt x="12109" y="1999"/>
                    <a:pt x="12049" y="2007"/>
                  </a:cubicBezTo>
                  <a:lnTo>
                    <a:pt x="10151" y="2291"/>
                  </a:lnTo>
                  <a:cubicBezTo>
                    <a:pt x="10271" y="2026"/>
                    <a:pt x="10293" y="1740"/>
                    <a:pt x="10223" y="1454"/>
                  </a:cubicBezTo>
                  <a:cubicBezTo>
                    <a:pt x="10054" y="607"/>
                    <a:pt x="9130" y="0"/>
                    <a:pt x="807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77" name="Google Shape;110;p2"/>
            <p:cNvSpPr/>
            <p:nvPr/>
          </p:nvSpPr>
          <p:spPr>
            <a:xfrm>
              <a:off x="19583829" y="11512252"/>
              <a:ext cx="134627" cy="1347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19" h="21600" extrusionOk="0">
                  <a:moveTo>
                    <a:pt x="8912" y="0"/>
                  </a:moveTo>
                  <a:cubicBezTo>
                    <a:pt x="8412" y="0"/>
                    <a:pt x="7890" y="56"/>
                    <a:pt x="7379" y="154"/>
                  </a:cubicBezTo>
                  <a:cubicBezTo>
                    <a:pt x="-507" y="1819"/>
                    <a:pt x="-2713" y="14144"/>
                    <a:pt x="3918" y="19641"/>
                  </a:cubicBezTo>
                  <a:cubicBezTo>
                    <a:pt x="5521" y="20998"/>
                    <a:pt x="7274" y="21600"/>
                    <a:pt x="8970" y="21600"/>
                  </a:cubicBezTo>
                  <a:cubicBezTo>
                    <a:pt x="14149" y="21600"/>
                    <a:pt x="18887" y="15962"/>
                    <a:pt x="17749" y="8813"/>
                  </a:cubicBezTo>
                  <a:cubicBezTo>
                    <a:pt x="17006" y="3609"/>
                    <a:pt x="13173" y="0"/>
                    <a:pt x="891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78" name="Google Shape;111;p2"/>
            <p:cNvSpPr/>
            <p:nvPr/>
          </p:nvSpPr>
          <p:spPr>
            <a:xfrm>
              <a:off x="19764334" y="11472643"/>
              <a:ext cx="304569" cy="1172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60" h="21600" extrusionOk="0">
                  <a:moveTo>
                    <a:pt x="17221" y="0"/>
                  </a:moveTo>
                  <a:cubicBezTo>
                    <a:pt x="17019" y="0"/>
                    <a:pt x="16806" y="64"/>
                    <a:pt x="16582" y="209"/>
                  </a:cubicBezTo>
                  <a:lnTo>
                    <a:pt x="16515" y="209"/>
                  </a:lnTo>
                  <a:lnTo>
                    <a:pt x="2042" y="7666"/>
                  </a:lnTo>
                  <a:cubicBezTo>
                    <a:pt x="-1040" y="9289"/>
                    <a:pt x="-390" y="21600"/>
                    <a:pt x="2367" y="21600"/>
                  </a:cubicBezTo>
                  <a:cubicBezTo>
                    <a:pt x="2540" y="21600"/>
                    <a:pt x="2720" y="21552"/>
                    <a:pt x="2905" y="21439"/>
                  </a:cubicBezTo>
                  <a:lnTo>
                    <a:pt x="17450" y="13982"/>
                  </a:lnTo>
                  <a:cubicBezTo>
                    <a:pt x="20560" y="12729"/>
                    <a:pt x="20016" y="0"/>
                    <a:pt x="1722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79" name="Google Shape;112;p2"/>
            <p:cNvSpPr/>
            <p:nvPr/>
          </p:nvSpPr>
          <p:spPr>
            <a:xfrm>
              <a:off x="19617894" y="11700268"/>
              <a:ext cx="134849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9" h="21600" extrusionOk="0">
                  <a:moveTo>
                    <a:pt x="8942" y="0"/>
                  </a:moveTo>
                  <a:cubicBezTo>
                    <a:pt x="8442" y="0"/>
                    <a:pt x="7920" y="56"/>
                    <a:pt x="7409" y="154"/>
                  </a:cubicBezTo>
                  <a:cubicBezTo>
                    <a:pt x="-477" y="1817"/>
                    <a:pt x="-2683" y="14134"/>
                    <a:pt x="3809" y="19629"/>
                  </a:cubicBezTo>
                  <a:cubicBezTo>
                    <a:pt x="5446" y="20985"/>
                    <a:pt x="7223" y="21600"/>
                    <a:pt x="8942" y="21600"/>
                  </a:cubicBezTo>
                  <a:cubicBezTo>
                    <a:pt x="14179" y="21600"/>
                    <a:pt x="18917" y="15952"/>
                    <a:pt x="17779" y="8808"/>
                  </a:cubicBezTo>
                  <a:cubicBezTo>
                    <a:pt x="17036" y="3607"/>
                    <a:pt x="13203" y="0"/>
                    <a:pt x="894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80" name="Google Shape;113;p2"/>
            <p:cNvSpPr/>
            <p:nvPr/>
          </p:nvSpPr>
          <p:spPr>
            <a:xfrm>
              <a:off x="19801574" y="11660571"/>
              <a:ext cx="296501" cy="117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8" h="21600" extrusionOk="0">
                  <a:moveTo>
                    <a:pt x="17018" y="0"/>
                  </a:moveTo>
                  <a:cubicBezTo>
                    <a:pt x="16926" y="0"/>
                    <a:pt x="16834" y="0"/>
                    <a:pt x="16742" y="32"/>
                  </a:cubicBezTo>
                  <a:lnTo>
                    <a:pt x="1831" y="7467"/>
                  </a:lnTo>
                  <a:cubicBezTo>
                    <a:pt x="-1048" y="9887"/>
                    <a:pt x="-330" y="21600"/>
                    <a:pt x="2578" y="21600"/>
                  </a:cubicBezTo>
                  <a:cubicBezTo>
                    <a:pt x="2647" y="21600"/>
                    <a:pt x="2716" y="21600"/>
                    <a:pt x="2785" y="21584"/>
                  </a:cubicBezTo>
                  <a:lnTo>
                    <a:pt x="17702" y="13957"/>
                  </a:lnTo>
                  <a:cubicBezTo>
                    <a:pt x="20552" y="11553"/>
                    <a:pt x="19868" y="0"/>
                    <a:pt x="1701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81" name="Google Shape;114;p2"/>
            <p:cNvSpPr/>
            <p:nvPr/>
          </p:nvSpPr>
          <p:spPr>
            <a:xfrm>
              <a:off x="19654826" y="11900761"/>
              <a:ext cx="135068" cy="1357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39" h="21600" extrusionOk="0">
                  <a:moveTo>
                    <a:pt x="8929" y="0"/>
                  </a:moveTo>
                  <a:cubicBezTo>
                    <a:pt x="8443" y="0"/>
                    <a:pt x="7944" y="56"/>
                    <a:pt x="7446" y="153"/>
                  </a:cubicBezTo>
                  <a:cubicBezTo>
                    <a:pt x="-411" y="1805"/>
                    <a:pt x="-2763" y="14034"/>
                    <a:pt x="3865" y="19657"/>
                  </a:cubicBezTo>
                  <a:cubicBezTo>
                    <a:pt x="5464" y="21003"/>
                    <a:pt x="7203" y="21600"/>
                    <a:pt x="8906" y="21600"/>
                  </a:cubicBezTo>
                  <a:cubicBezTo>
                    <a:pt x="14086" y="21600"/>
                    <a:pt x="18837" y="16006"/>
                    <a:pt x="17794" y="8912"/>
                  </a:cubicBezTo>
                  <a:cubicBezTo>
                    <a:pt x="16937" y="3720"/>
                    <a:pt x="13182" y="0"/>
                    <a:pt x="892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82" name="Google Shape;115;p2"/>
            <p:cNvSpPr/>
            <p:nvPr/>
          </p:nvSpPr>
          <p:spPr>
            <a:xfrm>
              <a:off x="19836965" y="11860977"/>
              <a:ext cx="299088" cy="1180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32" h="21600" extrusionOk="0">
                  <a:moveTo>
                    <a:pt x="17059" y="0"/>
                  </a:moveTo>
                  <a:cubicBezTo>
                    <a:pt x="16956" y="0"/>
                    <a:pt x="16842" y="16"/>
                    <a:pt x="16734" y="48"/>
                  </a:cubicBezTo>
                  <a:lnTo>
                    <a:pt x="1943" y="7647"/>
                  </a:lnTo>
                  <a:cubicBezTo>
                    <a:pt x="-1043" y="9643"/>
                    <a:pt x="-359" y="21600"/>
                    <a:pt x="2444" y="21600"/>
                  </a:cubicBezTo>
                  <a:cubicBezTo>
                    <a:pt x="2569" y="21600"/>
                    <a:pt x="2695" y="21568"/>
                    <a:pt x="2826" y="21520"/>
                  </a:cubicBezTo>
                  <a:lnTo>
                    <a:pt x="17617" y="14113"/>
                  </a:lnTo>
                  <a:cubicBezTo>
                    <a:pt x="20557" y="11910"/>
                    <a:pt x="19907" y="0"/>
                    <a:pt x="1705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83" name="Google Shape;116;p2"/>
            <p:cNvSpPr/>
            <p:nvPr/>
          </p:nvSpPr>
          <p:spPr>
            <a:xfrm>
              <a:off x="19516774" y="12735884"/>
              <a:ext cx="602470" cy="60741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14" h="21600" extrusionOk="0">
                  <a:moveTo>
                    <a:pt x="9749" y="0"/>
                  </a:moveTo>
                  <a:cubicBezTo>
                    <a:pt x="6872" y="0"/>
                    <a:pt x="4042" y="1455"/>
                    <a:pt x="2184" y="4173"/>
                  </a:cubicBezTo>
                  <a:lnTo>
                    <a:pt x="18149" y="15441"/>
                  </a:lnTo>
                  <a:cubicBezTo>
                    <a:pt x="20403" y="10564"/>
                    <a:pt x="18978" y="4542"/>
                    <a:pt x="14805" y="1626"/>
                  </a:cubicBezTo>
                  <a:cubicBezTo>
                    <a:pt x="13235" y="527"/>
                    <a:pt x="11483" y="0"/>
                    <a:pt x="9749" y="0"/>
                  </a:cubicBezTo>
                  <a:close/>
                  <a:moveTo>
                    <a:pt x="1057" y="6168"/>
                  </a:moveTo>
                  <a:cubicBezTo>
                    <a:pt x="-1197" y="11045"/>
                    <a:pt x="261" y="17030"/>
                    <a:pt x="4401" y="19946"/>
                  </a:cubicBezTo>
                  <a:cubicBezTo>
                    <a:pt x="5979" y="21063"/>
                    <a:pt x="7743" y="21600"/>
                    <a:pt x="9485" y="21600"/>
                  </a:cubicBezTo>
                  <a:cubicBezTo>
                    <a:pt x="12353" y="21600"/>
                    <a:pt x="15169" y="20148"/>
                    <a:pt x="17025" y="17436"/>
                  </a:cubicBezTo>
                  <a:lnTo>
                    <a:pt x="1057" y="6168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84" name="Google Shape;117;p2"/>
            <p:cNvSpPr/>
            <p:nvPr/>
          </p:nvSpPr>
          <p:spPr>
            <a:xfrm>
              <a:off x="20773897" y="11433207"/>
              <a:ext cx="504551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2" h="21600" extrusionOk="0">
                  <a:moveTo>
                    <a:pt x="11761" y="0"/>
                  </a:moveTo>
                  <a:lnTo>
                    <a:pt x="3248" y="6250"/>
                  </a:lnTo>
                  <a:cubicBezTo>
                    <a:pt x="-139" y="8755"/>
                    <a:pt x="-1028" y="13772"/>
                    <a:pt x="1298" y="17464"/>
                  </a:cubicBezTo>
                  <a:lnTo>
                    <a:pt x="1683" y="18057"/>
                  </a:lnTo>
                  <a:cubicBezTo>
                    <a:pt x="3134" y="20359"/>
                    <a:pt x="5489" y="21600"/>
                    <a:pt x="7890" y="21600"/>
                  </a:cubicBezTo>
                  <a:cubicBezTo>
                    <a:pt x="9342" y="21600"/>
                    <a:pt x="10807" y="21148"/>
                    <a:pt x="12102" y="20202"/>
                  </a:cubicBezTo>
                  <a:lnTo>
                    <a:pt x="20572" y="13956"/>
                  </a:lnTo>
                  <a:lnTo>
                    <a:pt x="11761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85" name="Google Shape;118;p2"/>
            <p:cNvSpPr/>
            <p:nvPr/>
          </p:nvSpPr>
          <p:spPr>
            <a:xfrm>
              <a:off x="21107009" y="11228963"/>
              <a:ext cx="504805" cy="4919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82" h="21600" extrusionOk="0">
                  <a:moveTo>
                    <a:pt x="12692" y="0"/>
                  </a:moveTo>
                  <a:cubicBezTo>
                    <a:pt x="11248" y="0"/>
                    <a:pt x="9790" y="452"/>
                    <a:pt x="8513" y="1398"/>
                  </a:cubicBezTo>
                  <a:lnTo>
                    <a:pt x="0" y="7646"/>
                  </a:lnTo>
                  <a:lnTo>
                    <a:pt x="8811" y="21600"/>
                  </a:lnTo>
                  <a:lnTo>
                    <a:pt x="17324" y="15353"/>
                  </a:lnTo>
                  <a:cubicBezTo>
                    <a:pt x="20711" y="12844"/>
                    <a:pt x="21600" y="7829"/>
                    <a:pt x="19316" y="4179"/>
                  </a:cubicBezTo>
                  <a:lnTo>
                    <a:pt x="18889" y="3543"/>
                  </a:lnTo>
                  <a:cubicBezTo>
                    <a:pt x="17438" y="1241"/>
                    <a:pt x="15083" y="0"/>
                    <a:pt x="1269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86" name="Google Shape;119;p2"/>
            <p:cNvSpPr/>
            <p:nvPr/>
          </p:nvSpPr>
          <p:spPr>
            <a:xfrm>
              <a:off x="20594732" y="12448668"/>
              <a:ext cx="931407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6" h="21600" extrusionOk="0">
                  <a:moveTo>
                    <a:pt x="10021" y="0"/>
                  </a:moveTo>
                  <a:cubicBezTo>
                    <a:pt x="9663" y="0"/>
                    <a:pt x="9348" y="273"/>
                    <a:pt x="9306" y="662"/>
                  </a:cubicBezTo>
                  <a:lnTo>
                    <a:pt x="8372" y="7696"/>
                  </a:lnTo>
                  <a:lnTo>
                    <a:pt x="1371" y="6756"/>
                  </a:lnTo>
                  <a:cubicBezTo>
                    <a:pt x="1340" y="6754"/>
                    <a:pt x="1312" y="6752"/>
                    <a:pt x="1282" y="6752"/>
                  </a:cubicBezTo>
                  <a:cubicBezTo>
                    <a:pt x="909" y="6752"/>
                    <a:pt x="577" y="7027"/>
                    <a:pt x="531" y="7407"/>
                  </a:cubicBezTo>
                  <a:lnTo>
                    <a:pt x="5" y="11405"/>
                  </a:lnTo>
                  <a:cubicBezTo>
                    <a:pt x="-43" y="11816"/>
                    <a:pt x="245" y="12200"/>
                    <a:pt x="652" y="12249"/>
                  </a:cubicBezTo>
                  <a:lnTo>
                    <a:pt x="7653" y="13187"/>
                  </a:lnTo>
                  <a:lnTo>
                    <a:pt x="6741" y="20222"/>
                  </a:lnTo>
                  <a:cubicBezTo>
                    <a:pt x="6668" y="20631"/>
                    <a:pt x="6956" y="21017"/>
                    <a:pt x="7389" y="21066"/>
                  </a:cubicBezTo>
                  <a:lnTo>
                    <a:pt x="11344" y="21596"/>
                  </a:lnTo>
                  <a:cubicBezTo>
                    <a:pt x="11374" y="21598"/>
                    <a:pt x="11404" y="21600"/>
                    <a:pt x="11433" y="21600"/>
                  </a:cubicBezTo>
                  <a:cubicBezTo>
                    <a:pt x="11807" y="21600"/>
                    <a:pt x="12139" y="21325"/>
                    <a:pt x="12184" y="20944"/>
                  </a:cubicBezTo>
                  <a:lnTo>
                    <a:pt x="13118" y="13912"/>
                  </a:lnTo>
                  <a:lnTo>
                    <a:pt x="20119" y="14826"/>
                  </a:lnTo>
                  <a:cubicBezTo>
                    <a:pt x="20160" y="14832"/>
                    <a:pt x="20198" y="14836"/>
                    <a:pt x="20236" y="14836"/>
                  </a:cubicBezTo>
                  <a:cubicBezTo>
                    <a:pt x="20599" y="14836"/>
                    <a:pt x="20915" y="14545"/>
                    <a:pt x="20959" y="14177"/>
                  </a:cubicBezTo>
                  <a:lnTo>
                    <a:pt x="21487" y="10201"/>
                  </a:lnTo>
                  <a:cubicBezTo>
                    <a:pt x="21557" y="9768"/>
                    <a:pt x="21245" y="9406"/>
                    <a:pt x="20838" y="9333"/>
                  </a:cubicBezTo>
                  <a:lnTo>
                    <a:pt x="13837" y="8419"/>
                  </a:lnTo>
                  <a:lnTo>
                    <a:pt x="14773" y="1384"/>
                  </a:lnTo>
                  <a:cubicBezTo>
                    <a:pt x="14821" y="951"/>
                    <a:pt x="14534" y="589"/>
                    <a:pt x="14125" y="518"/>
                  </a:cubicBezTo>
                  <a:lnTo>
                    <a:pt x="10146" y="12"/>
                  </a:lnTo>
                  <a:cubicBezTo>
                    <a:pt x="10104" y="4"/>
                    <a:pt x="10061" y="0"/>
                    <a:pt x="1002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87" name="Google Shape;120;p2"/>
            <p:cNvSpPr/>
            <p:nvPr/>
          </p:nvSpPr>
          <p:spPr>
            <a:xfrm>
              <a:off x="16630825" y="2093"/>
              <a:ext cx="933049" cy="11774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0" h="21600" extrusionOk="0">
                  <a:moveTo>
                    <a:pt x="8122" y="658"/>
                  </a:moveTo>
                  <a:cubicBezTo>
                    <a:pt x="8692" y="658"/>
                    <a:pt x="9253" y="933"/>
                    <a:pt x="9354" y="1552"/>
                  </a:cubicBezTo>
                  <a:cubicBezTo>
                    <a:pt x="9426" y="1876"/>
                    <a:pt x="9330" y="2181"/>
                    <a:pt x="9069" y="2428"/>
                  </a:cubicBezTo>
                  <a:lnTo>
                    <a:pt x="7480" y="2657"/>
                  </a:lnTo>
                  <a:cubicBezTo>
                    <a:pt x="7147" y="2505"/>
                    <a:pt x="6910" y="2237"/>
                    <a:pt x="6838" y="1933"/>
                  </a:cubicBezTo>
                  <a:cubicBezTo>
                    <a:pt x="6609" y="1133"/>
                    <a:pt x="7375" y="658"/>
                    <a:pt x="8122" y="658"/>
                  </a:cubicBezTo>
                  <a:close/>
                  <a:moveTo>
                    <a:pt x="15470" y="4361"/>
                  </a:moveTo>
                  <a:cubicBezTo>
                    <a:pt x="15995" y="4361"/>
                    <a:pt x="16463" y="4651"/>
                    <a:pt x="16571" y="5096"/>
                  </a:cubicBezTo>
                  <a:lnTo>
                    <a:pt x="19348" y="17197"/>
                  </a:lnTo>
                  <a:cubicBezTo>
                    <a:pt x="19442" y="17672"/>
                    <a:pt x="19039" y="18130"/>
                    <a:pt x="18445" y="18207"/>
                  </a:cubicBezTo>
                  <a:lnTo>
                    <a:pt x="5961" y="20036"/>
                  </a:lnTo>
                  <a:cubicBezTo>
                    <a:pt x="5891" y="20048"/>
                    <a:pt x="5822" y="20052"/>
                    <a:pt x="5752" y="20052"/>
                  </a:cubicBezTo>
                  <a:cubicBezTo>
                    <a:pt x="5240" y="20052"/>
                    <a:pt x="4787" y="19751"/>
                    <a:pt x="4703" y="19331"/>
                  </a:cubicBezTo>
                  <a:lnTo>
                    <a:pt x="1950" y="7212"/>
                  </a:lnTo>
                  <a:cubicBezTo>
                    <a:pt x="1831" y="6735"/>
                    <a:pt x="2233" y="6296"/>
                    <a:pt x="2827" y="6202"/>
                  </a:cubicBezTo>
                  <a:lnTo>
                    <a:pt x="4323" y="5992"/>
                  </a:lnTo>
                  <a:cubicBezTo>
                    <a:pt x="4386" y="6327"/>
                    <a:pt x="4741" y="6559"/>
                    <a:pt x="5148" y="6559"/>
                  </a:cubicBezTo>
                  <a:cubicBezTo>
                    <a:pt x="5204" y="6559"/>
                    <a:pt x="5261" y="6554"/>
                    <a:pt x="5319" y="6544"/>
                  </a:cubicBezTo>
                  <a:lnTo>
                    <a:pt x="13128" y="5402"/>
                  </a:lnTo>
                  <a:cubicBezTo>
                    <a:pt x="13581" y="5344"/>
                    <a:pt x="13911" y="4963"/>
                    <a:pt x="13818" y="4601"/>
                  </a:cubicBezTo>
                  <a:lnTo>
                    <a:pt x="15289" y="4372"/>
                  </a:lnTo>
                  <a:cubicBezTo>
                    <a:pt x="15349" y="4364"/>
                    <a:pt x="15411" y="4361"/>
                    <a:pt x="15470" y="4361"/>
                  </a:cubicBezTo>
                  <a:close/>
                  <a:moveTo>
                    <a:pt x="8102" y="0"/>
                  </a:moveTo>
                  <a:cubicBezTo>
                    <a:pt x="7975" y="0"/>
                    <a:pt x="7845" y="8"/>
                    <a:pt x="7718" y="27"/>
                  </a:cubicBezTo>
                  <a:cubicBezTo>
                    <a:pt x="6529" y="198"/>
                    <a:pt x="5748" y="1114"/>
                    <a:pt x="5961" y="2047"/>
                  </a:cubicBezTo>
                  <a:cubicBezTo>
                    <a:pt x="6031" y="2333"/>
                    <a:pt x="6175" y="2601"/>
                    <a:pt x="6388" y="2809"/>
                  </a:cubicBezTo>
                  <a:lnTo>
                    <a:pt x="4845" y="3038"/>
                  </a:lnTo>
                  <a:cubicBezTo>
                    <a:pt x="4205" y="3134"/>
                    <a:pt x="3800" y="3628"/>
                    <a:pt x="3896" y="4144"/>
                  </a:cubicBezTo>
                  <a:lnTo>
                    <a:pt x="4014" y="4582"/>
                  </a:lnTo>
                  <a:lnTo>
                    <a:pt x="1452" y="4963"/>
                  </a:lnTo>
                  <a:cubicBezTo>
                    <a:pt x="501" y="5096"/>
                    <a:pt x="-139" y="5840"/>
                    <a:pt x="26" y="6602"/>
                  </a:cubicBezTo>
                  <a:lnTo>
                    <a:pt x="3160" y="20417"/>
                  </a:lnTo>
                  <a:cubicBezTo>
                    <a:pt x="3330" y="21115"/>
                    <a:pt x="4067" y="21600"/>
                    <a:pt x="4919" y="21600"/>
                  </a:cubicBezTo>
                  <a:cubicBezTo>
                    <a:pt x="5018" y="21600"/>
                    <a:pt x="5122" y="21594"/>
                    <a:pt x="5226" y="21579"/>
                  </a:cubicBezTo>
                  <a:lnTo>
                    <a:pt x="19870" y="19427"/>
                  </a:lnTo>
                  <a:cubicBezTo>
                    <a:pt x="20819" y="19273"/>
                    <a:pt x="21461" y="18530"/>
                    <a:pt x="21294" y="17768"/>
                  </a:cubicBezTo>
                  <a:lnTo>
                    <a:pt x="18162" y="3953"/>
                  </a:lnTo>
                  <a:cubicBezTo>
                    <a:pt x="17994" y="3265"/>
                    <a:pt x="17255" y="2783"/>
                    <a:pt x="16415" y="2783"/>
                  </a:cubicBezTo>
                  <a:cubicBezTo>
                    <a:pt x="16302" y="2783"/>
                    <a:pt x="16188" y="2791"/>
                    <a:pt x="16072" y="2809"/>
                  </a:cubicBezTo>
                  <a:lnTo>
                    <a:pt x="13509" y="3191"/>
                  </a:lnTo>
                  <a:lnTo>
                    <a:pt x="13413" y="2753"/>
                  </a:lnTo>
                  <a:cubicBezTo>
                    <a:pt x="13307" y="2295"/>
                    <a:pt x="12811" y="1975"/>
                    <a:pt x="12269" y="1975"/>
                  </a:cubicBezTo>
                  <a:cubicBezTo>
                    <a:pt x="12199" y="1975"/>
                    <a:pt x="12129" y="1980"/>
                    <a:pt x="12061" y="1991"/>
                  </a:cubicBezTo>
                  <a:lnTo>
                    <a:pt x="10162" y="2257"/>
                  </a:lnTo>
                  <a:cubicBezTo>
                    <a:pt x="10281" y="1991"/>
                    <a:pt x="10281" y="1705"/>
                    <a:pt x="10233" y="1437"/>
                  </a:cubicBezTo>
                  <a:cubicBezTo>
                    <a:pt x="10044" y="591"/>
                    <a:pt x="9121" y="0"/>
                    <a:pt x="810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88" name="Google Shape;121;p2"/>
            <p:cNvSpPr/>
            <p:nvPr/>
          </p:nvSpPr>
          <p:spPr>
            <a:xfrm>
              <a:off x="16812136" y="425151"/>
              <a:ext cx="134866" cy="1348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2" h="21600" extrusionOk="0">
                  <a:moveTo>
                    <a:pt x="9099" y="0"/>
                  </a:moveTo>
                  <a:cubicBezTo>
                    <a:pt x="8542" y="0"/>
                    <a:pt x="7973" y="56"/>
                    <a:pt x="7404" y="196"/>
                  </a:cubicBezTo>
                  <a:cubicBezTo>
                    <a:pt x="-477" y="1858"/>
                    <a:pt x="-2682" y="14167"/>
                    <a:pt x="3806" y="19658"/>
                  </a:cubicBezTo>
                  <a:cubicBezTo>
                    <a:pt x="5431" y="20999"/>
                    <a:pt x="7184" y="21600"/>
                    <a:pt x="8878" y="21600"/>
                  </a:cubicBezTo>
                  <a:cubicBezTo>
                    <a:pt x="14148" y="21600"/>
                    <a:pt x="18918" y="15886"/>
                    <a:pt x="17769" y="8844"/>
                  </a:cubicBezTo>
                  <a:cubicBezTo>
                    <a:pt x="17038" y="3702"/>
                    <a:pt x="13289" y="0"/>
                    <a:pt x="909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89" name="Google Shape;122;p2"/>
            <p:cNvSpPr/>
            <p:nvPr/>
          </p:nvSpPr>
          <p:spPr>
            <a:xfrm>
              <a:off x="16992356" y="385803"/>
              <a:ext cx="304121" cy="1180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72" h="21600" extrusionOk="0">
                  <a:moveTo>
                    <a:pt x="17279" y="0"/>
                  </a:moveTo>
                  <a:cubicBezTo>
                    <a:pt x="17082" y="0"/>
                    <a:pt x="16874" y="64"/>
                    <a:pt x="16650" y="208"/>
                  </a:cubicBezTo>
                  <a:lnTo>
                    <a:pt x="16583" y="208"/>
                  </a:lnTo>
                  <a:lnTo>
                    <a:pt x="2012" y="7807"/>
                  </a:lnTo>
                  <a:cubicBezTo>
                    <a:pt x="-1031" y="9243"/>
                    <a:pt x="-408" y="21600"/>
                    <a:pt x="2450" y="21600"/>
                  </a:cubicBezTo>
                  <a:cubicBezTo>
                    <a:pt x="2607" y="21600"/>
                    <a:pt x="2776" y="21568"/>
                    <a:pt x="2950" y="21488"/>
                  </a:cubicBezTo>
                  <a:lnTo>
                    <a:pt x="17453" y="13889"/>
                  </a:lnTo>
                  <a:cubicBezTo>
                    <a:pt x="20569" y="12644"/>
                    <a:pt x="20024" y="0"/>
                    <a:pt x="1727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90" name="Google Shape;123;p2"/>
            <p:cNvSpPr/>
            <p:nvPr/>
          </p:nvSpPr>
          <p:spPr>
            <a:xfrm>
              <a:off x="16846424" y="613429"/>
              <a:ext cx="134653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10" h="21600" extrusionOk="0">
                  <a:moveTo>
                    <a:pt x="8984" y="0"/>
                  </a:moveTo>
                  <a:cubicBezTo>
                    <a:pt x="8482" y="0"/>
                    <a:pt x="7957" y="42"/>
                    <a:pt x="7444" y="154"/>
                  </a:cubicBezTo>
                  <a:cubicBezTo>
                    <a:pt x="-480" y="1819"/>
                    <a:pt x="-2697" y="14144"/>
                    <a:pt x="3826" y="19641"/>
                  </a:cubicBezTo>
                  <a:cubicBezTo>
                    <a:pt x="5472" y="20998"/>
                    <a:pt x="7245" y="21600"/>
                    <a:pt x="8961" y="21600"/>
                  </a:cubicBezTo>
                  <a:cubicBezTo>
                    <a:pt x="14200" y="21600"/>
                    <a:pt x="18903" y="15962"/>
                    <a:pt x="17864" y="8813"/>
                  </a:cubicBezTo>
                  <a:cubicBezTo>
                    <a:pt x="17118" y="3609"/>
                    <a:pt x="13267" y="0"/>
                    <a:pt x="898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91" name="Google Shape;124;p2"/>
            <p:cNvSpPr/>
            <p:nvPr/>
          </p:nvSpPr>
          <p:spPr>
            <a:xfrm>
              <a:off x="17030024" y="573732"/>
              <a:ext cx="295964" cy="117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34" h="21600" extrusionOk="0">
                  <a:moveTo>
                    <a:pt x="16991" y="0"/>
                  </a:moveTo>
                  <a:cubicBezTo>
                    <a:pt x="16927" y="0"/>
                    <a:pt x="16858" y="16"/>
                    <a:pt x="16783" y="32"/>
                  </a:cubicBezTo>
                  <a:lnTo>
                    <a:pt x="1840" y="7659"/>
                  </a:lnTo>
                  <a:cubicBezTo>
                    <a:pt x="-1045" y="9903"/>
                    <a:pt x="-325" y="21600"/>
                    <a:pt x="2525" y="21600"/>
                  </a:cubicBezTo>
                  <a:cubicBezTo>
                    <a:pt x="2594" y="21600"/>
                    <a:pt x="2663" y="21600"/>
                    <a:pt x="2733" y="21584"/>
                  </a:cubicBezTo>
                  <a:lnTo>
                    <a:pt x="17676" y="13957"/>
                  </a:lnTo>
                  <a:cubicBezTo>
                    <a:pt x="20555" y="11713"/>
                    <a:pt x="19904" y="0"/>
                    <a:pt x="1699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92" name="Google Shape;125;p2"/>
            <p:cNvSpPr/>
            <p:nvPr/>
          </p:nvSpPr>
          <p:spPr>
            <a:xfrm>
              <a:off x="16883054" y="813921"/>
              <a:ext cx="135365" cy="1356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79" h="21600" extrusionOk="0">
                  <a:moveTo>
                    <a:pt x="9028" y="0"/>
                  </a:moveTo>
                  <a:cubicBezTo>
                    <a:pt x="8518" y="0"/>
                    <a:pt x="8008" y="42"/>
                    <a:pt x="7487" y="153"/>
                  </a:cubicBezTo>
                  <a:cubicBezTo>
                    <a:pt x="-509" y="1806"/>
                    <a:pt x="-2722" y="14043"/>
                    <a:pt x="3906" y="19669"/>
                  </a:cubicBezTo>
                  <a:cubicBezTo>
                    <a:pt x="5494" y="21003"/>
                    <a:pt x="7209" y="21600"/>
                    <a:pt x="8889" y="21600"/>
                  </a:cubicBezTo>
                  <a:cubicBezTo>
                    <a:pt x="14092" y="21600"/>
                    <a:pt x="18878" y="15919"/>
                    <a:pt x="17835" y="8918"/>
                  </a:cubicBezTo>
                  <a:cubicBezTo>
                    <a:pt x="16978" y="3598"/>
                    <a:pt x="13246" y="0"/>
                    <a:pt x="902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93" name="Google Shape;126;p2"/>
            <p:cNvSpPr/>
            <p:nvPr/>
          </p:nvSpPr>
          <p:spPr>
            <a:xfrm>
              <a:off x="17065135" y="774050"/>
              <a:ext cx="299400" cy="1190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7" h="21600" extrusionOk="0">
                  <a:moveTo>
                    <a:pt x="16997" y="0"/>
                  </a:moveTo>
                  <a:cubicBezTo>
                    <a:pt x="16889" y="0"/>
                    <a:pt x="16781" y="16"/>
                    <a:pt x="16667" y="63"/>
                  </a:cubicBezTo>
                  <a:lnTo>
                    <a:pt x="1963" y="7601"/>
                  </a:lnTo>
                  <a:cubicBezTo>
                    <a:pt x="-1041" y="9596"/>
                    <a:pt x="-392" y="21600"/>
                    <a:pt x="2515" y="21600"/>
                  </a:cubicBezTo>
                  <a:cubicBezTo>
                    <a:pt x="2623" y="21600"/>
                    <a:pt x="2732" y="21584"/>
                    <a:pt x="2845" y="21552"/>
                  </a:cubicBezTo>
                  <a:lnTo>
                    <a:pt x="17617" y="14015"/>
                  </a:lnTo>
                  <a:cubicBezTo>
                    <a:pt x="20559" y="12004"/>
                    <a:pt x="19905" y="0"/>
                    <a:pt x="1699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94" name="Google Shape;127;p2"/>
            <p:cNvSpPr/>
            <p:nvPr/>
          </p:nvSpPr>
          <p:spPr>
            <a:xfrm>
              <a:off x="16744622" y="1649742"/>
              <a:ext cx="602929" cy="6076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199" h="21600" extrusionOk="0">
                  <a:moveTo>
                    <a:pt x="9718" y="0"/>
                  </a:moveTo>
                  <a:cubicBezTo>
                    <a:pt x="6862" y="0"/>
                    <a:pt x="4053" y="1439"/>
                    <a:pt x="2203" y="4146"/>
                  </a:cubicBezTo>
                  <a:lnTo>
                    <a:pt x="18146" y="15407"/>
                  </a:lnTo>
                  <a:cubicBezTo>
                    <a:pt x="20394" y="10535"/>
                    <a:pt x="18938" y="4553"/>
                    <a:pt x="14771" y="1634"/>
                  </a:cubicBezTo>
                  <a:cubicBezTo>
                    <a:pt x="13207" y="533"/>
                    <a:pt x="11454" y="0"/>
                    <a:pt x="9718" y="0"/>
                  </a:cubicBezTo>
                  <a:close/>
                  <a:moveTo>
                    <a:pt x="1078" y="6178"/>
                  </a:moveTo>
                  <a:cubicBezTo>
                    <a:pt x="-1206" y="11016"/>
                    <a:pt x="250" y="17032"/>
                    <a:pt x="4417" y="19950"/>
                  </a:cubicBezTo>
                  <a:cubicBezTo>
                    <a:pt x="5978" y="21063"/>
                    <a:pt x="7731" y="21600"/>
                    <a:pt x="9468" y="21600"/>
                  </a:cubicBezTo>
                  <a:cubicBezTo>
                    <a:pt x="12337" y="21600"/>
                    <a:pt x="15166" y="20139"/>
                    <a:pt x="17021" y="17401"/>
                  </a:cubicBezTo>
                  <a:lnTo>
                    <a:pt x="1078" y="6178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95" name="Google Shape;128;p2"/>
            <p:cNvSpPr/>
            <p:nvPr/>
          </p:nvSpPr>
          <p:spPr>
            <a:xfrm>
              <a:off x="18001457" y="346368"/>
              <a:ext cx="505521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820" y="0"/>
                  </a:moveTo>
                  <a:lnTo>
                    <a:pt x="3281" y="6246"/>
                  </a:lnTo>
                  <a:cubicBezTo>
                    <a:pt x="-141" y="8755"/>
                    <a:pt x="-1029" y="13772"/>
                    <a:pt x="1296" y="17464"/>
                  </a:cubicBezTo>
                  <a:lnTo>
                    <a:pt x="1676" y="18057"/>
                  </a:lnTo>
                  <a:cubicBezTo>
                    <a:pt x="3125" y="20359"/>
                    <a:pt x="5475" y="21600"/>
                    <a:pt x="7872" y="21600"/>
                  </a:cubicBezTo>
                  <a:cubicBezTo>
                    <a:pt x="9320" y="21600"/>
                    <a:pt x="10783" y="21144"/>
                    <a:pt x="12075" y="20202"/>
                  </a:cubicBezTo>
                  <a:lnTo>
                    <a:pt x="20571" y="13956"/>
                  </a:lnTo>
                  <a:lnTo>
                    <a:pt x="11820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96" name="Google Shape;129;p2"/>
            <p:cNvSpPr/>
            <p:nvPr/>
          </p:nvSpPr>
          <p:spPr>
            <a:xfrm>
              <a:off x="18334580" y="143171"/>
              <a:ext cx="505572" cy="4909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3" h="21600" extrusionOk="0">
                  <a:moveTo>
                    <a:pt x="12696" y="0"/>
                  </a:moveTo>
                  <a:cubicBezTo>
                    <a:pt x="11247" y="0"/>
                    <a:pt x="9785" y="453"/>
                    <a:pt x="8496" y="1401"/>
                  </a:cubicBezTo>
                  <a:lnTo>
                    <a:pt x="0" y="7616"/>
                  </a:lnTo>
                  <a:lnTo>
                    <a:pt x="8833" y="21600"/>
                  </a:lnTo>
                  <a:lnTo>
                    <a:pt x="17329" y="15385"/>
                  </a:lnTo>
                  <a:cubicBezTo>
                    <a:pt x="20712" y="12871"/>
                    <a:pt x="21600" y="7842"/>
                    <a:pt x="19275" y="4142"/>
                  </a:cubicBezTo>
                  <a:lnTo>
                    <a:pt x="18895" y="3547"/>
                  </a:lnTo>
                  <a:cubicBezTo>
                    <a:pt x="17443" y="1240"/>
                    <a:pt x="15092" y="0"/>
                    <a:pt x="1269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97" name="Google Shape;130;p2"/>
            <p:cNvSpPr/>
            <p:nvPr/>
          </p:nvSpPr>
          <p:spPr>
            <a:xfrm>
              <a:off x="17824053" y="1362876"/>
              <a:ext cx="930396" cy="9303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7" h="21600" extrusionOk="0">
                  <a:moveTo>
                    <a:pt x="10014" y="0"/>
                  </a:moveTo>
                  <a:cubicBezTo>
                    <a:pt x="9655" y="0"/>
                    <a:pt x="9343" y="273"/>
                    <a:pt x="9299" y="662"/>
                  </a:cubicBezTo>
                  <a:lnTo>
                    <a:pt x="8363" y="7705"/>
                  </a:lnTo>
                  <a:lnTo>
                    <a:pt x="1354" y="6763"/>
                  </a:lnTo>
                  <a:cubicBezTo>
                    <a:pt x="1324" y="6759"/>
                    <a:pt x="1296" y="6759"/>
                    <a:pt x="1265" y="6759"/>
                  </a:cubicBezTo>
                  <a:cubicBezTo>
                    <a:pt x="893" y="6759"/>
                    <a:pt x="560" y="7035"/>
                    <a:pt x="516" y="7415"/>
                  </a:cubicBezTo>
                  <a:lnTo>
                    <a:pt x="12" y="11393"/>
                  </a:lnTo>
                  <a:cubicBezTo>
                    <a:pt x="-61" y="11805"/>
                    <a:pt x="227" y="12189"/>
                    <a:pt x="634" y="12238"/>
                  </a:cubicBezTo>
                  <a:lnTo>
                    <a:pt x="7644" y="13178"/>
                  </a:lnTo>
                  <a:lnTo>
                    <a:pt x="6730" y="20221"/>
                  </a:lnTo>
                  <a:cubicBezTo>
                    <a:pt x="6660" y="20630"/>
                    <a:pt x="6946" y="21017"/>
                    <a:pt x="7380" y="21065"/>
                  </a:cubicBezTo>
                  <a:lnTo>
                    <a:pt x="11339" y="21596"/>
                  </a:lnTo>
                  <a:cubicBezTo>
                    <a:pt x="11369" y="21598"/>
                    <a:pt x="11399" y="21600"/>
                    <a:pt x="11427" y="21600"/>
                  </a:cubicBezTo>
                  <a:cubicBezTo>
                    <a:pt x="11802" y="21600"/>
                    <a:pt x="12135" y="21325"/>
                    <a:pt x="12179" y="20944"/>
                  </a:cubicBezTo>
                  <a:lnTo>
                    <a:pt x="13115" y="13901"/>
                  </a:lnTo>
                  <a:lnTo>
                    <a:pt x="20124" y="14843"/>
                  </a:lnTo>
                  <a:cubicBezTo>
                    <a:pt x="20154" y="14847"/>
                    <a:pt x="20184" y="14847"/>
                    <a:pt x="20213" y="14847"/>
                  </a:cubicBezTo>
                  <a:cubicBezTo>
                    <a:pt x="20585" y="14847"/>
                    <a:pt x="20920" y="14571"/>
                    <a:pt x="20964" y="14191"/>
                  </a:cubicBezTo>
                  <a:lnTo>
                    <a:pt x="21493" y="10188"/>
                  </a:lnTo>
                  <a:cubicBezTo>
                    <a:pt x="21539" y="9777"/>
                    <a:pt x="21253" y="9392"/>
                    <a:pt x="20844" y="9344"/>
                  </a:cubicBezTo>
                  <a:lnTo>
                    <a:pt x="13836" y="8404"/>
                  </a:lnTo>
                  <a:lnTo>
                    <a:pt x="14748" y="1361"/>
                  </a:lnTo>
                  <a:cubicBezTo>
                    <a:pt x="14820" y="952"/>
                    <a:pt x="14532" y="565"/>
                    <a:pt x="14100" y="517"/>
                  </a:cubicBezTo>
                  <a:lnTo>
                    <a:pt x="10139" y="10"/>
                  </a:lnTo>
                  <a:cubicBezTo>
                    <a:pt x="10097" y="4"/>
                    <a:pt x="10055" y="0"/>
                    <a:pt x="1001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98" name="Google Shape;131;p2"/>
            <p:cNvSpPr/>
            <p:nvPr/>
          </p:nvSpPr>
          <p:spPr>
            <a:xfrm>
              <a:off x="16630512" y="2773476"/>
              <a:ext cx="932630" cy="11786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87" h="21600" extrusionOk="0">
                  <a:moveTo>
                    <a:pt x="8112" y="662"/>
                  </a:moveTo>
                  <a:cubicBezTo>
                    <a:pt x="8684" y="662"/>
                    <a:pt x="9249" y="942"/>
                    <a:pt x="9351" y="1570"/>
                  </a:cubicBezTo>
                  <a:cubicBezTo>
                    <a:pt x="9422" y="1876"/>
                    <a:pt x="9327" y="2199"/>
                    <a:pt x="9066" y="2427"/>
                  </a:cubicBezTo>
                  <a:lnTo>
                    <a:pt x="7479" y="2675"/>
                  </a:lnTo>
                  <a:cubicBezTo>
                    <a:pt x="7146" y="2523"/>
                    <a:pt x="6909" y="2256"/>
                    <a:pt x="6838" y="1933"/>
                  </a:cubicBezTo>
                  <a:cubicBezTo>
                    <a:pt x="6611" y="1135"/>
                    <a:pt x="7367" y="662"/>
                    <a:pt x="8112" y="662"/>
                  </a:cubicBezTo>
                  <a:close/>
                  <a:moveTo>
                    <a:pt x="15510" y="4371"/>
                  </a:moveTo>
                  <a:cubicBezTo>
                    <a:pt x="16024" y="4371"/>
                    <a:pt x="16478" y="4674"/>
                    <a:pt x="16583" y="5093"/>
                  </a:cubicBezTo>
                  <a:lnTo>
                    <a:pt x="19333" y="17182"/>
                  </a:lnTo>
                  <a:cubicBezTo>
                    <a:pt x="19427" y="17657"/>
                    <a:pt x="19025" y="18114"/>
                    <a:pt x="18431" y="18191"/>
                  </a:cubicBezTo>
                  <a:lnTo>
                    <a:pt x="5961" y="20019"/>
                  </a:lnTo>
                  <a:cubicBezTo>
                    <a:pt x="5892" y="20030"/>
                    <a:pt x="5822" y="20035"/>
                    <a:pt x="5752" y="20035"/>
                  </a:cubicBezTo>
                  <a:cubicBezTo>
                    <a:pt x="5241" y="20035"/>
                    <a:pt x="4788" y="19734"/>
                    <a:pt x="4705" y="19314"/>
                  </a:cubicBezTo>
                  <a:lnTo>
                    <a:pt x="1955" y="7226"/>
                  </a:lnTo>
                  <a:cubicBezTo>
                    <a:pt x="1859" y="6749"/>
                    <a:pt x="2238" y="6292"/>
                    <a:pt x="2855" y="6217"/>
                  </a:cubicBezTo>
                  <a:lnTo>
                    <a:pt x="4325" y="5988"/>
                  </a:lnTo>
                  <a:cubicBezTo>
                    <a:pt x="4410" y="6332"/>
                    <a:pt x="4786" y="6567"/>
                    <a:pt x="5209" y="6567"/>
                  </a:cubicBezTo>
                  <a:cubicBezTo>
                    <a:pt x="5252" y="6567"/>
                    <a:pt x="5298" y="6564"/>
                    <a:pt x="5344" y="6559"/>
                  </a:cubicBezTo>
                  <a:lnTo>
                    <a:pt x="13120" y="5416"/>
                  </a:lnTo>
                  <a:cubicBezTo>
                    <a:pt x="13596" y="5340"/>
                    <a:pt x="13903" y="4979"/>
                    <a:pt x="13833" y="4597"/>
                  </a:cubicBezTo>
                  <a:lnTo>
                    <a:pt x="15303" y="4389"/>
                  </a:lnTo>
                  <a:cubicBezTo>
                    <a:pt x="15372" y="4376"/>
                    <a:pt x="15442" y="4371"/>
                    <a:pt x="15510" y="4371"/>
                  </a:cubicBezTo>
                  <a:close/>
                  <a:moveTo>
                    <a:pt x="8100" y="0"/>
                  </a:moveTo>
                  <a:cubicBezTo>
                    <a:pt x="7973" y="0"/>
                    <a:pt x="7843" y="10"/>
                    <a:pt x="7716" y="29"/>
                  </a:cubicBezTo>
                  <a:cubicBezTo>
                    <a:pt x="6529" y="200"/>
                    <a:pt x="5748" y="1114"/>
                    <a:pt x="5961" y="2066"/>
                  </a:cubicBezTo>
                  <a:cubicBezTo>
                    <a:pt x="6031" y="2333"/>
                    <a:pt x="6174" y="2598"/>
                    <a:pt x="6388" y="2827"/>
                  </a:cubicBezTo>
                  <a:lnTo>
                    <a:pt x="4846" y="3056"/>
                  </a:lnTo>
                  <a:cubicBezTo>
                    <a:pt x="4207" y="3151"/>
                    <a:pt x="3803" y="3646"/>
                    <a:pt x="3898" y="4160"/>
                  </a:cubicBezTo>
                  <a:lnTo>
                    <a:pt x="4016" y="4597"/>
                  </a:lnTo>
                  <a:lnTo>
                    <a:pt x="1457" y="4979"/>
                  </a:lnTo>
                  <a:cubicBezTo>
                    <a:pt x="483" y="5112"/>
                    <a:pt x="-156" y="5854"/>
                    <a:pt x="33" y="6634"/>
                  </a:cubicBezTo>
                  <a:lnTo>
                    <a:pt x="3164" y="20418"/>
                  </a:lnTo>
                  <a:cubicBezTo>
                    <a:pt x="3311" y="21116"/>
                    <a:pt x="4066" y="21600"/>
                    <a:pt x="4918" y="21600"/>
                  </a:cubicBezTo>
                  <a:cubicBezTo>
                    <a:pt x="5019" y="21600"/>
                    <a:pt x="5123" y="21594"/>
                    <a:pt x="5227" y="21579"/>
                  </a:cubicBezTo>
                  <a:lnTo>
                    <a:pt x="19831" y="19427"/>
                  </a:lnTo>
                  <a:cubicBezTo>
                    <a:pt x="20803" y="19294"/>
                    <a:pt x="21444" y="18552"/>
                    <a:pt x="21253" y="17772"/>
                  </a:cubicBezTo>
                  <a:lnTo>
                    <a:pt x="18124" y="3970"/>
                  </a:lnTo>
                  <a:cubicBezTo>
                    <a:pt x="17957" y="3281"/>
                    <a:pt x="17218" y="2800"/>
                    <a:pt x="16396" y="2800"/>
                  </a:cubicBezTo>
                  <a:cubicBezTo>
                    <a:pt x="16284" y="2800"/>
                    <a:pt x="16173" y="2809"/>
                    <a:pt x="16061" y="2827"/>
                  </a:cubicBezTo>
                  <a:lnTo>
                    <a:pt x="13501" y="3188"/>
                  </a:lnTo>
                  <a:lnTo>
                    <a:pt x="13405" y="2752"/>
                  </a:lnTo>
                  <a:cubicBezTo>
                    <a:pt x="13299" y="2288"/>
                    <a:pt x="12786" y="1978"/>
                    <a:pt x="12234" y="1978"/>
                  </a:cubicBezTo>
                  <a:cubicBezTo>
                    <a:pt x="12174" y="1978"/>
                    <a:pt x="12115" y="1983"/>
                    <a:pt x="12055" y="1989"/>
                  </a:cubicBezTo>
                  <a:lnTo>
                    <a:pt x="10157" y="2275"/>
                  </a:lnTo>
                  <a:cubicBezTo>
                    <a:pt x="10277" y="1989"/>
                    <a:pt x="10277" y="1704"/>
                    <a:pt x="10229" y="1437"/>
                  </a:cubicBezTo>
                  <a:cubicBezTo>
                    <a:pt x="10040" y="592"/>
                    <a:pt x="9118" y="0"/>
                    <a:pt x="810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899" name="Google Shape;132;p2"/>
            <p:cNvSpPr/>
            <p:nvPr/>
          </p:nvSpPr>
          <p:spPr>
            <a:xfrm>
              <a:off x="16812136" y="3196883"/>
              <a:ext cx="134852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9" h="21600" extrusionOk="0">
                  <a:moveTo>
                    <a:pt x="8953" y="0"/>
                  </a:moveTo>
                  <a:cubicBezTo>
                    <a:pt x="8442" y="0"/>
                    <a:pt x="7920" y="42"/>
                    <a:pt x="7409" y="154"/>
                  </a:cubicBezTo>
                  <a:cubicBezTo>
                    <a:pt x="-477" y="1819"/>
                    <a:pt x="-2683" y="14144"/>
                    <a:pt x="3809" y="19641"/>
                  </a:cubicBezTo>
                  <a:cubicBezTo>
                    <a:pt x="5446" y="20998"/>
                    <a:pt x="7223" y="21600"/>
                    <a:pt x="8942" y="21600"/>
                  </a:cubicBezTo>
                  <a:cubicBezTo>
                    <a:pt x="14191" y="21600"/>
                    <a:pt x="18917" y="15962"/>
                    <a:pt x="17779" y="8813"/>
                  </a:cubicBezTo>
                  <a:cubicBezTo>
                    <a:pt x="17036" y="3609"/>
                    <a:pt x="13203" y="0"/>
                    <a:pt x="895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00" name="Google Shape;133;p2"/>
            <p:cNvSpPr/>
            <p:nvPr/>
          </p:nvSpPr>
          <p:spPr>
            <a:xfrm>
              <a:off x="16991093" y="3157099"/>
              <a:ext cx="306936" cy="1187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80" h="21600" extrusionOk="0">
                  <a:moveTo>
                    <a:pt x="17263" y="0"/>
                  </a:moveTo>
                  <a:cubicBezTo>
                    <a:pt x="17052" y="0"/>
                    <a:pt x="16824" y="63"/>
                    <a:pt x="16584" y="222"/>
                  </a:cubicBezTo>
                  <a:lnTo>
                    <a:pt x="16518" y="222"/>
                  </a:lnTo>
                  <a:lnTo>
                    <a:pt x="2075" y="7793"/>
                  </a:lnTo>
                  <a:cubicBezTo>
                    <a:pt x="-1014" y="9015"/>
                    <a:pt x="-418" y="21600"/>
                    <a:pt x="2314" y="21600"/>
                  </a:cubicBezTo>
                  <a:cubicBezTo>
                    <a:pt x="2509" y="21600"/>
                    <a:pt x="2715" y="21537"/>
                    <a:pt x="2938" y="21394"/>
                  </a:cubicBezTo>
                  <a:lnTo>
                    <a:pt x="17380" y="13839"/>
                  </a:lnTo>
                  <a:cubicBezTo>
                    <a:pt x="20586" y="12950"/>
                    <a:pt x="20063" y="0"/>
                    <a:pt x="1726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01" name="Google Shape;134;p2"/>
            <p:cNvSpPr/>
            <p:nvPr/>
          </p:nvSpPr>
          <p:spPr>
            <a:xfrm>
              <a:off x="16846424" y="3384899"/>
              <a:ext cx="134655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10" h="21600" extrusionOk="0">
                  <a:moveTo>
                    <a:pt x="8984" y="0"/>
                  </a:moveTo>
                  <a:cubicBezTo>
                    <a:pt x="8471" y="0"/>
                    <a:pt x="7957" y="42"/>
                    <a:pt x="7444" y="154"/>
                  </a:cubicBezTo>
                  <a:cubicBezTo>
                    <a:pt x="-480" y="1819"/>
                    <a:pt x="-2697" y="14144"/>
                    <a:pt x="3826" y="19641"/>
                  </a:cubicBezTo>
                  <a:cubicBezTo>
                    <a:pt x="5483" y="20998"/>
                    <a:pt x="7257" y="21600"/>
                    <a:pt x="8972" y="21600"/>
                  </a:cubicBezTo>
                  <a:cubicBezTo>
                    <a:pt x="14212" y="21600"/>
                    <a:pt x="18903" y="16004"/>
                    <a:pt x="17864" y="8981"/>
                  </a:cubicBezTo>
                  <a:cubicBezTo>
                    <a:pt x="17118" y="3623"/>
                    <a:pt x="13267" y="0"/>
                    <a:pt x="898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02" name="Google Shape;135;p2"/>
            <p:cNvSpPr/>
            <p:nvPr/>
          </p:nvSpPr>
          <p:spPr>
            <a:xfrm>
              <a:off x="17030058" y="3345202"/>
              <a:ext cx="295931" cy="1176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3" h="21600" extrusionOk="0">
                  <a:moveTo>
                    <a:pt x="17007" y="0"/>
                  </a:moveTo>
                  <a:cubicBezTo>
                    <a:pt x="16943" y="0"/>
                    <a:pt x="16874" y="16"/>
                    <a:pt x="16799" y="32"/>
                  </a:cubicBezTo>
                  <a:lnTo>
                    <a:pt x="1840" y="7654"/>
                  </a:lnTo>
                  <a:cubicBezTo>
                    <a:pt x="-1025" y="10055"/>
                    <a:pt x="-333" y="21600"/>
                    <a:pt x="2463" y="21600"/>
                  </a:cubicBezTo>
                  <a:cubicBezTo>
                    <a:pt x="2549" y="21600"/>
                    <a:pt x="2641" y="21584"/>
                    <a:pt x="2734" y="21568"/>
                  </a:cubicBezTo>
                  <a:lnTo>
                    <a:pt x="17693" y="14138"/>
                  </a:lnTo>
                  <a:cubicBezTo>
                    <a:pt x="20575" y="11705"/>
                    <a:pt x="19924" y="0"/>
                    <a:pt x="1700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03" name="Google Shape;136;p2"/>
            <p:cNvSpPr/>
            <p:nvPr/>
          </p:nvSpPr>
          <p:spPr>
            <a:xfrm>
              <a:off x="16883054" y="3586351"/>
              <a:ext cx="135371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0" h="21600" extrusionOk="0">
                  <a:moveTo>
                    <a:pt x="9028" y="0"/>
                  </a:moveTo>
                  <a:cubicBezTo>
                    <a:pt x="8518" y="0"/>
                    <a:pt x="8008" y="56"/>
                    <a:pt x="7487" y="168"/>
                  </a:cubicBezTo>
                  <a:cubicBezTo>
                    <a:pt x="-509" y="1831"/>
                    <a:pt x="-2722" y="14148"/>
                    <a:pt x="3906" y="19643"/>
                  </a:cubicBezTo>
                  <a:cubicBezTo>
                    <a:pt x="5505" y="20999"/>
                    <a:pt x="7244" y="21600"/>
                    <a:pt x="8947" y="21600"/>
                  </a:cubicBezTo>
                  <a:cubicBezTo>
                    <a:pt x="14127" y="21600"/>
                    <a:pt x="18878" y="15966"/>
                    <a:pt x="17835" y="8822"/>
                  </a:cubicBezTo>
                  <a:cubicBezTo>
                    <a:pt x="16978" y="3621"/>
                    <a:pt x="13258" y="0"/>
                    <a:pt x="902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04" name="Google Shape;137;p2"/>
            <p:cNvSpPr/>
            <p:nvPr/>
          </p:nvSpPr>
          <p:spPr>
            <a:xfrm>
              <a:off x="17065913" y="3546567"/>
              <a:ext cx="297847" cy="1178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8" h="21600" extrusionOk="0">
                  <a:moveTo>
                    <a:pt x="17037" y="0"/>
                  </a:moveTo>
                  <a:cubicBezTo>
                    <a:pt x="16928" y="0"/>
                    <a:pt x="16819" y="16"/>
                    <a:pt x="16705" y="48"/>
                  </a:cubicBezTo>
                  <a:lnTo>
                    <a:pt x="1924" y="7482"/>
                  </a:lnTo>
                  <a:cubicBezTo>
                    <a:pt x="-1051" y="9689"/>
                    <a:pt x="-365" y="21600"/>
                    <a:pt x="2541" y="21600"/>
                  </a:cubicBezTo>
                  <a:cubicBezTo>
                    <a:pt x="2627" y="21600"/>
                    <a:pt x="2719" y="21584"/>
                    <a:pt x="2810" y="21568"/>
                  </a:cubicBezTo>
                  <a:lnTo>
                    <a:pt x="17660" y="13942"/>
                  </a:lnTo>
                  <a:cubicBezTo>
                    <a:pt x="20549" y="11751"/>
                    <a:pt x="19891" y="0"/>
                    <a:pt x="1703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05" name="Google Shape;138;p2"/>
            <p:cNvSpPr/>
            <p:nvPr/>
          </p:nvSpPr>
          <p:spPr>
            <a:xfrm>
              <a:off x="16746633" y="4421473"/>
              <a:ext cx="600918" cy="60592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53" h="21600" extrusionOk="0">
                  <a:moveTo>
                    <a:pt x="9744" y="0"/>
                  </a:moveTo>
                  <a:cubicBezTo>
                    <a:pt x="6862" y="0"/>
                    <a:pt x="4019" y="1459"/>
                    <a:pt x="2152" y="4186"/>
                  </a:cubicBezTo>
                  <a:lnTo>
                    <a:pt x="18195" y="15442"/>
                  </a:lnTo>
                  <a:cubicBezTo>
                    <a:pt x="20456" y="10556"/>
                    <a:pt x="18991" y="4556"/>
                    <a:pt x="14798" y="1630"/>
                  </a:cubicBezTo>
                  <a:cubicBezTo>
                    <a:pt x="13236" y="532"/>
                    <a:pt x="11483" y="0"/>
                    <a:pt x="9744" y="0"/>
                  </a:cubicBezTo>
                  <a:close/>
                  <a:moveTo>
                    <a:pt x="1020" y="6186"/>
                  </a:moveTo>
                  <a:cubicBezTo>
                    <a:pt x="-1144" y="11035"/>
                    <a:pt x="220" y="17034"/>
                    <a:pt x="4315" y="19961"/>
                  </a:cubicBezTo>
                  <a:cubicBezTo>
                    <a:pt x="5900" y="21068"/>
                    <a:pt x="7673" y="21600"/>
                    <a:pt x="9431" y="21600"/>
                  </a:cubicBezTo>
                  <a:cubicBezTo>
                    <a:pt x="12316" y="21600"/>
                    <a:pt x="15159" y="20160"/>
                    <a:pt x="17062" y="17442"/>
                  </a:cubicBezTo>
                  <a:lnTo>
                    <a:pt x="1020" y="6186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06" name="Google Shape;139;p2"/>
            <p:cNvSpPr/>
            <p:nvPr/>
          </p:nvSpPr>
          <p:spPr>
            <a:xfrm>
              <a:off x="18001457" y="3118885"/>
              <a:ext cx="505521" cy="4910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820" y="0"/>
                  </a:moveTo>
                  <a:lnTo>
                    <a:pt x="3281" y="6214"/>
                  </a:lnTo>
                  <a:cubicBezTo>
                    <a:pt x="-141" y="8728"/>
                    <a:pt x="-1029" y="13755"/>
                    <a:pt x="1296" y="17455"/>
                  </a:cubicBezTo>
                  <a:lnTo>
                    <a:pt x="1676" y="18050"/>
                  </a:lnTo>
                  <a:cubicBezTo>
                    <a:pt x="3125" y="20357"/>
                    <a:pt x="5475" y="21600"/>
                    <a:pt x="7872" y="21600"/>
                  </a:cubicBezTo>
                  <a:cubicBezTo>
                    <a:pt x="9320" y="21600"/>
                    <a:pt x="10783" y="21143"/>
                    <a:pt x="12075" y="20199"/>
                  </a:cubicBezTo>
                  <a:lnTo>
                    <a:pt x="20571" y="13982"/>
                  </a:lnTo>
                  <a:lnTo>
                    <a:pt x="11820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07" name="Google Shape;140;p2"/>
            <p:cNvSpPr/>
            <p:nvPr/>
          </p:nvSpPr>
          <p:spPr>
            <a:xfrm>
              <a:off x="18334580" y="2915339"/>
              <a:ext cx="505572" cy="491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3" h="21600" extrusionOk="0">
                  <a:moveTo>
                    <a:pt x="12735" y="0"/>
                  </a:moveTo>
                  <a:cubicBezTo>
                    <a:pt x="11276" y="0"/>
                    <a:pt x="9795" y="456"/>
                    <a:pt x="8496" y="1412"/>
                  </a:cubicBezTo>
                  <a:lnTo>
                    <a:pt x="0" y="7626"/>
                  </a:lnTo>
                  <a:lnTo>
                    <a:pt x="8833" y="21600"/>
                  </a:lnTo>
                  <a:lnTo>
                    <a:pt x="17329" y="15344"/>
                  </a:lnTo>
                  <a:cubicBezTo>
                    <a:pt x="20712" y="12831"/>
                    <a:pt x="21600" y="7806"/>
                    <a:pt x="19275" y="4108"/>
                  </a:cubicBezTo>
                  <a:lnTo>
                    <a:pt x="19275" y="4154"/>
                  </a:lnTo>
                  <a:lnTo>
                    <a:pt x="18895" y="3514"/>
                  </a:lnTo>
                  <a:cubicBezTo>
                    <a:pt x="17453" y="1220"/>
                    <a:pt x="15117" y="0"/>
                    <a:pt x="12735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08" name="Google Shape;141;p2"/>
            <p:cNvSpPr/>
            <p:nvPr/>
          </p:nvSpPr>
          <p:spPr>
            <a:xfrm>
              <a:off x="17824053" y="4133560"/>
              <a:ext cx="930396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7" h="21600" extrusionOk="0">
                  <a:moveTo>
                    <a:pt x="10051" y="0"/>
                  </a:moveTo>
                  <a:cubicBezTo>
                    <a:pt x="9678" y="0"/>
                    <a:pt x="9343" y="275"/>
                    <a:pt x="9299" y="656"/>
                  </a:cubicBezTo>
                  <a:lnTo>
                    <a:pt x="8363" y="7713"/>
                  </a:lnTo>
                  <a:lnTo>
                    <a:pt x="1354" y="6774"/>
                  </a:lnTo>
                  <a:cubicBezTo>
                    <a:pt x="1324" y="6770"/>
                    <a:pt x="1296" y="6768"/>
                    <a:pt x="1265" y="6768"/>
                  </a:cubicBezTo>
                  <a:cubicBezTo>
                    <a:pt x="893" y="6768"/>
                    <a:pt x="560" y="7045"/>
                    <a:pt x="516" y="7423"/>
                  </a:cubicBezTo>
                  <a:lnTo>
                    <a:pt x="12" y="11399"/>
                  </a:lnTo>
                  <a:cubicBezTo>
                    <a:pt x="-61" y="11808"/>
                    <a:pt x="227" y="12194"/>
                    <a:pt x="634" y="12243"/>
                  </a:cubicBezTo>
                  <a:lnTo>
                    <a:pt x="7644" y="13181"/>
                  </a:lnTo>
                  <a:lnTo>
                    <a:pt x="6730" y="20216"/>
                  </a:lnTo>
                  <a:cubicBezTo>
                    <a:pt x="6660" y="20625"/>
                    <a:pt x="6946" y="21011"/>
                    <a:pt x="7380" y="21058"/>
                  </a:cubicBezTo>
                  <a:lnTo>
                    <a:pt x="11339" y="21588"/>
                  </a:lnTo>
                  <a:cubicBezTo>
                    <a:pt x="11381" y="21596"/>
                    <a:pt x="11423" y="21600"/>
                    <a:pt x="11464" y="21600"/>
                  </a:cubicBezTo>
                  <a:cubicBezTo>
                    <a:pt x="11823" y="21600"/>
                    <a:pt x="12137" y="21327"/>
                    <a:pt x="12179" y="20938"/>
                  </a:cubicBezTo>
                  <a:lnTo>
                    <a:pt x="13115" y="13904"/>
                  </a:lnTo>
                  <a:lnTo>
                    <a:pt x="20124" y="14844"/>
                  </a:lnTo>
                  <a:cubicBezTo>
                    <a:pt x="20154" y="14846"/>
                    <a:pt x="20184" y="14848"/>
                    <a:pt x="20213" y="14848"/>
                  </a:cubicBezTo>
                  <a:cubicBezTo>
                    <a:pt x="20585" y="14848"/>
                    <a:pt x="20920" y="14573"/>
                    <a:pt x="20964" y="14193"/>
                  </a:cubicBezTo>
                  <a:lnTo>
                    <a:pt x="21493" y="10195"/>
                  </a:lnTo>
                  <a:cubicBezTo>
                    <a:pt x="21539" y="9784"/>
                    <a:pt x="21253" y="9400"/>
                    <a:pt x="20844" y="9351"/>
                  </a:cubicBezTo>
                  <a:lnTo>
                    <a:pt x="13836" y="8413"/>
                  </a:lnTo>
                  <a:lnTo>
                    <a:pt x="14748" y="1378"/>
                  </a:lnTo>
                  <a:cubicBezTo>
                    <a:pt x="14820" y="969"/>
                    <a:pt x="14532" y="583"/>
                    <a:pt x="14100" y="534"/>
                  </a:cubicBezTo>
                  <a:lnTo>
                    <a:pt x="10139" y="4"/>
                  </a:lnTo>
                  <a:cubicBezTo>
                    <a:pt x="10109" y="2"/>
                    <a:pt x="10079" y="0"/>
                    <a:pt x="1005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09" name="Google Shape;142;p2"/>
            <p:cNvSpPr/>
            <p:nvPr/>
          </p:nvSpPr>
          <p:spPr>
            <a:xfrm>
              <a:off x="16630512" y="5545993"/>
              <a:ext cx="932630" cy="11765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87" h="21600" extrusionOk="0">
                  <a:moveTo>
                    <a:pt x="8108" y="652"/>
                  </a:moveTo>
                  <a:cubicBezTo>
                    <a:pt x="8682" y="652"/>
                    <a:pt x="9247" y="931"/>
                    <a:pt x="9351" y="1554"/>
                  </a:cubicBezTo>
                  <a:cubicBezTo>
                    <a:pt x="9422" y="1860"/>
                    <a:pt x="9327" y="2183"/>
                    <a:pt x="9066" y="2412"/>
                  </a:cubicBezTo>
                  <a:lnTo>
                    <a:pt x="7479" y="2661"/>
                  </a:lnTo>
                  <a:cubicBezTo>
                    <a:pt x="7146" y="2508"/>
                    <a:pt x="6909" y="2241"/>
                    <a:pt x="6838" y="1935"/>
                  </a:cubicBezTo>
                  <a:lnTo>
                    <a:pt x="6838" y="1916"/>
                  </a:lnTo>
                  <a:cubicBezTo>
                    <a:pt x="6611" y="1120"/>
                    <a:pt x="7365" y="652"/>
                    <a:pt x="8108" y="652"/>
                  </a:cubicBezTo>
                  <a:close/>
                  <a:moveTo>
                    <a:pt x="15486" y="4341"/>
                  </a:moveTo>
                  <a:cubicBezTo>
                    <a:pt x="16000" y="4341"/>
                    <a:pt x="16454" y="4642"/>
                    <a:pt x="16559" y="5063"/>
                  </a:cubicBezTo>
                  <a:lnTo>
                    <a:pt x="19333" y="17192"/>
                  </a:lnTo>
                  <a:cubicBezTo>
                    <a:pt x="19427" y="17669"/>
                    <a:pt x="19025" y="18127"/>
                    <a:pt x="18431" y="18203"/>
                  </a:cubicBezTo>
                  <a:lnTo>
                    <a:pt x="5961" y="20033"/>
                  </a:lnTo>
                  <a:cubicBezTo>
                    <a:pt x="5892" y="20045"/>
                    <a:pt x="5822" y="20051"/>
                    <a:pt x="5752" y="20051"/>
                  </a:cubicBezTo>
                  <a:cubicBezTo>
                    <a:pt x="5241" y="20051"/>
                    <a:pt x="4788" y="19748"/>
                    <a:pt x="4705" y="19329"/>
                  </a:cubicBezTo>
                  <a:lnTo>
                    <a:pt x="1955" y="7198"/>
                  </a:lnTo>
                  <a:cubicBezTo>
                    <a:pt x="1835" y="6723"/>
                    <a:pt x="2238" y="6265"/>
                    <a:pt x="2831" y="6188"/>
                  </a:cubicBezTo>
                  <a:lnTo>
                    <a:pt x="4325" y="5960"/>
                  </a:lnTo>
                  <a:cubicBezTo>
                    <a:pt x="4388" y="6297"/>
                    <a:pt x="4747" y="6545"/>
                    <a:pt x="5157" y="6545"/>
                  </a:cubicBezTo>
                  <a:cubicBezTo>
                    <a:pt x="5211" y="6545"/>
                    <a:pt x="5266" y="6540"/>
                    <a:pt x="5320" y="6532"/>
                  </a:cubicBezTo>
                  <a:lnTo>
                    <a:pt x="13120" y="5387"/>
                  </a:lnTo>
                  <a:cubicBezTo>
                    <a:pt x="13572" y="5312"/>
                    <a:pt x="13903" y="4949"/>
                    <a:pt x="13809" y="4567"/>
                  </a:cubicBezTo>
                  <a:lnTo>
                    <a:pt x="15279" y="4357"/>
                  </a:lnTo>
                  <a:cubicBezTo>
                    <a:pt x="15349" y="4346"/>
                    <a:pt x="15418" y="4341"/>
                    <a:pt x="15486" y="4341"/>
                  </a:cubicBezTo>
                  <a:close/>
                  <a:moveTo>
                    <a:pt x="8108" y="0"/>
                  </a:moveTo>
                  <a:cubicBezTo>
                    <a:pt x="7979" y="0"/>
                    <a:pt x="7847" y="10"/>
                    <a:pt x="7716" y="29"/>
                  </a:cubicBezTo>
                  <a:cubicBezTo>
                    <a:pt x="6529" y="200"/>
                    <a:pt x="5748" y="1096"/>
                    <a:pt x="5961" y="2050"/>
                  </a:cubicBezTo>
                  <a:cubicBezTo>
                    <a:pt x="6031" y="2316"/>
                    <a:pt x="6174" y="2584"/>
                    <a:pt x="6388" y="2813"/>
                  </a:cubicBezTo>
                  <a:lnTo>
                    <a:pt x="4846" y="3042"/>
                  </a:lnTo>
                  <a:cubicBezTo>
                    <a:pt x="4207" y="3136"/>
                    <a:pt x="3803" y="3614"/>
                    <a:pt x="3898" y="4129"/>
                  </a:cubicBezTo>
                  <a:lnTo>
                    <a:pt x="4016" y="4586"/>
                  </a:lnTo>
                  <a:lnTo>
                    <a:pt x="1457" y="4949"/>
                  </a:lnTo>
                  <a:cubicBezTo>
                    <a:pt x="483" y="5102"/>
                    <a:pt x="-156" y="5845"/>
                    <a:pt x="33" y="6607"/>
                  </a:cubicBezTo>
                  <a:lnTo>
                    <a:pt x="3164" y="20434"/>
                  </a:lnTo>
                  <a:cubicBezTo>
                    <a:pt x="3311" y="21131"/>
                    <a:pt x="4062" y="21600"/>
                    <a:pt x="4910" y="21600"/>
                  </a:cubicBezTo>
                  <a:cubicBezTo>
                    <a:pt x="5014" y="21600"/>
                    <a:pt x="5119" y="21594"/>
                    <a:pt x="5227" y="21579"/>
                  </a:cubicBezTo>
                  <a:lnTo>
                    <a:pt x="19831" y="19442"/>
                  </a:lnTo>
                  <a:cubicBezTo>
                    <a:pt x="20803" y="19290"/>
                    <a:pt x="21444" y="18547"/>
                    <a:pt x="21253" y="17764"/>
                  </a:cubicBezTo>
                  <a:lnTo>
                    <a:pt x="18124" y="3937"/>
                  </a:lnTo>
                  <a:cubicBezTo>
                    <a:pt x="17955" y="3242"/>
                    <a:pt x="17202" y="2773"/>
                    <a:pt x="16370" y="2773"/>
                  </a:cubicBezTo>
                  <a:cubicBezTo>
                    <a:pt x="16269" y="2773"/>
                    <a:pt x="16165" y="2779"/>
                    <a:pt x="16061" y="2794"/>
                  </a:cubicBezTo>
                  <a:lnTo>
                    <a:pt x="13501" y="3175"/>
                  </a:lnTo>
                  <a:lnTo>
                    <a:pt x="13405" y="2736"/>
                  </a:lnTo>
                  <a:cubicBezTo>
                    <a:pt x="13299" y="2271"/>
                    <a:pt x="12786" y="1962"/>
                    <a:pt x="12234" y="1962"/>
                  </a:cubicBezTo>
                  <a:cubicBezTo>
                    <a:pt x="12174" y="1962"/>
                    <a:pt x="12115" y="1965"/>
                    <a:pt x="12055" y="1973"/>
                  </a:cubicBezTo>
                  <a:lnTo>
                    <a:pt x="10157" y="2260"/>
                  </a:lnTo>
                  <a:cubicBezTo>
                    <a:pt x="10277" y="1993"/>
                    <a:pt x="10277" y="1706"/>
                    <a:pt x="10229" y="1421"/>
                  </a:cubicBezTo>
                  <a:cubicBezTo>
                    <a:pt x="10040" y="575"/>
                    <a:pt x="9124" y="0"/>
                    <a:pt x="810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10" name="Google Shape;143;p2"/>
            <p:cNvSpPr/>
            <p:nvPr/>
          </p:nvSpPr>
          <p:spPr>
            <a:xfrm>
              <a:off x="16812136" y="5969313"/>
              <a:ext cx="134852" cy="1347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9" h="21600" extrusionOk="0">
                  <a:moveTo>
                    <a:pt x="8953" y="0"/>
                  </a:moveTo>
                  <a:cubicBezTo>
                    <a:pt x="8442" y="0"/>
                    <a:pt x="7920" y="56"/>
                    <a:pt x="7409" y="168"/>
                  </a:cubicBezTo>
                  <a:cubicBezTo>
                    <a:pt x="-477" y="1831"/>
                    <a:pt x="-2683" y="14148"/>
                    <a:pt x="3809" y="19643"/>
                  </a:cubicBezTo>
                  <a:cubicBezTo>
                    <a:pt x="5446" y="20999"/>
                    <a:pt x="7223" y="21600"/>
                    <a:pt x="8942" y="21600"/>
                  </a:cubicBezTo>
                  <a:cubicBezTo>
                    <a:pt x="14191" y="21600"/>
                    <a:pt x="18917" y="15966"/>
                    <a:pt x="17779" y="8822"/>
                  </a:cubicBezTo>
                  <a:cubicBezTo>
                    <a:pt x="17036" y="3607"/>
                    <a:pt x="13203" y="0"/>
                    <a:pt x="895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11" name="Google Shape;144;p2"/>
            <p:cNvSpPr/>
            <p:nvPr/>
          </p:nvSpPr>
          <p:spPr>
            <a:xfrm>
              <a:off x="16992269" y="5928830"/>
              <a:ext cx="304209" cy="1181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82" h="21600" extrusionOk="0">
                  <a:moveTo>
                    <a:pt x="17243" y="0"/>
                  </a:moveTo>
                  <a:cubicBezTo>
                    <a:pt x="17058" y="0"/>
                    <a:pt x="16867" y="64"/>
                    <a:pt x="16659" y="175"/>
                  </a:cubicBezTo>
                  <a:lnTo>
                    <a:pt x="16592" y="175"/>
                  </a:lnTo>
                  <a:lnTo>
                    <a:pt x="2018" y="7769"/>
                  </a:lnTo>
                  <a:cubicBezTo>
                    <a:pt x="-1004" y="9380"/>
                    <a:pt x="-414" y="21600"/>
                    <a:pt x="2343" y="21600"/>
                  </a:cubicBezTo>
                  <a:cubicBezTo>
                    <a:pt x="2517" y="21600"/>
                    <a:pt x="2697" y="21552"/>
                    <a:pt x="2888" y="21456"/>
                  </a:cubicBezTo>
                  <a:lnTo>
                    <a:pt x="17462" y="13847"/>
                  </a:lnTo>
                  <a:cubicBezTo>
                    <a:pt x="20596" y="12603"/>
                    <a:pt x="20029" y="0"/>
                    <a:pt x="1724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12" name="Google Shape;145;p2"/>
            <p:cNvSpPr/>
            <p:nvPr/>
          </p:nvSpPr>
          <p:spPr>
            <a:xfrm>
              <a:off x="16846424" y="6157067"/>
              <a:ext cx="134653" cy="1350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10" h="21600" extrusionOk="0">
                  <a:moveTo>
                    <a:pt x="9136" y="0"/>
                  </a:moveTo>
                  <a:cubicBezTo>
                    <a:pt x="8576" y="0"/>
                    <a:pt x="8015" y="70"/>
                    <a:pt x="7444" y="209"/>
                  </a:cubicBezTo>
                  <a:cubicBezTo>
                    <a:pt x="-480" y="1702"/>
                    <a:pt x="-2697" y="14163"/>
                    <a:pt x="3826" y="19647"/>
                  </a:cubicBezTo>
                  <a:cubicBezTo>
                    <a:pt x="5472" y="21000"/>
                    <a:pt x="7245" y="21600"/>
                    <a:pt x="8961" y="21600"/>
                  </a:cubicBezTo>
                  <a:cubicBezTo>
                    <a:pt x="14200" y="21600"/>
                    <a:pt x="18903" y="15977"/>
                    <a:pt x="17864" y="8847"/>
                  </a:cubicBezTo>
                  <a:cubicBezTo>
                    <a:pt x="17129" y="3712"/>
                    <a:pt x="13360" y="0"/>
                    <a:pt x="913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13" name="Google Shape;146;p2"/>
            <p:cNvSpPr/>
            <p:nvPr/>
          </p:nvSpPr>
          <p:spPr>
            <a:xfrm>
              <a:off x="17030058" y="6116671"/>
              <a:ext cx="295931" cy="117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3" h="21600" extrusionOk="0">
                  <a:moveTo>
                    <a:pt x="17007" y="0"/>
                  </a:moveTo>
                  <a:cubicBezTo>
                    <a:pt x="16943" y="0"/>
                    <a:pt x="16874" y="16"/>
                    <a:pt x="16799" y="16"/>
                  </a:cubicBezTo>
                  <a:lnTo>
                    <a:pt x="1840" y="7654"/>
                  </a:lnTo>
                  <a:cubicBezTo>
                    <a:pt x="-1025" y="10055"/>
                    <a:pt x="-333" y="21600"/>
                    <a:pt x="2463" y="21600"/>
                  </a:cubicBezTo>
                  <a:cubicBezTo>
                    <a:pt x="2549" y="21600"/>
                    <a:pt x="2641" y="21584"/>
                    <a:pt x="2734" y="21568"/>
                  </a:cubicBezTo>
                  <a:lnTo>
                    <a:pt x="17693" y="14122"/>
                  </a:lnTo>
                  <a:cubicBezTo>
                    <a:pt x="20575" y="11705"/>
                    <a:pt x="19924" y="0"/>
                    <a:pt x="1700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14" name="Google Shape;147;p2"/>
            <p:cNvSpPr/>
            <p:nvPr/>
          </p:nvSpPr>
          <p:spPr>
            <a:xfrm>
              <a:off x="16883054" y="6357821"/>
              <a:ext cx="135371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0" h="21600" extrusionOk="0">
                  <a:moveTo>
                    <a:pt x="9028" y="0"/>
                  </a:moveTo>
                  <a:cubicBezTo>
                    <a:pt x="8518" y="0"/>
                    <a:pt x="8008" y="56"/>
                    <a:pt x="7487" y="154"/>
                  </a:cubicBezTo>
                  <a:cubicBezTo>
                    <a:pt x="-509" y="1831"/>
                    <a:pt x="-2722" y="14148"/>
                    <a:pt x="3906" y="19629"/>
                  </a:cubicBezTo>
                  <a:cubicBezTo>
                    <a:pt x="5505" y="20985"/>
                    <a:pt x="7244" y="21600"/>
                    <a:pt x="8947" y="21600"/>
                  </a:cubicBezTo>
                  <a:cubicBezTo>
                    <a:pt x="14127" y="21600"/>
                    <a:pt x="18878" y="15966"/>
                    <a:pt x="17835" y="8822"/>
                  </a:cubicBezTo>
                  <a:cubicBezTo>
                    <a:pt x="16978" y="3607"/>
                    <a:pt x="13258" y="0"/>
                    <a:pt x="902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15" name="Google Shape;148;p2"/>
            <p:cNvSpPr/>
            <p:nvPr/>
          </p:nvSpPr>
          <p:spPr>
            <a:xfrm>
              <a:off x="17065135" y="6317949"/>
              <a:ext cx="299364" cy="1180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45" h="21600" extrusionOk="0">
                  <a:moveTo>
                    <a:pt x="17072" y="0"/>
                  </a:moveTo>
                  <a:cubicBezTo>
                    <a:pt x="16947" y="0"/>
                    <a:pt x="16821" y="16"/>
                    <a:pt x="16685" y="64"/>
                  </a:cubicBezTo>
                  <a:lnTo>
                    <a:pt x="1966" y="7471"/>
                  </a:lnTo>
                  <a:cubicBezTo>
                    <a:pt x="-1042" y="9675"/>
                    <a:pt x="-393" y="21600"/>
                    <a:pt x="2518" y="21600"/>
                  </a:cubicBezTo>
                  <a:cubicBezTo>
                    <a:pt x="2626" y="21600"/>
                    <a:pt x="2735" y="21584"/>
                    <a:pt x="2849" y="21552"/>
                  </a:cubicBezTo>
                  <a:lnTo>
                    <a:pt x="17636" y="13937"/>
                  </a:lnTo>
                  <a:cubicBezTo>
                    <a:pt x="20558" y="11941"/>
                    <a:pt x="19931" y="0"/>
                    <a:pt x="1707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16" name="Google Shape;149;p2"/>
            <p:cNvSpPr/>
            <p:nvPr/>
          </p:nvSpPr>
          <p:spPr>
            <a:xfrm>
              <a:off x="16744622" y="7192681"/>
              <a:ext cx="602929" cy="6079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199" h="21600" extrusionOk="0">
                  <a:moveTo>
                    <a:pt x="9726" y="0"/>
                  </a:moveTo>
                  <a:cubicBezTo>
                    <a:pt x="6867" y="0"/>
                    <a:pt x="4056" y="1448"/>
                    <a:pt x="2203" y="4182"/>
                  </a:cubicBezTo>
                  <a:lnTo>
                    <a:pt x="18146" y="15400"/>
                  </a:lnTo>
                  <a:cubicBezTo>
                    <a:pt x="20394" y="10527"/>
                    <a:pt x="18938" y="4551"/>
                    <a:pt x="14771" y="1634"/>
                  </a:cubicBezTo>
                  <a:cubicBezTo>
                    <a:pt x="13210" y="533"/>
                    <a:pt x="11460" y="0"/>
                    <a:pt x="9726" y="0"/>
                  </a:cubicBezTo>
                  <a:close/>
                  <a:moveTo>
                    <a:pt x="1078" y="6175"/>
                  </a:moveTo>
                  <a:cubicBezTo>
                    <a:pt x="-1206" y="11045"/>
                    <a:pt x="250" y="17025"/>
                    <a:pt x="4417" y="19976"/>
                  </a:cubicBezTo>
                  <a:cubicBezTo>
                    <a:pt x="5973" y="21073"/>
                    <a:pt x="7720" y="21600"/>
                    <a:pt x="9451" y="21600"/>
                  </a:cubicBezTo>
                  <a:cubicBezTo>
                    <a:pt x="12326" y="21600"/>
                    <a:pt x="15163" y="20149"/>
                    <a:pt x="17021" y="17431"/>
                  </a:cubicBezTo>
                  <a:lnTo>
                    <a:pt x="1078" y="6175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17" name="Google Shape;150;p2"/>
            <p:cNvSpPr/>
            <p:nvPr/>
          </p:nvSpPr>
          <p:spPr>
            <a:xfrm>
              <a:off x="18001457" y="5890355"/>
              <a:ext cx="505521" cy="4910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820" y="0"/>
                  </a:moveTo>
                  <a:lnTo>
                    <a:pt x="3281" y="6214"/>
                  </a:lnTo>
                  <a:cubicBezTo>
                    <a:pt x="-141" y="8728"/>
                    <a:pt x="-1029" y="13755"/>
                    <a:pt x="1296" y="17455"/>
                  </a:cubicBezTo>
                  <a:lnTo>
                    <a:pt x="1676" y="18096"/>
                  </a:lnTo>
                  <a:cubicBezTo>
                    <a:pt x="3121" y="20368"/>
                    <a:pt x="5468" y="21600"/>
                    <a:pt x="7861" y="21600"/>
                  </a:cubicBezTo>
                  <a:cubicBezTo>
                    <a:pt x="9313" y="21600"/>
                    <a:pt x="10779" y="21147"/>
                    <a:pt x="12075" y="20195"/>
                  </a:cubicBezTo>
                  <a:lnTo>
                    <a:pt x="20571" y="13982"/>
                  </a:lnTo>
                  <a:lnTo>
                    <a:pt x="11820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18" name="Google Shape;151;p2"/>
            <p:cNvSpPr/>
            <p:nvPr/>
          </p:nvSpPr>
          <p:spPr>
            <a:xfrm>
              <a:off x="18334580" y="5686023"/>
              <a:ext cx="505572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3" h="21600" extrusionOk="0">
                  <a:moveTo>
                    <a:pt x="12696" y="0"/>
                  </a:moveTo>
                  <a:cubicBezTo>
                    <a:pt x="11247" y="0"/>
                    <a:pt x="9785" y="456"/>
                    <a:pt x="8496" y="1398"/>
                  </a:cubicBezTo>
                  <a:lnTo>
                    <a:pt x="0" y="7644"/>
                  </a:lnTo>
                  <a:lnTo>
                    <a:pt x="8833" y="21600"/>
                  </a:lnTo>
                  <a:lnTo>
                    <a:pt x="17329" y="15354"/>
                  </a:lnTo>
                  <a:cubicBezTo>
                    <a:pt x="20712" y="12845"/>
                    <a:pt x="21600" y="7828"/>
                    <a:pt x="19275" y="4136"/>
                  </a:cubicBezTo>
                  <a:lnTo>
                    <a:pt x="18895" y="3543"/>
                  </a:lnTo>
                  <a:cubicBezTo>
                    <a:pt x="17443" y="1241"/>
                    <a:pt x="15092" y="0"/>
                    <a:pt x="1269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19" name="Google Shape;152;p2"/>
            <p:cNvSpPr/>
            <p:nvPr/>
          </p:nvSpPr>
          <p:spPr>
            <a:xfrm>
              <a:off x="17824053" y="6905031"/>
              <a:ext cx="930396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7" h="21600" extrusionOk="0">
                  <a:moveTo>
                    <a:pt x="10051" y="0"/>
                  </a:moveTo>
                  <a:cubicBezTo>
                    <a:pt x="9678" y="0"/>
                    <a:pt x="9343" y="275"/>
                    <a:pt x="9299" y="656"/>
                  </a:cubicBezTo>
                  <a:lnTo>
                    <a:pt x="8363" y="7688"/>
                  </a:lnTo>
                  <a:lnTo>
                    <a:pt x="1354" y="6774"/>
                  </a:lnTo>
                  <a:cubicBezTo>
                    <a:pt x="1312" y="6766"/>
                    <a:pt x="1271" y="6762"/>
                    <a:pt x="1229" y="6762"/>
                  </a:cubicBezTo>
                  <a:cubicBezTo>
                    <a:pt x="870" y="6762"/>
                    <a:pt x="558" y="7035"/>
                    <a:pt x="516" y="7423"/>
                  </a:cubicBezTo>
                  <a:lnTo>
                    <a:pt x="12" y="11423"/>
                  </a:lnTo>
                  <a:cubicBezTo>
                    <a:pt x="-61" y="11832"/>
                    <a:pt x="227" y="12194"/>
                    <a:pt x="634" y="12265"/>
                  </a:cubicBezTo>
                  <a:lnTo>
                    <a:pt x="7644" y="13181"/>
                  </a:lnTo>
                  <a:lnTo>
                    <a:pt x="6730" y="20238"/>
                  </a:lnTo>
                  <a:cubicBezTo>
                    <a:pt x="6660" y="20649"/>
                    <a:pt x="6946" y="21009"/>
                    <a:pt x="7380" y="21082"/>
                  </a:cubicBezTo>
                  <a:lnTo>
                    <a:pt x="11339" y="21588"/>
                  </a:lnTo>
                  <a:cubicBezTo>
                    <a:pt x="11381" y="21596"/>
                    <a:pt x="11423" y="21600"/>
                    <a:pt x="11466" y="21600"/>
                  </a:cubicBezTo>
                  <a:cubicBezTo>
                    <a:pt x="11823" y="21600"/>
                    <a:pt x="12137" y="21329"/>
                    <a:pt x="12179" y="20963"/>
                  </a:cubicBezTo>
                  <a:lnTo>
                    <a:pt x="13115" y="13904"/>
                  </a:lnTo>
                  <a:lnTo>
                    <a:pt x="20124" y="14842"/>
                  </a:lnTo>
                  <a:cubicBezTo>
                    <a:pt x="20154" y="14846"/>
                    <a:pt x="20184" y="14848"/>
                    <a:pt x="20213" y="14848"/>
                  </a:cubicBezTo>
                  <a:cubicBezTo>
                    <a:pt x="20585" y="14848"/>
                    <a:pt x="20920" y="14573"/>
                    <a:pt x="20964" y="14193"/>
                  </a:cubicBezTo>
                  <a:lnTo>
                    <a:pt x="21493" y="10193"/>
                  </a:lnTo>
                  <a:cubicBezTo>
                    <a:pt x="21539" y="9784"/>
                    <a:pt x="21253" y="9400"/>
                    <a:pt x="20844" y="9351"/>
                  </a:cubicBezTo>
                  <a:lnTo>
                    <a:pt x="13836" y="8411"/>
                  </a:lnTo>
                  <a:lnTo>
                    <a:pt x="14748" y="1378"/>
                  </a:lnTo>
                  <a:cubicBezTo>
                    <a:pt x="14820" y="967"/>
                    <a:pt x="14532" y="583"/>
                    <a:pt x="14100" y="534"/>
                  </a:cubicBezTo>
                  <a:lnTo>
                    <a:pt x="10139" y="4"/>
                  </a:lnTo>
                  <a:cubicBezTo>
                    <a:pt x="10109" y="0"/>
                    <a:pt x="10079" y="0"/>
                    <a:pt x="1005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20" name="Google Shape;153;p2"/>
            <p:cNvSpPr/>
            <p:nvPr/>
          </p:nvSpPr>
          <p:spPr>
            <a:xfrm>
              <a:off x="16630512" y="8317463"/>
              <a:ext cx="932630" cy="11786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87" h="21600" extrusionOk="0">
                  <a:moveTo>
                    <a:pt x="8120" y="657"/>
                  </a:moveTo>
                  <a:cubicBezTo>
                    <a:pt x="8690" y="657"/>
                    <a:pt x="9249" y="934"/>
                    <a:pt x="9351" y="1551"/>
                  </a:cubicBezTo>
                  <a:cubicBezTo>
                    <a:pt x="9422" y="1874"/>
                    <a:pt x="9327" y="2179"/>
                    <a:pt x="9066" y="2427"/>
                  </a:cubicBezTo>
                  <a:lnTo>
                    <a:pt x="7479" y="2656"/>
                  </a:lnTo>
                  <a:cubicBezTo>
                    <a:pt x="7146" y="2502"/>
                    <a:pt x="6909" y="2237"/>
                    <a:pt x="6838" y="1932"/>
                  </a:cubicBezTo>
                  <a:cubicBezTo>
                    <a:pt x="6609" y="1132"/>
                    <a:pt x="7373" y="657"/>
                    <a:pt x="8120" y="657"/>
                  </a:cubicBezTo>
                  <a:close/>
                  <a:moveTo>
                    <a:pt x="15496" y="4351"/>
                  </a:moveTo>
                  <a:cubicBezTo>
                    <a:pt x="16006" y="4351"/>
                    <a:pt x="16456" y="4637"/>
                    <a:pt x="16559" y="5054"/>
                  </a:cubicBezTo>
                  <a:lnTo>
                    <a:pt x="19333" y="17181"/>
                  </a:lnTo>
                  <a:cubicBezTo>
                    <a:pt x="19427" y="17657"/>
                    <a:pt x="19025" y="18113"/>
                    <a:pt x="18431" y="18189"/>
                  </a:cubicBezTo>
                  <a:lnTo>
                    <a:pt x="5961" y="20017"/>
                  </a:lnTo>
                  <a:cubicBezTo>
                    <a:pt x="5900" y="20025"/>
                    <a:pt x="5840" y="20028"/>
                    <a:pt x="5780" y="20028"/>
                  </a:cubicBezTo>
                  <a:cubicBezTo>
                    <a:pt x="5256" y="20028"/>
                    <a:pt x="4788" y="19737"/>
                    <a:pt x="4705" y="19294"/>
                  </a:cubicBezTo>
                  <a:lnTo>
                    <a:pt x="1955" y="7205"/>
                  </a:lnTo>
                  <a:cubicBezTo>
                    <a:pt x="1835" y="6730"/>
                    <a:pt x="2238" y="6273"/>
                    <a:pt x="2831" y="6177"/>
                  </a:cubicBezTo>
                  <a:lnTo>
                    <a:pt x="4325" y="5967"/>
                  </a:lnTo>
                  <a:cubicBezTo>
                    <a:pt x="4388" y="6301"/>
                    <a:pt x="4743" y="6533"/>
                    <a:pt x="5149" y="6533"/>
                  </a:cubicBezTo>
                  <a:cubicBezTo>
                    <a:pt x="5205" y="6533"/>
                    <a:pt x="5262" y="6528"/>
                    <a:pt x="5320" y="6520"/>
                  </a:cubicBezTo>
                  <a:lnTo>
                    <a:pt x="13120" y="5396"/>
                  </a:lnTo>
                  <a:cubicBezTo>
                    <a:pt x="13572" y="5320"/>
                    <a:pt x="13903" y="4958"/>
                    <a:pt x="13809" y="4578"/>
                  </a:cubicBezTo>
                  <a:lnTo>
                    <a:pt x="15279" y="4368"/>
                  </a:lnTo>
                  <a:cubicBezTo>
                    <a:pt x="15353" y="4357"/>
                    <a:pt x="15424" y="4351"/>
                    <a:pt x="15496" y="4351"/>
                  </a:cubicBezTo>
                  <a:close/>
                  <a:moveTo>
                    <a:pt x="8100" y="0"/>
                  </a:moveTo>
                  <a:cubicBezTo>
                    <a:pt x="7973" y="0"/>
                    <a:pt x="7843" y="10"/>
                    <a:pt x="7716" y="29"/>
                  </a:cubicBezTo>
                  <a:cubicBezTo>
                    <a:pt x="6529" y="200"/>
                    <a:pt x="5748" y="1113"/>
                    <a:pt x="5961" y="2047"/>
                  </a:cubicBezTo>
                  <a:cubicBezTo>
                    <a:pt x="6031" y="2331"/>
                    <a:pt x="6174" y="2598"/>
                    <a:pt x="6388" y="2808"/>
                  </a:cubicBezTo>
                  <a:lnTo>
                    <a:pt x="4846" y="3056"/>
                  </a:lnTo>
                  <a:cubicBezTo>
                    <a:pt x="4207" y="3150"/>
                    <a:pt x="3803" y="3646"/>
                    <a:pt x="3898" y="4140"/>
                  </a:cubicBezTo>
                  <a:lnTo>
                    <a:pt x="4016" y="4597"/>
                  </a:lnTo>
                  <a:lnTo>
                    <a:pt x="1457" y="4958"/>
                  </a:lnTo>
                  <a:cubicBezTo>
                    <a:pt x="483" y="5110"/>
                    <a:pt x="-156" y="5854"/>
                    <a:pt x="33" y="6634"/>
                  </a:cubicBezTo>
                  <a:lnTo>
                    <a:pt x="3164" y="20417"/>
                  </a:lnTo>
                  <a:cubicBezTo>
                    <a:pt x="3311" y="21114"/>
                    <a:pt x="4066" y="21600"/>
                    <a:pt x="4918" y="21600"/>
                  </a:cubicBezTo>
                  <a:cubicBezTo>
                    <a:pt x="5019" y="21600"/>
                    <a:pt x="5123" y="21592"/>
                    <a:pt x="5227" y="21578"/>
                  </a:cubicBezTo>
                  <a:lnTo>
                    <a:pt x="19831" y="19427"/>
                  </a:lnTo>
                  <a:cubicBezTo>
                    <a:pt x="20803" y="19275"/>
                    <a:pt x="21444" y="18532"/>
                    <a:pt x="21253" y="17771"/>
                  </a:cubicBezTo>
                  <a:lnTo>
                    <a:pt x="18124" y="3969"/>
                  </a:lnTo>
                  <a:cubicBezTo>
                    <a:pt x="17955" y="3271"/>
                    <a:pt x="17198" y="2787"/>
                    <a:pt x="16362" y="2787"/>
                  </a:cubicBezTo>
                  <a:cubicBezTo>
                    <a:pt x="16263" y="2787"/>
                    <a:pt x="16161" y="2793"/>
                    <a:pt x="16061" y="2808"/>
                  </a:cubicBezTo>
                  <a:lnTo>
                    <a:pt x="13501" y="3188"/>
                  </a:lnTo>
                  <a:lnTo>
                    <a:pt x="13405" y="2750"/>
                  </a:lnTo>
                  <a:cubicBezTo>
                    <a:pt x="13299" y="2294"/>
                    <a:pt x="12804" y="1973"/>
                    <a:pt x="12262" y="1973"/>
                  </a:cubicBezTo>
                  <a:cubicBezTo>
                    <a:pt x="12192" y="1973"/>
                    <a:pt x="12123" y="1978"/>
                    <a:pt x="12055" y="1989"/>
                  </a:cubicBezTo>
                  <a:lnTo>
                    <a:pt x="10157" y="2256"/>
                  </a:lnTo>
                  <a:cubicBezTo>
                    <a:pt x="10277" y="1989"/>
                    <a:pt x="10277" y="1703"/>
                    <a:pt x="10229" y="1437"/>
                  </a:cubicBezTo>
                  <a:cubicBezTo>
                    <a:pt x="10040" y="590"/>
                    <a:pt x="9118" y="0"/>
                    <a:pt x="810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21" name="Google Shape;154;p2"/>
            <p:cNvSpPr/>
            <p:nvPr/>
          </p:nvSpPr>
          <p:spPr>
            <a:xfrm>
              <a:off x="16812136" y="8740521"/>
              <a:ext cx="134852" cy="135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9" h="21600" extrusionOk="0">
                  <a:moveTo>
                    <a:pt x="9104" y="0"/>
                  </a:moveTo>
                  <a:cubicBezTo>
                    <a:pt x="8547" y="0"/>
                    <a:pt x="7978" y="70"/>
                    <a:pt x="7409" y="195"/>
                  </a:cubicBezTo>
                  <a:cubicBezTo>
                    <a:pt x="-477" y="1856"/>
                    <a:pt x="-2683" y="14149"/>
                    <a:pt x="3809" y="19633"/>
                  </a:cubicBezTo>
                  <a:cubicBezTo>
                    <a:pt x="5446" y="20986"/>
                    <a:pt x="7223" y="21600"/>
                    <a:pt x="8942" y="21600"/>
                  </a:cubicBezTo>
                  <a:cubicBezTo>
                    <a:pt x="14191" y="21600"/>
                    <a:pt x="18917" y="15977"/>
                    <a:pt x="17779" y="8833"/>
                  </a:cubicBezTo>
                  <a:cubicBezTo>
                    <a:pt x="17047" y="3712"/>
                    <a:pt x="13296" y="0"/>
                    <a:pt x="910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22" name="Google Shape;155;p2"/>
            <p:cNvSpPr/>
            <p:nvPr/>
          </p:nvSpPr>
          <p:spPr>
            <a:xfrm>
              <a:off x="16991077" y="8699951"/>
              <a:ext cx="306954" cy="1188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81" h="21600" extrusionOk="0">
                  <a:moveTo>
                    <a:pt x="17264" y="0"/>
                  </a:moveTo>
                  <a:cubicBezTo>
                    <a:pt x="17053" y="0"/>
                    <a:pt x="16825" y="79"/>
                    <a:pt x="16585" y="238"/>
                  </a:cubicBezTo>
                  <a:lnTo>
                    <a:pt x="16519" y="238"/>
                  </a:lnTo>
                  <a:lnTo>
                    <a:pt x="2076" y="7787"/>
                  </a:lnTo>
                  <a:cubicBezTo>
                    <a:pt x="-1013" y="9198"/>
                    <a:pt x="-417" y="21600"/>
                    <a:pt x="2304" y="21600"/>
                  </a:cubicBezTo>
                  <a:cubicBezTo>
                    <a:pt x="2504" y="21600"/>
                    <a:pt x="2716" y="21521"/>
                    <a:pt x="2939" y="21394"/>
                  </a:cubicBezTo>
                  <a:lnTo>
                    <a:pt x="17381" y="13829"/>
                  </a:lnTo>
                  <a:cubicBezTo>
                    <a:pt x="20587" y="12957"/>
                    <a:pt x="20064" y="0"/>
                    <a:pt x="1726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23" name="Google Shape;156;p2"/>
            <p:cNvSpPr/>
            <p:nvPr/>
          </p:nvSpPr>
          <p:spPr>
            <a:xfrm>
              <a:off x="16846424" y="8928537"/>
              <a:ext cx="134653" cy="135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10" h="21600" extrusionOk="0">
                  <a:moveTo>
                    <a:pt x="9136" y="0"/>
                  </a:moveTo>
                  <a:cubicBezTo>
                    <a:pt x="8576" y="0"/>
                    <a:pt x="8015" y="70"/>
                    <a:pt x="7444" y="195"/>
                  </a:cubicBezTo>
                  <a:cubicBezTo>
                    <a:pt x="-480" y="1856"/>
                    <a:pt x="-2697" y="14149"/>
                    <a:pt x="3826" y="19633"/>
                  </a:cubicBezTo>
                  <a:cubicBezTo>
                    <a:pt x="5472" y="20986"/>
                    <a:pt x="7245" y="21600"/>
                    <a:pt x="8961" y="21600"/>
                  </a:cubicBezTo>
                  <a:cubicBezTo>
                    <a:pt x="14200" y="21600"/>
                    <a:pt x="18903" y="15977"/>
                    <a:pt x="17864" y="8847"/>
                  </a:cubicBezTo>
                  <a:cubicBezTo>
                    <a:pt x="17129" y="3712"/>
                    <a:pt x="13360" y="0"/>
                    <a:pt x="913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24" name="Google Shape;157;p2"/>
            <p:cNvSpPr/>
            <p:nvPr/>
          </p:nvSpPr>
          <p:spPr>
            <a:xfrm>
              <a:off x="17030024" y="8889101"/>
              <a:ext cx="295977" cy="117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1" h="21600" extrusionOk="0">
                  <a:moveTo>
                    <a:pt x="17073" y="0"/>
                  </a:moveTo>
                  <a:cubicBezTo>
                    <a:pt x="16981" y="0"/>
                    <a:pt x="16889" y="16"/>
                    <a:pt x="16796" y="32"/>
                  </a:cubicBezTo>
                  <a:lnTo>
                    <a:pt x="1841" y="7462"/>
                  </a:lnTo>
                  <a:cubicBezTo>
                    <a:pt x="-1046" y="9895"/>
                    <a:pt x="-326" y="21600"/>
                    <a:pt x="2527" y="21600"/>
                  </a:cubicBezTo>
                  <a:cubicBezTo>
                    <a:pt x="2596" y="21600"/>
                    <a:pt x="2665" y="21584"/>
                    <a:pt x="2735" y="21568"/>
                  </a:cubicBezTo>
                  <a:lnTo>
                    <a:pt x="17690" y="13946"/>
                  </a:lnTo>
                  <a:cubicBezTo>
                    <a:pt x="20554" y="11545"/>
                    <a:pt x="19926" y="0"/>
                    <a:pt x="1707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25" name="Google Shape;158;p2"/>
            <p:cNvSpPr/>
            <p:nvPr/>
          </p:nvSpPr>
          <p:spPr>
            <a:xfrm>
              <a:off x="16883054" y="9129290"/>
              <a:ext cx="135374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0" h="21600" extrusionOk="0">
                  <a:moveTo>
                    <a:pt x="9028" y="0"/>
                  </a:moveTo>
                  <a:cubicBezTo>
                    <a:pt x="8518" y="0"/>
                    <a:pt x="8008" y="56"/>
                    <a:pt x="7487" y="154"/>
                  </a:cubicBezTo>
                  <a:cubicBezTo>
                    <a:pt x="-509" y="1817"/>
                    <a:pt x="-2722" y="14134"/>
                    <a:pt x="3906" y="19629"/>
                  </a:cubicBezTo>
                  <a:cubicBezTo>
                    <a:pt x="5505" y="20985"/>
                    <a:pt x="7255" y="21600"/>
                    <a:pt x="8959" y="21600"/>
                  </a:cubicBezTo>
                  <a:cubicBezTo>
                    <a:pt x="14139" y="21600"/>
                    <a:pt x="18878" y="15994"/>
                    <a:pt x="17835" y="8976"/>
                  </a:cubicBezTo>
                  <a:cubicBezTo>
                    <a:pt x="16978" y="3621"/>
                    <a:pt x="13246" y="0"/>
                    <a:pt x="902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26" name="Google Shape;159;p2"/>
            <p:cNvSpPr/>
            <p:nvPr/>
          </p:nvSpPr>
          <p:spPr>
            <a:xfrm>
              <a:off x="17065939" y="9089506"/>
              <a:ext cx="297819" cy="1177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32" h="21600" extrusionOk="0">
                  <a:moveTo>
                    <a:pt x="17039" y="0"/>
                  </a:moveTo>
                  <a:cubicBezTo>
                    <a:pt x="16930" y="0"/>
                    <a:pt x="16821" y="16"/>
                    <a:pt x="16707" y="48"/>
                  </a:cubicBezTo>
                  <a:lnTo>
                    <a:pt x="1922" y="7664"/>
                  </a:lnTo>
                  <a:cubicBezTo>
                    <a:pt x="-1048" y="9888"/>
                    <a:pt x="-367" y="21600"/>
                    <a:pt x="2534" y="21600"/>
                  </a:cubicBezTo>
                  <a:cubicBezTo>
                    <a:pt x="2625" y="21600"/>
                    <a:pt x="2717" y="21600"/>
                    <a:pt x="2809" y="21568"/>
                  </a:cubicBezTo>
                  <a:lnTo>
                    <a:pt x="17662" y="13952"/>
                  </a:lnTo>
                  <a:cubicBezTo>
                    <a:pt x="20552" y="11744"/>
                    <a:pt x="19894" y="0"/>
                    <a:pt x="1703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27" name="Google Shape;160;p2"/>
            <p:cNvSpPr/>
            <p:nvPr/>
          </p:nvSpPr>
          <p:spPr>
            <a:xfrm>
              <a:off x="16746633" y="9964413"/>
              <a:ext cx="600918" cy="6060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53" h="21600" extrusionOk="0">
                  <a:moveTo>
                    <a:pt x="9744" y="0"/>
                  </a:moveTo>
                  <a:cubicBezTo>
                    <a:pt x="6862" y="0"/>
                    <a:pt x="4019" y="1458"/>
                    <a:pt x="2152" y="4183"/>
                  </a:cubicBezTo>
                  <a:lnTo>
                    <a:pt x="18195" y="15477"/>
                  </a:lnTo>
                  <a:cubicBezTo>
                    <a:pt x="20456" y="10589"/>
                    <a:pt x="18991" y="4590"/>
                    <a:pt x="14798" y="1629"/>
                  </a:cubicBezTo>
                  <a:cubicBezTo>
                    <a:pt x="13236" y="529"/>
                    <a:pt x="11483" y="0"/>
                    <a:pt x="9744" y="0"/>
                  </a:cubicBezTo>
                  <a:close/>
                  <a:moveTo>
                    <a:pt x="1020" y="6182"/>
                  </a:moveTo>
                  <a:cubicBezTo>
                    <a:pt x="-1144" y="11071"/>
                    <a:pt x="220" y="17032"/>
                    <a:pt x="4315" y="19955"/>
                  </a:cubicBezTo>
                  <a:cubicBezTo>
                    <a:pt x="5903" y="21065"/>
                    <a:pt x="7681" y="21600"/>
                    <a:pt x="9439" y="21600"/>
                  </a:cubicBezTo>
                  <a:cubicBezTo>
                    <a:pt x="12321" y="21600"/>
                    <a:pt x="15162" y="20166"/>
                    <a:pt x="17062" y="17477"/>
                  </a:cubicBezTo>
                  <a:lnTo>
                    <a:pt x="1020" y="6182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28" name="Google Shape;161;p2"/>
            <p:cNvSpPr/>
            <p:nvPr/>
          </p:nvSpPr>
          <p:spPr>
            <a:xfrm>
              <a:off x="18001457" y="8661824"/>
              <a:ext cx="505521" cy="4912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820" y="0"/>
                  </a:moveTo>
                  <a:lnTo>
                    <a:pt x="3281" y="6256"/>
                  </a:lnTo>
                  <a:cubicBezTo>
                    <a:pt x="-141" y="8723"/>
                    <a:pt x="-1029" y="13744"/>
                    <a:pt x="1296" y="17446"/>
                  </a:cubicBezTo>
                  <a:lnTo>
                    <a:pt x="1676" y="18082"/>
                  </a:lnTo>
                  <a:cubicBezTo>
                    <a:pt x="3128" y="20369"/>
                    <a:pt x="5489" y="21600"/>
                    <a:pt x="7893" y="21600"/>
                  </a:cubicBezTo>
                  <a:cubicBezTo>
                    <a:pt x="9334" y="21600"/>
                    <a:pt x="10790" y="21155"/>
                    <a:pt x="12075" y="20231"/>
                  </a:cubicBezTo>
                  <a:lnTo>
                    <a:pt x="20571" y="13974"/>
                  </a:lnTo>
                  <a:lnTo>
                    <a:pt x="11820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29" name="Google Shape;162;p2"/>
            <p:cNvSpPr/>
            <p:nvPr/>
          </p:nvSpPr>
          <p:spPr>
            <a:xfrm>
              <a:off x="18334580" y="8457493"/>
              <a:ext cx="505572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3" h="21600" extrusionOk="0">
                  <a:moveTo>
                    <a:pt x="12696" y="0"/>
                  </a:moveTo>
                  <a:cubicBezTo>
                    <a:pt x="11247" y="0"/>
                    <a:pt x="9785" y="452"/>
                    <a:pt x="8496" y="1398"/>
                  </a:cubicBezTo>
                  <a:lnTo>
                    <a:pt x="0" y="7644"/>
                  </a:lnTo>
                  <a:lnTo>
                    <a:pt x="8833" y="21600"/>
                  </a:lnTo>
                  <a:lnTo>
                    <a:pt x="17329" y="15350"/>
                  </a:lnTo>
                  <a:cubicBezTo>
                    <a:pt x="20712" y="12845"/>
                    <a:pt x="21600" y="7828"/>
                    <a:pt x="19275" y="4178"/>
                  </a:cubicBezTo>
                  <a:lnTo>
                    <a:pt x="18895" y="3543"/>
                  </a:lnTo>
                  <a:cubicBezTo>
                    <a:pt x="17443" y="1241"/>
                    <a:pt x="15092" y="0"/>
                    <a:pt x="1269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30" name="Google Shape;163;p2"/>
            <p:cNvSpPr/>
            <p:nvPr/>
          </p:nvSpPr>
          <p:spPr>
            <a:xfrm>
              <a:off x="17824053" y="9676413"/>
              <a:ext cx="930396" cy="9322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7" h="21600" extrusionOk="0">
                  <a:moveTo>
                    <a:pt x="10051" y="0"/>
                  </a:moveTo>
                  <a:cubicBezTo>
                    <a:pt x="9678" y="0"/>
                    <a:pt x="9343" y="277"/>
                    <a:pt x="9299" y="655"/>
                  </a:cubicBezTo>
                  <a:lnTo>
                    <a:pt x="8363" y="7708"/>
                  </a:lnTo>
                  <a:lnTo>
                    <a:pt x="1354" y="6770"/>
                  </a:lnTo>
                  <a:cubicBezTo>
                    <a:pt x="1324" y="6766"/>
                    <a:pt x="1296" y="6764"/>
                    <a:pt x="1265" y="6764"/>
                  </a:cubicBezTo>
                  <a:cubicBezTo>
                    <a:pt x="893" y="6764"/>
                    <a:pt x="560" y="7039"/>
                    <a:pt x="516" y="7419"/>
                  </a:cubicBezTo>
                  <a:lnTo>
                    <a:pt x="12" y="11416"/>
                  </a:lnTo>
                  <a:cubicBezTo>
                    <a:pt x="-61" y="11824"/>
                    <a:pt x="227" y="12186"/>
                    <a:pt x="634" y="12257"/>
                  </a:cubicBezTo>
                  <a:lnTo>
                    <a:pt x="7644" y="13197"/>
                  </a:lnTo>
                  <a:lnTo>
                    <a:pt x="6730" y="20223"/>
                  </a:lnTo>
                  <a:cubicBezTo>
                    <a:pt x="6660" y="20634"/>
                    <a:pt x="6946" y="21018"/>
                    <a:pt x="7380" y="21066"/>
                  </a:cubicBezTo>
                  <a:lnTo>
                    <a:pt x="11339" y="21596"/>
                  </a:lnTo>
                  <a:cubicBezTo>
                    <a:pt x="11369" y="21600"/>
                    <a:pt x="11399" y="21600"/>
                    <a:pt x="11427" y="21600"/>
                  </a:cubicBezTo>
                  <a:cubicBezTo>
                    <a:pt x="11802" y="21600"/>
                    <a:pt x="12135" y="21325"/>
                    <a:pt x="12179" y="20945"/>
                  </a:cubicBezTo>
                  <a:lnTo>
                    <a:pt x="13115" y="13894"/>
                  </a:lnTo>
                  <a:lnTo>
                    <a:pt x="20124" y="14832"/>
                  </a:lnTo>
                  <a:cubicBezTo>
                    <a:pt x="20154" y="14836"/>
                    <a:pt x="20184" y="14838"/>
                    <a:pt x="20213" y="14838"/>
                  </a:cubicBezTo>
                  <a:cubicBezTo>
                    <a:pt x="20585" y="14838"/>
                    <a:pt x="20920" y="14561"/>
                    <a:pt x="20964" y="14183"/>
                  </a:cubicBezTo>
                  <a:lnTo>
                    <a:pt x="21493" y="10186"/>
                  </a:lnTo>
                  <a:cubicBezTo>
                    <a:pt x="21539" y="9778"/>
                    <a:pt x="21253" y="9392"/>
                    <a:pt x="20844" y="9346"/>
                  </a:cubicBezTo>
                  <a:lnTo>
                    <a:pt x="13836" y="8430"/>
                  </a:lnTo>
                  <a:lnTo>
                    <a:pt x="14748" y="1379"/>
                  </a:lnTo>
                  <a:cubicBezTo>
                    <a:pt x="14820" y="968"/>
                    <a:pt x="14532" y="608"/>
                    <a:pt x="14100" y="536"/>
                  </a:cubicBezTo>
                  <a:lnTo>
                    <a:pt x="10139" y="6"/>
                  </a:lnTo>
                  <a:cubicBezTo>
                    <a:pt x="10109" y="2"/>
                    <a:pt x="10079" y="0"/>
                    <a:pt x="1005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31" name="Google Shape;164;p2"/>
            <p:cNvSpPr/>
            <p:nvPr/>
          </p:nvSpPr>
          <p:spPr>
            <a:xfrm>
              <a:off x="16630512" y="11088932"/>
              <a:ext cx="932630" cy="11774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87" h="21600" extrusionOk="0">
                  <a:moveTo>
                    <a:pt x="8120" y="658"/>
                  </a:moveTo>
                  <a:cubicBezTo>
                    <a:pt x="8690" y="658"/>
                    <a:pt x="9249" y="935"/>
                    <a:pt x="9351" y="1552"/>
                  </a:cubicBezTo>
                  <a:cubicBezTo>
                    <a:pt x="9422" y="1857"/>
                    <a:pt x="9327" y="2181"/>
                    <a:pt x="9066" y="2430"/>
                  </a:cubicBezTo>
                  <a:lnTo>
                    <a:pt x="7479" y="2657"/>
                  </a:lnTo>
                  <a:cubicBezTo>
                    <a:pt x="7146" y="2505"/>
                    <a:pt x="6909" y="2257"/>
                    <a:pt x="6838" y="1953"/>
                  </a:cubicBezTo>
                  <a:lnTo>
                    <a:pt x="6838" y="1933"/>
                  </a:lnTo>
                  <a:cubicBezTo>
                    <a:pt x="6609" y="1133"/>
                    <a:pt x="7373" y="658"/>
                    <a:pt x="8120" y="658"/>
                  </a:cubicBezTo>
                  <a:close/>
                  <a:moveTo>
                    <a:pt x="15486" y="4356"/>
                  </a:moveTo>
                  <a:cubicBezTo>
                    <a:pt x="16000" y="4356"/>
                    <a:pt x="16454" y="4657"/>
                    <a:pt x="16559" y="5077"/>
                  </a:cubicBezTo>
                  <a:lnTo>
                    <a:pt x="19333" y="17178"/>
                  </a:lnTo>
                  <a:cubicBezTo>
                    <a:pt x="19427" y="17672"/>
                    <a:pt x="19025" y="18130"/>
                    <a:pt x="18431" y="18207"/>
                  </a:cubicBezTo>
                  <a:lnTo>
                    <a:pt x="5961" y="20036"/>
                  </a:lnTo>
                  <a:cubicBezTo>
                    <a:pt x="5900" y="20044"/>
                    <a:pt x="5840" y="20048"/>
                    <a:pt x="5778" y="20048"/>
                  </a:cubicBezTo>
                  <a:cubicBezTo>
                    <a:pt x="5256" y="20048"/>
                    <a:pt x="4788" y="19758"/>
                    <a:pt x="4705" y="19331"/>
                  </a:cubicBezTo>
                  <a:lnTo>
                    <a:pt x="1955" y="7212"/>
                  </a:lnTo>
                  <a:cubicBezTo>
                    <a:pt x="1835" y="6735"/>
                    <a:pt x="2238" y="6279"/>
                    <a:pt x="2831" y="6202"/>
                  </a:cubicBezTo>
                  <a:lnTo>
                    <a:pt x="4325" y="5992"/>
                  </a:lnTo>
                  <a:cubicBezTo>
                    <a:pt x="4388" y="6312"/>
                    <a:pt x="4747" y="6557"/>
                    <a:pt x="5157" y="6557"/>
                  </a:cubicBezTo>
                  <a:cubicBezTo>
                    <a:pt x="5211" y="6557"/>
                    <a:pt x="5266" y="6554"/>
                    <a:pt x="5320" y="6544"/>
                  </a:cubicBezTo>
                  <a:lnTo>
                    <a:pt x="13120" y="5402"/>
                  </a:lnTo>
                  <a:cubicBezTo>
                    <a:pt x="13572" y="5325"/>
                    <a:pt x="13903" y="4963"/>
                    <a:pt x="13809" y="4582"/>
                  </a:cubicBezTo>
                  <a:lnTo>
                    <a:pt x="15279" y="4372"/>
                  </a:lnTo>
                  <a:cubicBezTo>
                    <a:pt x="15349" y="4361"/>
                    <a:pt x="15418" y="4356"/>
                    <a:pt x="15486" y="4356"/>
                  </a:cubicBezTo>
                  <a:close/>
                  <a:moveTo>
                    <a:pt x="8100" y="0"/>
                  </a:moveTo>
                  <a:cubicBezTo>
                    <a:pt x="7973" y="0"/>
                    <a:pt x="7845" y="8"/>
                    <a:pt x="7716" y="27"/>
                  </a:cubicBezTo>
                  <a:cubicBezTo>
                    <a:pt x="6529" y="198"/>
                    <a:pt x="5748" y="1114"/>
                    <a:pt x="5961" y="2047"/>
                  </a:cubicBezTo>
                  <a:cubicBezTo>
                    <a:pt x="6031" y="2333"/>
                    <a:pt x="6174" y="2582"/>
                    <a:pt x="6388" y="2810"/>
                  </a:cubicBezTo>
                  <a:lnTo>
                    <a:pt x="4846" y="3039"/>
                  </a:lnTo>
                  <a:cubicBezTo>
                    <a:pt x="4207" y="3134"/>
                    <a:pt x="3803" y="3630"/>
                    <a:pt x="3898" y="4124"/>
                  </a:cubicBezTo>
                  <a:lnTo>
                    <a:pt x="4016" y="4582"/>
                  </a:lnTo>
                  <a:lnTo>
                    <a:pt x="1457" y="4963"/>
                  </a:lnTo>
                  <a:cubicBezTo>
                    <a:pt x="483" y="5096"/>
                    <a:pt x="-156" y="5840"/>
                    <a:pt x="33" y="6621"/>
                  </a:cubicBezTo>
                  <a:lnTo>
                    <a:pt x="3164" y="20436"/>
                  </a:lnTo>
                  <a:cubicBezTo>
                    <a:pt x="3311" y="21117"/>
                    <a:pt x="4066" y="21600"/>
                    <a:pt x="4918" y="21600"/>
                  </a:cubicBezTo>
                  <a:cubicBezTo>
                    <a:pt x="5019" y="21600"/>
                    <a:pt x="5123" y="21594"/>
                    <a:pt x="5227" y="21579"/>
                  </a:cubicBezTo>
                  <a:lnTo>
                    <a:pt x="19831" y="19427"/>
                  </a:lnTo>
                  <a:cubicBezTo>
                    <a:pt x="20803" y="19294"/>
                    <a:pt x="21444" y="18530"/>
                    <a:pt x="21253" y="17768"/>
                  </a:cubicBezTo>
                  <a:lnTo>
                    <a:pt x="18124" y="3953"/>
                  </a:lnTo>
                  <a:cubicBezTo>
                    <a:pt x="17957" y="3265"/>
                    <a:pt x="17218" y="2783"/>
                    <a:pt x="16396" y="2783"/>
                  </a:cubicBezTo>
                  <a:cubicBezTo>
                    <a:pt x="16284" y="2783"/>
                    <a:pt x="16173" y="2791"/>
                    <a:pt x="16061" y="2810"/>
                  </a:cubicBezTo>
                  <a:lnTo>
                    <a:pt x="13501" y="3191"/>
                  </a:lnTo>
                  <a:lnTo>
                    <a:pt x="13405" y="2734"/>
                  </a:lnTo>
                  <a:cubicBezTo>
                    <a:pt x="13297" y="2284"/>
                    <a:pt x="12782" y="1961"/>
                    <a:pt x="12226" y="1961"/>
                  </a:cubicBezTo>
                  <a:cubicBezTo>
                    <a:pt x="12170" y="1961"/>
                    <a:pt x="12113" y="1964"/>
                    <a:pt x="12055" y="1972"/>
                  </a:cubicBezTo>
                  <a:lnTo>
                    <a:pt x="10157" y="2257"/>
                  </a:lnTo>
                  <a:cubicBezTo>
                    <a:pt x="10277" y="1991"/>
                    <a:pt x="10277" y="1705"/>
                    <a:pt x="10229" y="1418"/>
                  </a:cubicBezTo>
                  <a:cubicBezTo>
                    <a:pt x="10040" y="589"/>
                    <a:pt x="9118" y="0"/>
                    <a:pt x="810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32" name="Google Shape;165;p2"/>
            <p:cNvSpPr/>
            <p:nvPr/>
          </p:nvSpPr>
          <p:spPr>
            <a:xfrm>
              <a:off x="16812136" y="11512252"/>
              <a:ext cx="134852" cy="1347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9" h="21600" extrusionOk="0">
                  <a:moveTo>
                    <a:pt x="8953" y="0"/>
                  </a:moveTo>
                  <a:cubicBezTo>
                    <a:pt x="8442" y="0"/>
                    <a:pt x="7920" y="56"/>
                    <a:pt x="7409" y="154"/>
                  </a:cubicBezTo>
                  <a:cubicBezTo>
                    <a:pt x="-477" y="1819"/>
                    <a:pt x="-2683" y="14144"/>
                    <a:pt x="3809" y="19641"/>
                  </a:cubicBezTo>
                  <a:cubicBezTo>
                    <a:pt x="5446" y="20998"/>
                    <a:pt x="7223" y="21600"/>
                    <a:pt x="8942" y="21600"/>
                  </a:cubicBezTo>
                  <a:cubicBezTo>
                    <a:pt x="14191" y="21600"/>
                    <a:pt x="18917" y="15962"/>
                    <a:pt x="17779" y="8813"/>
                  </a:cubicBezTo>
                  <a:cubicBezTo>
                    <a:pt x="17036" y="3609"/>
                    <a:pt x="13203" y="0"/>
                    <a:pt x="895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33" name="Google Shape;166;p2"/>
            <p:cNvSpPr/>
            <p:nvPr/>
          </p:nvSpPr>
          <p:spPr>
            <a:xfrm>
              <a:off x="16992269" y="11472643"/>
              <a:ext cx="304207" cy="1172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98" h="21600" extrusionOk="0">
                  <a:moveTo>
                    <a:pt x="17301" y="0"/>
                  </a:moveTo>
                  <a:cubicBezTo>
                    <a:pt x="17105" y="0"/>
                    <a:pt x="16897" y="64"/>
                    <a:pt x="16672" y="209"/>
                  </a:cubicBezTo>
                  <a:lnTo>
                    <a:pt x="16604" y="209"/>
                  </a:lnTo>
                  <a:lnTo>
                    <a:pt x="2019" y="7666"/>
                  </a:lnTo>
                  <a:cubicBezTo>
                    <a:pt x="-1005" y="9289"/>
                    <a:pt x="-415" y="21600"/>
                    <a:pt x="2345" y="21600"/>
                  </a:cubicBezTo>
                  <a:cubicBezTo>
                    <a:pt x="2519" y="21600"/>
                    <a:pt x="2699" y="21552"/>
                    <a:pt x="2890" y="21439"/>
                  </a:cubicBezTo>
                  <a:lnTo>
                    <a:pt x="17476" y="13982"/>
                  </a:lnTo>
                  <a:cubicBezTo>
                    <a:pt x="20595" y="12729"/>
                    <a:pt x="20050" y="0"/>
                    <a:pt x="1730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34" name="Google Shape;167;p2"/>
            <p:cNvSpPr/>
            <p:nvPr/>
          </p:nvSpPr>
          <p:spPr>
            <a:xfrm>
              <a:off x="16846424" y="11700268"/>
              <a:ext cx="134653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10" h="21600" extrusionOk="0">
                  <a:moveTo>
                    <a:pt x="8984" y="0"/>
                  </a:moveTo>
                  <a:cubicBezTo>
                    <a:pt x="8482" y="0"/>
                    <a:pt x="7957" y="56"/>
                    <a:pt x="7444" y="154"/>
                  </a:cubicBezTo>
                  <a:cubicBezTo>
                    <a:pt x="-480" y="1817"/>
                    <a:pt x="-2697" y="14134"/>
                    <a:pt x="3826" y="19629"/>
                  </a:cubicBezTo>
                  <a:cubicBezTo>
                    <a:pt x="5472" y="20985"/>
                    <a:pt x="7245" y="21600"/>
                    <a:pt x="8961" y="21600"/>
                  </a:cubicBezTo>
                  <a:cubicBezTo>
                    <a:pt x="14200" y="21600"/>
                    <a:pt x="18903" y="15952"/>
                    <a:pt x="17864" y="8808"/>
                  </a:cubicBezTo>
                  <a:cubicBezTo>
                    <a:pt x="17118" y="3607"/>
                    <a:pt x="13267" y="0"/>
                    <a:pt x="898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35" name="Google Shape;168;p2"/>
            <p:cNvSpPr/>
            <p:nvPr/>
          </p:nvSpPr>
          <p:spPr>
            <a:xfrm>
              <a:off x="17030024" y="11660571"/>
              <a:ext cx="295977" cy="117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1" h="21600" extrusionOk="0">
                  <a:moveTo>
                    <a:pt x="17073" y="0"/>
                  </a:moveTo>
                  <a:cubicBezTo>
                    <a:pt x="16981" y="0"/>
                    <a:pt x="16889" y="0"/>
                    <a:pt x="16796" y="32"/>
                  </a:cubicBezTo>
                  <a:lnTo>
                    <a:pt x="1841" y="7467"/>
                  </a:lnTo>
                  <a:cubicBezTo>
                    <a:pt x="-1046" y="9887"/>
                    <a:pt x="-326" y="21600"/>
                    <a:pt x="2527" y="21600"/>
                  </a:cubicBezTo>
                  <a:cubicBezTo>
                    <a:pt x="2596" y="21600"/>
                    <a:pt x="2665" y="21600"/>
                    <a:pt x="2735" y="21584"/>
                  </a:cubicBezTo>
                  <a:lnTo>
                    <a:pt x="17690" y="13957"/>
                  </a:lnTo>
                  <a:cubicBezTo>
                    <a:pt x="20554" y="11553"/>
                    <a:pt x="19926" y="0"/>
                    <a:pt x="1707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36" name="Google Shape;169;p2"/>
            <p:cNvSpPr/>
            <p:nvPr/>
          </p:nvSpPr>
          <p:spPr>
            <a:xfrm>
              <a:off x="16883054" y="11900761"/>
              <a:ext cx="135371" cy="1357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0" h="21600" extrusionOk="0">
                  <a:moveTo>
                    <a:pt x="8982" y="0"/>
                  </a:moveTo>
                  <a:cubicBezTo>
                    <a:pt x="8484" y="0"/>
                    <a:pt x="7985" y="56"/>
                    <a:pt x="7487" y="153"/>
                  </a:cubicBezTo>
                  <a:cubicBezTo>
                    <a:pt x="-509" y="1805"/>
                    <a:pt x="-2722" y="14034"/>
                    <a:pt x="3906" y="19657"/>
                  </a:cubicBezTo>
                  <a:cubicBezTo>
                    <a:pt x="5505" y="21003"/>
                    <a:pt x="7244" y="21600"/>
                    <a:pt x="8947" y="21600"/>
                  </a:cubicBezTo>
                  <a:cubicBezTo>
                    <a:pt x="14127" y="21600"/>
                    <a:pt x="18878" y="16006"/>
                    <a:pt x="17835" y="8912"/>
                  </a:cubicBezTo>
                  <a:cubicBezTo>
                    <a:pt x="16978" y="3720"/>
                    <a:pt x="13223" y="0"/>
                    <a:pt x="898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37" name="Google Shape;170;p2"/>
            <p:cNvSpPr/>
            <p:nvPr/>
          </p:nvSpPr>
          <p:spPr>
            <a:xfrm>
              <a:off x="17065167" y="11860802"/>
              <a:ext cx="299332" cy="1182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64" h="21600" extrusionOk="0">
                  <a:moveTo>
                    <a:pt x="17088" y="0"/>
                  </a:moveTo>
                  <a:cubicBezTo>
                    <a:pt x="16963" y="0"/>
                    <a:pt x="16837" y="32"/>
                    <a:pt x="16700" y="80"/>
                  </a:cubicBezTo>
                  <a:lnTo>
                    <a:pt x="1966" y="7668"/>
                  </a:lnTo>
                  <a:cubicBezTo>
                    <a:pt x="-1022" y="9660"/>
                    <a:pt x="-400" y="21600"/>
                    <a:pt x="2462" y="21600"/>
                  </a:cubicBezTo>
                  <a:cubicBezTo>
                    <a:pt x="2588" y="21600"/>
                    <a:pt x="2719" y="21568"/>
                    <a:pt x="2850" y="21520"/>
                  </a:cubicBezTo>
                  <a:lnTo>
                    <a:pt x="17653" y="14124"/>
                  </a:lnTo>
                  <a:cubicBezTo>
                    <a:pt x="20578" y="11940"/>
                    <a:pt x="19951" y="0"/>
                    <a:pt x="1708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38" name="Google Shape;171;p2"/>
            <p:cNvSpPr/>
            <p:nvPr/>
          </p:nvSpPr>
          <p:spPr>
            <a:xfrm>
              <a:off x="16744622" y="12736145"/>
              <a:ext cx="602929" cy="6074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199" h="21600" extrusionOk="0">
                  <a:moveTo>
                    <a:pt x="9723" y="0"/>
                  </a:moveTo>
                  <a:cubicBezTo>
                    <a:pt x="6867" y="0"/>
                    <a:pt x="4053" y="1452"/>
                    <a:pt x="2203" y="4164"/>
                  </a:cubicBezTo>
                  <a:lnTo>
                    <a:pt x="18146" y="15432"/>
                  </a:lnTo>
                  <a:cubicBezTo>
                    <a:pt x="20394" y="10555"/>
                    <a:pt x="18938" y="4570"/>
                    <a:pt x="14771" y="1654"/>
                  </a:cubicBezTo>
                  <a:cubicBezTo>
                    <a:pt x="13210" y="537"/>
                    <a:pt x="11457" y="0"/>
                    <a:pt x="9723" y="0"/>
                  </a:cubicBezTo>
                  <a:close/>
                  <a:moveTo>
                    <a:pt x="1078" y="6159"/>
                  </a:moveTo>
                  <a:cubicBezTo>
                    <a:pt x="-1206" y="11036"/>
                    <a:pt x="250" y="17055"/>
                    <a:pt x="4417" y="19974"/>
                  </a:cubicBezTo>
                  <a:cubicBezTo>
                    <a:pt x="5973" y="21073"/>
                    <a:pt x="7720" y="21600"/>
                    <a:pt x="9451" y="21600"/>
                  </a:cubicBezTo>
                  <a:cubicBezTo>
                    <a:pt x="12326" y="21600"/>
                    <a:pt x="15163" y="20145"/>
                    <a:pt x="17021" y="17427"/>
                  </a:cubicBezTo>
                  <a:lnTo>
                    <a:pt x="1078" y="6159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39" name="Google Shape;172;p2"/>
            <p:cNvSpPr/>
            <p:nvPr/>
          </p:nvSpPr>
          <p:spPr>
            <a:xfrm>
              <a:off x="18001457" y="11433207"/>
              <a:ext cx="505521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820" y="0"/>
                  </a:moveTo>
                  <a:lnTo>
                    <a:pt x="3281" y="6250"/>
                  </a:lnTo>
                  <a:cubicBezTo>
                    <a:pt x="-141" y="8755"/>
                    <a:pt x="-1029" y="13772"/>
                    <a:pt x="1296" y="17464"/>
                  </a:cubicBezTo>
                  <a:lnTo>
                    <a:pt x="1676" y="18057"/>
                  </a:lnTo>
                  <a:cubicBezTo>
                    <a:pt x="3125" y="20359"/>
                    <a:pt x="5475" y="21600"/>
                    <a:pt x="7872" y="21600"/>
                  </a:cubicBezTo>
                  <a:cubicBezTo>
                    <a:pt x="9320" y="21600"/>
                    <a:pt x="10783" y="21148"/>
                    <a:pt x="12075" y="20202"/>
                  </a:cubicBezTo>
                  <a:lnTo>
                    <a:pt x="20571" y="13956"/>
                  </a:lnTo>
                  <a:lnTo>
                    <a:pt x="11820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40" name="Google Shape;173;p2"/>
            <p:cNvSpPr/>
            <p:nvPr/>
          </p:nvSpPr>
          <p:spPr>
            <a:xfrm>
              <a:off x="18334580" y="11228963"/>
              <a:ext cx="505572" cy="4919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3" h="21600" extrusionOk="0">
                  <a:moveTo>
                    <a:pt x="12696" y="0"/>
                  </a:moveTo>
                  <a:cubicBezTo>
                    <a:pt x="11247" y="0"/>
                    <a:pt x="9785" y="452"/>
                    <a:pt x="8496" y="1398"/>
                  </a:cubicBezTo>
                  <a:lnTo>
                    <a:pt x="0" y="7646"/>
                  </a:lnTo>
                  <a:lnTo>
                    <a:pt x="8833" y="21600"/>
                  </a:lnTo>
                  <a:lnTo>
                    <a:pt x="17329" y="15353"/>
                  </a:lnTo>
                  <a:cubicBezTo>
                    <a:pt x="20712" y="12844"/>
                    <a:pt x="21600" y="7829"/>
                    <a:pt x="19275" y="4179"/>
                  </a:cubicBezTo>
                  <a:lnTo>
                    <a:pt x="18895" y="3543"/>
                  </a:lnTo>
                  <a:cubicBezTo>
                    <a:pt x="17443" y="1241"/>
                    <a:pt x="15092" y="0"/>
                    <a:pt x="1269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41" name="Google Shape;174;p2"/>
            <p:cNvSpPr/>
            <p:nvPr/>
          </p:nvSpPr>
          <p:spPr>
            <a:xfrm>
              <a:off x="17823260" y="12448668"/>
              <a:ext cx="931189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15" h="21600" extrusionOk="0">
                  <a:moveTo>
                    <a:pt x="10032" y="0"/>
                  </a:moveTo>
                  <a:cubicBezTo>
                    <a:pt x="9673" y="0"/>
                    <a:pt x="9361" y="273"/>
                    <a:pt x="9317" y="662"/>
                  </a:cubicBezTo>
                  <a:lnTo>
                    <a:pt x="8381" y="7696"/>
                  </a:lnTo>
                  <a:lnTo>
                    <a:pt x="1372" y="6756"/>
                  </a:lnTo>
                  <a:cubicBezTo>
                    <a:pt x="1342" y="6754"/>
                    <a:pt x="1314" y="6752"/>
                    <a:pt x="1283" y="6752"/>
                  </a:cubicBezTo>
                  <a:cubicBezTo>
                    <a:pt x="911" y="6752"/>
                    <a:pt x="578" y="7027"/>
                    <a:pt x="534" y="7407"/>
                  </a:cubicBezTo>
                  <a:lnTo>
                    <a:pt x="5" y="11405"/>
                  </a:lnTo>
                  <a:cubicBezTo>
                    <a:pt x="-43" y="11816"/>
                    <a:pt x="245" y="12200"/>
                    <a:pt x="652" y="12249"/>
                  </a:cubicBezTo>
                  <a:lnTo>
                    <a:pt x="7662" y="13187"/>
                  </a:lnTo>
                  <a:lnTo>
                    <a:pt x="6748" y="20222"/>
                  </a:lnTo>
                  <a:cubicBezTo>
                    <a:pt x="6678" y="20631"/>
                    <a:pt x="6964" y="21017"/>
                    <a:pt x="7398" y="21066"/>
                  </a:cubicBezTo>
                  <a:lnTo>
                    <a:pt x="11357" y="21596"/>
                  </a:lnTo>
                  <a:cubicBezTo>
                    <a:pt x="11387" y="21598"/>
                    <a:pt x="11417" y="21600"/>
                    <a:pt x="11445" y="21600"/>
                  </a:cubicBezTo>
                  <a:cubicBezTo>
                    <a:pt x="11820" y="21600"/>
                    <a:pt x="12153" y="21325"/>
                    <a:pt x="12197" y="20944"/>
                  </a:cubicBezTo>
                  <a:lnTo>
                    <a:pt x="13133" y="13912"/>
                  </a:lnTo>
                  <a:lnTo>
                    <a:pt x="20142" y="14826"/>
                  </a:lnTo>
                  <a:cubicBezTo>
                    <a:pt x="20182" y="14832"/>
                    <a:pt x="20220" y="14836"/>
                    <a:pt x="20261" y="14836"/>
                  </a:cubicBezTo>
                  <a:cubicBezTo>
                    <a:pt x="20622" y="14836"/>
                    <a:pt x="20938" y="14545"/>
                    <a:pt x="20982" y="14177"/>
                  </a:cubicBezTo>
                  <a:lnTo>
                    <a:pt x="21511" y="10201"/>
                  </a:lnTo>
                  <a:cubicBezTo>
                    <a:pt x="21557" y="9768"/>
                    <a:pt x="21271" y="9406"/>
                    <a:pt x="20862" y="9333"/>
                  </a:cubicBezTo>
                  <a:lnTo>
                    <a:pt x="13854" y="8419"/>
                  </a:lnTo>
                  <a:lnTo>
                    <a:pt x="14766" y="1384"/>
                  </a:lnTo>
                  <a:cubicBezTo>
                    <a:pt x="14838" y="975"/>
                    <a:pt x="14550" y="589"/>
                    <a:pt x="14118" y="518"/>
                  </a:cubicBezTo>
                  <a:lnTo>
                    <a:pt x="10157" y="12"/>
                  </a:lnTo>
                  <a:cubicBezTo>
                    <a:pt x="10115" y="4"/>
                    <a:pt x="10073" y="0"/>
                    <a:pt x="1003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42" name="Google Shape;175;p2"/>
            <p:cNvSpPr/>
            <p:nvPr/>
          </p:nvSpPr>
          <p:spPr>
            <a:xfrm>
              <a:off x="13858312" y="0"/>
              <a:ext cx="934092" cy="1179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0" h="21600" extrusionOk="0">
                  <a:moveTo>
                    <a:pt x="8127" y="695"/>
                  </a:moveTo>
                  <a:cubicBezTo>
                    <a:pt x="8703" y="695"/>
                    <a:pt x="9266" y="970"/>
                    <a:pt x="9368" y="1588"/>
                  </a:cubicBezTo>
                  <a:cubicBezTo>
                    <a:pt x="9439" y="1911"/>
                    <a:pt x="9322" y="2216"/>
                    <a:pt x="9085" y="2462"/>
                  </a:cubicBezTo>
                  <a:lnTo>
                    <a:pt x="7496" y="2690"/>
                  </a:lnTo>
                  <a:cubicBezTo>
                    <a:pt x="7163" y="2539"/>
                    <a:pt x="6926" y="2272"/>
                    <a:pt x="6855" y="1968"/>
                  </a:cubicBezTo>
                  <a:lnTo>
                    <a:pt x="6831" y="1968"/>
                  </a:lnTo>
                  <a:cubicBezTo>
                    <a:pt x="6604" y="1169"/>
                    <a:pt x="7374" y="695"/>
                    <a:pt x="8127" y="695"/>
                  </a:cubicBezTo>
                  <a:close/>
                  <a:moveTo>
                    <a:pt x="15501" y="4392"/>
                  </a:moveTo>
                  <a:cubicBezTo>
                    <a:pt x="16025" y="4392"/>
                    <a:pt x="16491" y="4681"/>
                    <a:pt x="16576" y="5125"/>
                  </a:cubicBezTo>
                  <a:lnTo>
                    <a:pt x="19350" y="17205"/>
                  </a:lnTo>
                  <a:cubicBezTo>
                    <a:pt x="19446" y="17679"/>
                    <a:pt x="19065" y="18117"/>
                    <a:pt x="18472" y="18213"/>
                  </a:cubicBezTo>
                  <a:lnTo>
                    <a:pt x="6002" y="20039"/>
                  </a:lnTo>
                  <a:cubicBezTo>
                    <a:pt x="5933" y="20050"/>
                    <a:pt x="5863" y="20055"/>
                    <a:pt x="5793" y="20055"/>
                  </a:cubicBezTo>
                  <a:cubicBezTo>
                    <a:pt x="5281" y="20055"/>
                    <a:pt x="4825" y="19755"/>
                    <a:pt x="4722" y="19335"/>
                  </a:cubicBezTo>
                  <a:lnTo>
                    <a:pt x="1972" y="7237"/>
                  </a:lnTo>
                  <a:cubicBezTo>
                    <a:pt x="1876" y="6761"/>
                    <a:pt x="2257" y="6323"/>
                    <a:pt x="2872" y="6229"/>
                  </a:cubicBezTo>
                  <a:lnTo>
                    <a:pt x="4342" y="6020"/>
                  </a:lnTo>
                  <a:cubicBezTo>
                    <a:pt x="4425" y="6354"/>
                    <a:pt x="4784" y="6585"/>
                    <a:pt x="5190" y="6585"/>
                  </a:cubicBezTo>
                  <a:cubicBezTo>
                    <a:pt x="5246" y="6585"/>
                    <a:pt x="5303" y="6581"/>
                    <a:pt x="5361" y="6571"/>
                  </a:cubicBezTo>
                  <a:lnTo>
                    <a:pt x="13139" y="5430"/>
                  </a:lnTo>
                  <a:cubicBezTo>
                    <a:pt x="13613" y="5373"/>
                    <a:pt x="13920" y="4993"/>
                    <a:pt x="13850" y="4632"/>
                  </a:cubicBezTo>
                  <a:lnTo>
                    <a:pt x="15320" y="4403"/>
                  </a:lnTo>
                  <a:cubicBezTo>
                    <a:pt x="15379" y="4395"/>
                    <a:pt x="15441" y="4392"/>
                    <a:pt x="15501" y="4392"/>
                  </a:cubicBezTo>
                  <a:close/>
                  <a:moveTo>
                    <a:pt x="8091" y="0"/>
                  </a:moveTo>
                  <a:cubicBezTo>
                    <a:pt x="7966" y="0"/>
                    <a:pt x="7836" y="10"/>
                    <a:pt x="7709" y="27"/>
                  </a:cubicBezTo>
                  <a:cubicBezTo>
                    <a:pt x="6524" y="217"/>
                    <a:pt x="5741" y="1131"/>
                    <a:pt x="5978" y="2082"/>
                  </a:cubicBezTo>
                  <a:cubicBezTo>
                    <a:pt x="6050" y="2368"/>
                    <a:pt x="6191" y="2615"/>
                    <a:pt x="6405" y="2842"/>
                  </a:cubicBezTo>
                  <a:lnTo>
                    <a:pt x="4863" y="3090"/>
                  </a:lnTo>
                  <a:cubicBezTo>
                    <a:pt x="4224" y="3186"/>
                    <a:pt x="3820" y="3660"/>
                    <a:pt x="3915" y="4175"/>
                  </a:cubicBezTo>
                  <a:lnTo>
                    <a:pt x="4035" y="4632"/>
                  </a:lnTo>
                  <a:lnTo>
                    <a:pt x="1450" y="4993"/>
                  </a:lnTo>
                  <a:cubicBezTo>
                    <a:pt x="502" y="5125"/>
                    <a:pt x="-139" y="5868"/>
                    <a:pt x="26" y="6629"/>
                  </a:cubicBezTo>
                  <a:lnTo>
                    <a:pt x="3181" y="20419"/>
                  </a:lnTo>
                  <a:cubicBezTo>
                    <a:pt x="3328" y="21116"/>
                    <a:pt x="4083" y="21600"/>
                    <a:pt x="4935" y="21600"/>
                  </a:cubicBezTo>
                  <a:cubicBezTo>
                    <a:pt x="5036" y="21600"/>
                    <a:pt x="5140" y="21594"/>
                    <a:pt x="5244" y="21579"/>
                  </a:cubicBezTo>
                  <a:lnTo>
                    <a:pt x="19848" y="19430"/>
                  </a:lnTo>
                  <a:cubicBezTo>
                    <a:pt x="20820" y="19277"/>
                    <a:pt x="21461" y="18536"/>
                    <a:pt x="21294" y="17775"/>
                  </a:cubicBezTo>
                  <a:lnTo>
                    <a:pt x="18141" y="3984"/>
                  </a:lnTo>
                  <a:cubicBezTo>
                    <a:pt x="17994" y="3298"/>
                    <a:pt x="17259" y="2817"/>
                    <a:pt x="16421" y="2817"/>
                  </a:cubicBezTo>
                  <a:cubicBezTo>
                    <a:pt x="16307" y="2817"/>
                    <a:pt x="16194" y="2825"/>
                    <a:pt x="16078" y="2842"/>
                  </a:cubicBezTo>
                  <a:lnTo>
                    <a:pt x="13518" y="3224"/>
                  </a:lnTo>
                  <a:lnTo>
                    <a:pt x="13422" y="2786"/>
                  </a:lnTo>
                  <a:cubicBezTo>
                    <a:pt x="13318" y="2329"/>
                    <a:pt x="12821" y="2010"/>
                    <a:pt x="12263" y="2010"/>
                  </a:cubicBezTo>
                  <a:cubicBezTo>
                    <a:pt x="12191" y="2010"/>
                    <a:pt x="12120" y="2015"/>
                    <a:pt x="12048" y="2026"/>
                  </a:cubicBezTo>
                  <a:lnTo>
                    <a:pt x="10174" y="2291"/>
                  </a:lnTo>
                  <a:cubicBezTo>
                    <a:pt x="10270" y="2026"/>
                    <a:pt x="10294" y="1740"/>
                    <a:pt x="10246" y="1473"/>
                  </a:cubicBezTo>
                  <a:cubicBezTo>
                    <a:pt x="10055" y="609"/>
                    <a:pt x="9131" y="0"/>
                    <a:pt x="809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43" name="Google Shape;176;p2"/>
            <p:cNvSpPr/>
            <p:nvPr/>
          </p:nvSpPr>
          <p:spPr>
            <a:xfrm>
              <a:off x="14040667" y="425151"/>
              <a:ext cx="134866" cy="1348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2" h="21600" extrusionOk="0">
                  <a:moveTo>
                    <a:pt x="9087" y="0"/>
                  </a:moveTo>
                  <a:cubicBezTo>
                    <a:pt x="8530" y="0"/>
                    <a:pt x="7973" y="56"/>
                    <a:pt x="7404" y="196"/>
                  </a:cubicBezTo>
                  <a:cubicBezTo>
                    <a:pt x="-477" y="1858"/>
                    <a:pt x="-2682" y="14167"/>
                    <a:pt x="3806" y="19658"/>
                  </a:cubicBezTo>
                  <a:cubicBezTo>
                    <a:pt x="5431" y="20999"/>
                    <a:pt x="7184" y="21600"/>
                    <a:pt x="8890" y="21600"/>
                  </a:cubicBezTo>
                  <a:cubicBezTo>
                    <a:pt x="14148" y="21600"/>
                    <a:pt x="18918" y="15886"/>
                    <a:pt x="17769" y="8844"/>
                  </a:cubicBezTo>
                  <a:cubicBezTo>
                    <a:pt x="16910" y="3702"/>
                    <a:pt x="13266" y="0"/>
                    <a:pt x="908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44" name="Google Shape;177;p2"/>
            <p:cNvSpPr/>
            <p:nvPr/>
          </p:nvSpPr>
          <p:spPr>
            <a:xfrm>
              <a:off x="14219273" y="386065"/>
              <a:ext cx="303718" cy="1181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46" h="21600" extrusionOk="0">
                  <a:moveTo>
                    <a:pt x="17163" y="0"/>
                  </a:moveTo>
                  <a:cubicBezTo>
                    <a:pt x="16989" y="0"/>
                    <a:pt x="16809" y="48"/>
                    <a:pt x="16624" y="160"/>
                  </a:cubicBezTo>
                  <a:lnTo>
                    <a:pt x="16692" y="160"/>
                  </a:lnTo>
                  <a:lnTo>
                    <a:pt x="2116" y="7753"/>
                  </a:lnTo>
                  <a:cubicBezTo>
                    <a:pt x="-1023" y="8822"/>
                    <a:pt x="-450" y="21600"/>
                    <a:pt x="2396" y="21600"/>
                  </a:cubicBezTo>
                  <a:cubicBezTo>
                    <a:pt x="2582" y="21600"/>
                    <a:pt x="2778" y="21536"/>
                    <a:pt x="2986" y="21425"/>
                  </a:cubicBezTo>
                  <a:lnTo>
                    <a:pt x="17556" y="13831"/>
                  </a:lnTo>
                  <a:cubicBezTo>
                    <a:pt x="20577" y="12220"/>
                    <a:pt x="19926" y="0"/>
                    <a:pt x="1716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45" name="Google Shape;178;p2"/>
            <p:cNvSpPr/>
            <p:nvPr/>
          </p:nvSpPr>
          <p:spPr>
            <a:xfrm>
              <a:off x="14074954" y="613429"/>
              <a:ext cx="134673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03" h="21600" extrusionOk="0">
                  <a:moveTo>
                    <a:pt x="8991" y="0"/>
                  </a:moveTo>
                  <a:cubicBezTo>
                    <a:pt x="8478" y="0"/>
                    <a:pt x="7953" y="42"/>
                    <a:pt x="7440" y="154"/>
                  </a:cubicBezTo>
                  <a:cubicBezTo>
                    <a:pt x="-479" y="1819"/>
                    <a:pt x="-2695" y="14144"/>
                    <a:pt x="3825" y="19641"/>
                  </a:cubicBezTo>
                  <a:cubicBezTo>
                    <a:pt x="5469" y="20998"/>
                    <a:pt x="7242" y="21600"/>
                    <a:pt x="8956" y="21600"/>
                  </a:cubicBezTo>
                  <a:cubicBezTo>
                    <a:pt x="14193" y="21600"/>
                    <a:pt x="18905" y="15962"/>
                    <a:pt x="17855" y="8813"/>
                  </a:cubicBezTo>
                  <a:cubicBezTo>
                    <a:pt x="17109" y="3609"/>
                    <a:pt x="13260" y="0"/>
                    <a:pt x="899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46" name="Google Shape;179;p2"/>
            <p:cNvSpPr/>
            <p:nvPr/>
          </p:nvSpPr>
          <p:spPr>
            <a:xfrm>
              <a:off x="14258618" y="573732"/>
              <a:ext cx="296339" cy="117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02" h="21600" extrusionOk="0">
                  <a:moveTo>
                    <a:pt x="16943" y="0"/>
                  </a:moveTo>
                  <a:cubicBezTo>
                    <a:pt x="16874" y="0"/>
                    <a:pt x="16805" y="16"/>
                    <a:pt x="16730" y="32"/>
                  </a:cubicBezTo>
                  <a:lnTo>
                    <a:pt x="1831" y="7659"/>
                  </a:lnTo>
                  <a:cubicBezTo>
                    <a:pt x="-1040" y="9903"/>
                    <a:pt x="-322" y="21600"/>
                    <a:pt x="2514" y="21600"/>
                  </a:cubicBezTo>
                  <a:cubicBezTo>
                    <a:pt x="2583" y="21600"/>
                    <a:pt x="2652" y="21600"/>
                    <a:pt x="2721" y="21584"/>
                  </a:cubicBezTo>
                  <a:lnTo>
                    <a:pt x="17620" y="13957"/>
                  </a:lnTo>
                  <a:cubicBezTo>
                    <a:pt x="20560" y="11713"/>
                    <a:pt x="19842" y="0"/>
                    <a:pt x="1694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47" name="Google Shape;180;p2"/>
            <p:cNvSpPr/>
            <p:nvPr/>
          </p:nvSpPr>
          <p:spPr>
            <a:xfrm>
              <a:off x="14111521" y="813921"/>
              <a:ext cx="134681" cy="1356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07" h="21600" extrusionOk="0">
                  <a:moveTo>
                    <a:pt x="8907" y="0"/>
                  </a:moveTo>
                  <a:cubicBezTo>
                    <a:pt x="8396" y="0"/>
                    <a:pt x="7886" y="42"/>
                    <a:pt x="7375" y="153"/>
                  </a:cubicBezTo>
                  <a:cubicBezTo>
                    <a:pt x="-501" y="1806"/>
                    <a:pt x="-2717" y="14043"/>
                    <a:pt x="3918" y="19669"/>
                  </a:cubicBezTo>
                  <a:cubicBezTo>
                    <a:pt x="5508" y="21003"/>
                    <a:pt x="7225" y="21600"/>
                    <a:pt x="8907" y="21600"/>
                  </a:cubicBezTo>
                  <a:cubicBezTo>
                    <a:pt x="14115" y="21600"/>
                    <a:pt x="18883" y="15919"/>
                    <a:pt x="17735" y="8918"/>
                  </a:cubicBezTo>
                  <a:cubicBezTo>
                    <a:pt x="16992" y="3598"/>
                    <a:pt x="13164" y="0"/>
                    <a:pt x="890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48" name="Google Shape;181;p2"/>
            <p:cNvSpPr/>
            <p:nvPr/>
          </p:nvSpPr>
          <p:spPr>
            <a:xfrm>
              <a:off x="14293504" y="774050"/>
              <a:ext cx="299357" cy="1190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9" h="21600" extrusionOk="0">
                  <a:moveTo>
                    <a:pt x="17018" y="0"/>
                  </a:moveTo>
                  <a:cubicBezTo>
                    <a:pt x="16910" y="0"/>
                    <a:pt x="16796" y="16"/>
                    <a:pt x="16683" y="63"/>
                  </a:cubicBezTo>
                  <a:lnTo>
                    <a:pt x="1913" y="7601"/>
                  </a:lnTo>
                  <a:cubicBezTo>
                    <a:pt x="-1030" y="9596"/>
                    <a:pt x="-381" y="21600"/>
                    <a:pt x="2527" y="21600"/>
                  </a:cubicBezTo>
                  <a:cubicBezTo>
                    <a:pt x="2635" y="21600"/>
                    <a:pt x="2744" y="21584"/>
                    <a:pt x="2857" y="21552"/>
                  </a:cubicBezTo>
                  <a:lnTo>
                    <a:pt x="17565" y="14015"/>
                  </a:lnTo>
                  <a:cubicBezTo>
                    <a:pt x="20570" y="11829"/>
                    <a:pt x="19921" y="0"/>
                    <a:pt x="1701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49" name="Google Shape;182;p2"/>
            <p:cNvSpPr/>
            <p:nvPr/>
          </p:nvSpPr>
          <p:spPr>
            <a:xfrm>
              <a:off x="13973195" y="1649044"/>
              <a:ext cx="602920" cy="6076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01" h="21600" extrusionOk="0">
                  <a:moveTo>
                    <a:pt x="9748" y="0"/>
                  </a:moveTo>
                  <a:cubicBezTo>
                    <a:pt x="6867" y="0"/>
                    <a:pt x="4038" y="1451"/>
                    <a:pt x="2201" y="4171"/>
                  </a:cubicBezTo>
                  <a:lnTo>
                    <a:pt x="18147" y="15432"/>
                  </a:lnTo>
                  <a:cubicBezTo>
                    <a:pt x="20395" y="10560"/>
                    <a:pt x="18939" y="4577"/>
                    <a:pt x="14805" y="1625"/>
                  </a:cubicBezTo>
                  <a:cubicBezTo>
                    <a:pt x="13238" y="527"/>
                    <a:pt x="11484" y="0"/>
                    <a:pt x="9748" y="0"/>
                  </a:cubicBezTo>
                  <a:close/>
                  <a:moveTo>
                    <a:pt x="1076" y="6202"/>
                  </a:moveTo>
                  <a:cubicBezTo>
                    <a:pt x="-1205" y="11040"/>
                    <a:pt x="248" y="17019"/>
                    <a:pt x="4419" y="19975"/>
                  </a:cubicBezTo>
                  <a:cubicBezTo>
                    <a:pt x="5972" y="21073"/>
                    <a:pt x="7714" y="21600"/>
                    <a:pt x="9442" y="21600"/>
                  </a:cubicBezTo>
                  <a:cubicBezTo>
                    <a:pt x="12307" y="21600"/>
                    <a:pt x="15130" y="20146"/>
                    <a:pt x="16989" y="17426"/>
                  </a:cubicBezTo>
                  <a:lnTo>
                    <a:pt x="1076" y="6202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50" name="Google Shape;183;p2"/>
            <p:cNvSpPr/>
            <p:nvPr/>
          </p:nvSpPr>
          <p:spPr>
            <a:xfrm>
              <a:off x="15229989" y="346368"/>
              <a:ext cx="505521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80" y="0"/>
                  </a:moveTo>
                  <a:lnTo>
                    <a:pt x="3281" y="6246"/>
                  </a:lnTo>
                  <a:cubicBezTo>
                    <a:pt x="-141" y="8755"/>
                    <a:pt x="-1029" y="13772"/>
                    <a:pt x="1296" y="17464"/>
                  </a:cubicBezTo>
                  <a:lnTo>
                    <a:pt x="1676" y="18057"/>
                  </a:lnTo>
                  <a:cubicBezTo>
                    <a:pt x="3125" y="20359"/>
                    <a:pt x="5479" y="21600"/>
                    <a:pt x="7872" y="21600"/>
                  </a:cubicBezTo>
                  <a:cubicBezTo>
                    <a:pt x="9320" y="21600"/>
                    <a:pt x="10786" y="21144"/>
                    <a:pt x="12075" y="20202"/>
                  </a:cubicBezTo>
                  <a:lnTo>
                    <a:pt x="20571" y="13956"/>
                  </a:lnTo>
                  <a:lnTo>
                    <a:pt x="11780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51" name="Google Shape;184;p2"/>
            <p:cNvSpPr/>
            <p:nvPr/>
          </p:nvSpPr>
          <p:spPr>
            <a:xfrm>
              <a:off x="15563110" y="143171"/>
              <a:ext cx="505516" cy="4919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2707" y="0"/>
                  </a:moveTo>
                  <a:cubicBezTo>
                    <a:pt x="11265" y="0"/>
                    <a:pt x="9813" y="452"/>
                    <a:pt x="8538" y="1398"/>
                  </a:cubicBezTo>
                  <a:lnTo>
                    <a:pt x="0" y="7600"/>
                  </a:lnTo>
                  <a:lnTo>
                    <a:pt x="8791" y="21600"/>
                  </a:lnTo>
                  <a:lnTo>
                    <a:pt x="17286" y="15353"/>
                  </a:lnTo>
                  <a:cubicBezTo>
                    <a:pt x="20712" y="12844"/>
                    <a:pt x="21600" y="7826"/>
                    <a:pt x="19275" y="4133"/>
                  </a:cubicBezTo>
                  <a:lnTo>
                    <a:pt x="18895" y="3539"/>
                  </a:lnTo>
                  <a:cubicBezTo>
                    <a:pt x="17446" y="1237"/>
                    <a:pt x="15092" y="0"/>
                    <a:pt x="1270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52" name="Google Shape;185;p2"/>
            <p:cNvSpPr/>
            <p:nvPr/>
          </p:nvSpPr>
          <p:spPr>
            <a:xfrm>
              <a:off x="15051537" y="1362876"/>
              <a:ext cx="931458" cy="9303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6" h="21600" extrusionOk="0">
                  <a:moveTo>
                    <a:pt x="10020" y="0"/>
                  </a:moveTo>
                  <a:cubicBezTo>
                    <a:pt x="9650" y="0"/>
                    <a:pt x="9356" y="273"/>
                    <a:pt x="9311" y="662"/>
                  </a:cubicBezTo>
                  <a:lnTo>
                    <a:pt x="8377" y="7705"/>
                  </a:lnTo>
                  <a:lnTo>
                    <a:pt x="1377" y="6763"/>
                  </a:lnTo>
                  <a:cubicBezTo>
                    <a:pt x="1346" y="6759"/>
                    <a:pt x="1314" y="6759"/>
                    <a:pt x="1284" y="6759"/>
                  </a:cubicBezTo>
                  <a:cubicBezTo>
                    <a:pt x="895" y="6759"/>
                    <a:pt x="583" y="7035"/>
                    <a:pt x="539" y="7415"/>
                  </a:cubicBezTo>
                  <a:lnTo>
                    <a:pt x="11" y="11418"/>
                  </a:lnTo>
                  <a:cubicBezTo>
                    <a:pt x="-61" y="11827"/>
                    <a:pt x="227" y="12214"/>
                    <a:pt x="658" y="12262"/>
                  </a:cubicBezTo>
                  <a:lnTo>
                    <a:pt x="658" y="12238"/>
                  </a:lnTo>
                  <a:lnTo>
                    <a:pt x="7658" y="13178"/>
                  </a:lnTo>
                  <a:lnTo>
                    <a:pt x="6724" y="20221"/>
                  </a:lnTo>
                  <a:cubicBezTo>
                    <a:pt x="6676" y="20630"/>
                    <a:pt x="6964" y="21017"/>
                    <a:pt x="7371" y="21065"/>
                  </a:cubicBezTo>
                  <a:lnTo>
                    <a:pt x="11349" y="21596"/>
                  </a:lnTo>
                  <a:cubicBezTo>
                    <a:pt x="11379" y="21598"/>
                    <a:pt x="11409" y="21600"/>
                    <a:pt x="11440" y="21600"/>
                  </a:cubicBezTo>
                  <a:cubicBezTo>
                    <a:pt x="11812" y="21600"/>
                    <a:pt x="12144" y="21325"/>
                    <a:pt x="12189" y="20944"/>
                  </a:cubicBezTo>
                  <a:lnTo>
                    <a:pt x="13123" y="13901"/>
                  </a:lnTo>
                  <a:lnTo>
                    <a:pt x="20124" y="14843"/>
                  </a:lnTo>
                  <a:cubicBezTo>
                    <a:pt x="20154" y="14847"/>
                    <a:pt x="20184" y="14847"/>
                    <a:pt x="20212" y="14847"/>
                  </a:cubicBezTo>
                  <a:cubicBezTo>
                    <a:pt x="20585" y="14847"/>
                    <a:pt x="20919" y="14571"/>
                    <a:pt x="20963" y="14191"/>
                  </a:cubicBezTo>
                  <a:lnTo>
                    <a:pt x="21491" y="10188"/>
                  </a:lnTo>
                  <a:cubicBezTo>
                    <a:pt x="21539" y="9777"/>
                    <a:pt x="21251" y="9392"/>
                    <a:pt x="20842" y="9344"/>
                  </a:cubicBezTo>
                  <a:lnTo>
                    <a:pt x="13820" y="8404"/>
                  </a:lnTo>
                  <a:lnTo>
                    <a:pt x="14754" y="1361"/>
                  </a:lnTo>
                  <a:cubicBezTo>
                    <a:pt x="14802" y="952"/>
                    <a:pt x="14514" y="565"/>
                    <a:pt x="14107" y="517"/>
                  </a:cubicBezTo>
                  <a:lnTo>
                    <a:pt x="10151" y="10"/>
                  </a:lnTo>
                  <a:cubicBezTo>
                    <a:pt x="10107" y="4"/>
                    <a:pt x="10062" y="0"/>
                    <a:pt x="1002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53" name="Google Shape;186;p2"/>
            <p:cNvSpPr/>
            <p:nvPr/>
          </p:nvSpPr>
          <p:spPr>
            <a:xfrm>
              <a:off x="13858312" y="2772167"/>
              <a:ext cx="934093" cy="11799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0" h="21600" extrusionOk="0">
                  <a:moveTo>
                    <a:pt x="8119" y="685"/>
                  </a:moveTo>
                  <a:cubicBezTo>
                    <a:pt x="8697" y="685"/>
                    <a:pt x="9266" y="965"/>
                    <a:pt x="9368" y="1592"/>
                  </a:cubicBezTo>
                  <a:cubicBezTo>
                    <a:pt x="9439" y="1897"/>
                    <a:pt x="9322" y="2220"/>
                    <a:pt x="9085" y="2448"/>
                  </a:cubicBezTo>
                  <a:lnTo>
                    <a:pt x="7496" y="2696"/>
                  </a:lnTo>
                  <a:cubicBezTo>
                    <a:pt x="7163" y="2544"/>
                    <a:pt x="6926" y="2278"/>
                    <a:pt x="6855" y="1955"/>
                  </a:cubicBezTo>
                  <a:lnTo>
                    <a:pt x="6831" y="1955"/>
                  </a:lnTo>
                  <a:cubicBezTo>
                    <a:pt x="6604" y="1158"/>
                    <a:pt x="7368" y="685"/>
                    <a:pt x="8119" y="685"/>
                  </a:cubicBezTo>
                  <a:close/>
                  <a:moveTo>
                    <a:pt x="15527" y="4391"/>
                  </a:moveTo>
                  <a:cubicBezTo>
                    <a:pt x="16041" y="4391"/>
                    <a:pt x="16493" y="4692"/>
                    <a:pt x="16576" y="5111"/>
                  </a:cubicBezTo>
                  <a:lnTo>
                    <a:pt x="19350" y="17187"/>
                  </a:lnTo>
                  <a:cubicBezTo>
                    <a:pt x="19446" y="17661"/>
                    <a:pt x="19065" y="18118"/>
                    <a:pt x="18472" y="18195"/>
                  </a:cubicBezTo>
                  <a:lnTo>
                    <a:pt x="6002" y="20020"/>
                  </a:lnTo>
                  <a:cubicBezTo>
                    <a:pt x="5933" y="20032"/>
                    <a:pt x="5863" y="20036"/>
                    <a:pt x="5793" y="20036"/>
                  </a:cubicBezTo>
                  <a:cubicBezTo>
                    <a:pt x="5281" y="20036"/>
                    <a:pt x="4825" y="19736"/>
                    <a:pt x="4722" y="19316"/>
                  </a:cubicBezTo>
                  <a:lnTo>
                    <a:pt x="1972" y="7242"/>
                  </a:lnTo>
                  <a:cubicBezTo>
                    <a:pt x="1876" y="6766"/>
                    <a:pt x="2257" y="6309"/>
                    <a:pt x="2872" y="6234"/>
                  </a:cubicBezTo>
                  <a:lnTo>
                    <a:pt x="4342" y="6005"/>
                  </a:lnTo>
                  <a:cubicBezTo>
                    <a:pt x="4427" y="6349"/>
                    <a:pt x="4803" y="6583"/>
                    <a:pt x="5226" y="6583"/>
                  </a:cubicBezTo>
                  <a:cubicBezTo>
                    <a:pt x="5271" y="6583"/>
                    <a:pt x="5315" y="6580"/>
                    <a:pt x="5361" y="6576"/>
                  </a:cubicBezTo>
                  <a:lnTo>
                    <a:pt x="13139" y="5434"/>
                  </a:lnTo>
                  <a:cubicBezTo>
                    <a:pt x="13613" y="5358"/>
                    <a:pt x="13920" y="4998"/>
                    <a:pt x="13850" y="4616"/>
                  </a:cubicBezTo>
                  <a:lnTo>
                    <a:pt x="15320" y="4408"/>
                  </a:lnTo>
                  <a:cubicBezTo>
                    <a:pt x="15389" y="4395"/>
                    <a:pt x="15459" y="4391"/>
                    <a:pt x="15527" y="4391"/>
                  </a:cubicBezTo>
                  <a:close/>
                  <a:moveTo>
                    <a:pt x="8125" y="0"/>
                  </a:moveTo>
                  <a:cubicBezTo>
                    <a:pt x="7988" y="0"/>
                    <a:pt x="7848" y="11"/>
                    <a:pt x="7709" y="34"/>
                  </a:cubicBezTo>
                  <a:cubicBezTo>
                    <a:pt x="6524" y="204"/>
                    <a:pt x="5741" y="1118"/>
                    <a:pt x="5978" y="2087"/>
                  </a:cubicBezTo>
                  <a:cubicBezTo>
                    <a:pt x="6050" y="2354"/>
                    <a:pt x="6191" y="2619"/>
                    <a:pt x="6405" y="2848"/>
                  </a:cubicBezTo>
                  <a:lnTo>
                    <a:pt x="4863" y="3076"/>
                  </a:lnTo>
                  <a:cubicBezTo>
                    <a:pt x="4224" y="3172"/>
                    <a:pt x="3820" y="3665"/>
                    <a:pt x="3915" y="4180"/>
                  </a:cubicBezTo>
                  <a:lnTo>
                    <a:pt x="4035" y="4616"/>
                  </a:lnTo>
                  <a:lnTo>
                    <a:pt x="1450" y="4998"/>
                  </a:lnTo>
                  <a:cubicBezTo>
                    <a:pt x="502" y="5130"/>
                    <a:pt x="-139" y="5871"/>
                    <a:pt x="26" y="6651"/>
                  </a:cubicBezTo>
                  <a:lnTo>
                    <a:pt x="3181" y="20420"/>
                  </a:lnTo>
                  <a:cubicBezTo>
                    <a:pt x="3328" y="21116"/>
                    <a:pt x="4083" y="21600"/>
                    <a:pt x="4935" y="21600"/>
                  </a:cubicBezTo>
                  <a:cubicBezTo>
                    <a:pt x="5036" y="21600"/>
                    <a:pt x="5140" y="21594"/>
                    <a:pt x="5244" y="21579"/>
                  </a:cubicBezTo>
                  <a:lnTo>
                    <a:pt x="19872" y="19429"/>
                  </a:lnTo>
                  <a:cubicBezTo>
                    <a:pt x="20820" y="19297"/>
                    <a:pt x="21461" y="18556"/>
                    <a:pt x="21294" y="17776"/>
                  </a:cubicBezTo>
                  <a:lnTo>
                    <a:pt x="18165" y="3990"/>
                  </a:lnTo>
                  <a:cubicBezTo>
                    <a:pt x="17998" y="3301"/>
                    <a:pt x="17259" y="2821"/>
                    <a:pt x="16421" y="2821"/>
                  </a:cubicBezTo>
                  <a:cubicBezTo>
                    <a:pt x="16307" y="2821"/>
                    <a:pt x="16194" y="2830"/>
                    <a:pt x="16078" y="2848"/>
                  </a:cubicBezTo>
                  <a:lnTo>
                    <a:pt x="13518" y="3209"/>
                  </a:lnTo>
                  <a:lnTo>
                    <a:pt x="13422" y="2773"/>
                  </a:lnTo>
                  <a:cubicBezTo>
                    <a:pt x="13316" y="2309"/>
                    <a:pt x="12803" y="2000"/>
                    <a:pt x="12235" y="2000"/>
                  </a:cubicBezTo>
                  <a:cubicBezTo>
                    <a:pt x="12173" y="2000"/>
                    <a:pt x="12110" y="2004"/>
                    <a:pt x="12048" y="2011"/>
                  </a:cubicBezTo>
                  <a:lnTo>
                    <a:pt x="10174" y="2297"/>
                  </a:lnTo>
                  <a:cubicBezTo>
                    <a:pt x="10270" y="2011"/>
                    <a:pt x="10294" y="1727"/>
                    <a:pt x="10246" y="1460"/>
                  </a:cubicBezTo>
                  <a:cubicBezTo>
                    <a:pt x="10057" y="604"/>
                    <a:pt x="9151" y="0"/>
                    <a:pt x="8125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54" name="Google Shape;187;p2"/>
            <p:cNvSpPr/>
            <p:nvPr/>
          </p:nvSpPr>
          <p:spPr>
            <a:xfrm>
              <a:off x="14040667" y="3196883"/>
              <a:ext cx="134873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3" h="21600" extrusionOk="0">
                  <a:moveTo>
                    <a:pt x="8936" y="0"/>
                  </a:moveTo>
                  <a:cubicBezTo>
                    <a:pt x="8437" y="0"/>
                    <a:pt x="7926" y="42"/>
                    <a:pt x="7404" y="154"/>
                  </a:cubicBezTo>
                  <a:cubicBezTo>
                    <a:pt x="-477" y="1819"/>
                    <a:pt x="-2682" y="14144"/>
                    <a:pt x="3806" y="19641"/>
                  </a:cubicBezTo>
                  <a:cubicBezTo>
                    <a:pt x="5454" y="20998"/>
                    <a:pt x="7218" y="21600"/>
                    <a:pt x="8936" y="21600"/>
                  </a:cubicBezTo>
                  <a:cubicBezTo>
                    <a:pt x="14182" y="21600"/>
                    <a:pt x="18918" y="15962"/>
                    <a:pt x="17769" y="8813"/>
                  </a:cubicBezTo>
                  <a:cubicBezTo>
                    <a:pt x="16910" y="3609"/>
                    <a:pt x="13173" y="0"/>
                    <a:pt x="893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55" name="Google Shape;188;p2"/>
            <p:cNvSpPr/>
            <p:nvPr/>
          </p:nvSpPr>
          <p:spPr>
            <a:xfrm>
              <a:off x="14218076" y="3157186"/>
              <a:ext cx="306280" cy="1188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38" h="21600" extrusionOk="0">
                  <a:moveTo>
                    <a:pt x="17190" y="0"/>
                  </a:moveTo>
                  <a:cubicBezTo>
                    <a:pt x="16989" y="0"/>
                    <a:pt x="16778" y="79"/>
                    <a:pt x="16555" y="206"/>
                  </a:cubicBezTo>
                  <a:lnTo>
                    <a:pt x="16622" y="206"/>
                  </a:lnTo>
                  <a:lnTo>
                    <a:pt x="2174" y="7771"/>
                  </a:lnTo>
                  <a:cubicBezTo>
                    <a:pt x="-1032" y="8643"/>
                    <a:pt x="-453" y="21600"/>
                    <a:pt x="2357" y="21600"/>
                  </a:cubicBezTo>
                  <a:cubicBezTo>
                    <a:pt x="2569" y="21600"/>
                    <a:pt x="2797" y="21521"/>
                    <a:pt x="3036" y="21362"/>
                  </a:cubicBezTo>
                  <a:lnTo>
                    <a:pt x="17412" y="13813"/>
                  </a:lnTo>
                  <a:cubicBezTo>
                    <a:pt x="20568" y="12576"/>
                    <a:pt x="19972" y="0"/>
                    <a:pt x="1719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56" name="Google Shape;189;p2"/>
            <p:cNvSpPr/>
            <p:nvPr/>
          </p:nvSpPr>
          <p:spPr>
            <a:xfrm>
              <a:off x="14074954" y="3384899"/>
              <a:ext cx="134655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10" h="21600" extrusionOk="0">
                  <a:moveTo>
                    <a:pt x="8984" y="0"/>
                  </a:moveTo>
                  <a:cubicBezTo>
                    <a:pt x="8482" y="0"/>
                    <a:pt x="7957" y="42"/>
                    <a:pt x="7444" y="154"/>
                  </a:cubicBezTo>
                  <a:cubicBezTo>
                    <a:pt x="-480" y="1819"/>
                    <a:pt x="-2697" y="14144"/>
                    <a:pt x="3826" y="19641"/>
                  </a:cubicBezTo>
                  <a:cubicBezTo>
                    <a:pt x="5483" y="20998"/>
                    <a:pt x="7257" y="21600"/>
                    <a:pt x="8972" y="21600"/>
                  </a:cubicBezTo>
                  <a:cubicBezTo>
                    <a:pt x="14212" y="21600"/>
                    <a:pt x="18903" y="16004"/>
                    <a:pt x="17864" y="8981"/>
                  </a:cubicBezTo>
                  <a:cubicBezTo>
                    <a:pt x="17118" y="3623"/>
                    <a:pt x="13267" y="0"/>
                    <a:pt x="898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57" name="Google Shape;190;p2"/>
            <p:cNvSpPr/>
            <p:nvPr/>
          </p:nvSpPr>
          <p:spPr>
            <a:xfrm>
              <a:off x="14258588" y="3345202"/>
              <a:ext cx="296371" cy="1176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19" h="21600" extrusionOk="0">
                  <a:moveTo>
                    <a:pt x="16958" y="0"/>
                  </a:moveTo>
                  <a:cubicBezTo>
                    <a:pt x="16889" y="0"/>
                    <a:pt x="16820" y="16"/>
                    <a:pt x="16745" y="32"/>
                  </a:cubicBezTo>
                  <a:lnTo>
                    <a:pt x="1834" y="7654"/>
                  </a:lnTo>
                  <a:cubicBezTo>
                    <a:pt x="-1022" y="10055"/>
                    <a:pt x="-332" y="21600"/>
                    <a:pt x="2454" y="21600"/>
                  </a:cubicBezTo>
                  <a:cubicBezTo>
                    <a:pt x="2541" y="21600"/>
                    <a:pt x="2633" y="21584"/>
                    <a:pt x="2725" y="21568"/>
                  </a:cubicBezTo>
                  <a:lnTo>
                    <a:pt x="17636" y="14138"/>
                  </a:lnTo>
                  <a:cubicBezTo>
                    <a:pt x="20578" y="11705"/>
                    <a:pt x="19860" y="0"/>
                    <a:pt x="1695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58" name="Google Shape;191;p2"/>
            <p:cNvSpPr/>
            <p:nvPr/>
          </p:nvSpPr>
          <p:spPr>
            <a:xfrm>
              <a:off x="14111298" y="3586351"/>
              <a:ext cx="134887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4" h="21600" extrusionOk="0">
                  <a:moveTo>
                    <a:pt x="8941" y="0"/>
                  </a:moveTo>
                  <a:cubicBezTo>
                    <a:pt x="8442" y="0"/>
                    <a:pt x="7919" y="56"/>
                    <a:pt x="7409" y="168"/>
                  </a:cubicBezTo>
                  <a:cubicBezTo>
                    <a:pt x="-472" y="1831"/>
                    <a:pt x="-2689" y="14148"/>
                    <a:pt x="3811" y="19643"/>
                  </a:cubicBezTo>
                  <a:cubicBezTo>
                    <a:pt x="5447" y="20999"/>
                    <a:pt x="7223" y="21600"/>
                    <a:pt x="8941" y="21600"/>
                  </a:cubicBezTo>
                  <a:cubicBezTo>
                    <a:pt x="14175" y="21600"/>
                    <a:pt x="18911" y="15966"/>
                    <a:pt x="17774" y="8822"/>
                  </a:cubicBezTo>
                  <a:cubicBezTo>
                    <a:pt x="17031" y="3621"/>
                    <a:pt x="13201" y="0"/>
                    <a:pt x="894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59" name="Google Shape;192;p2"/>
            <p:cNvSpPr/>
            <p:nvPr/>
          </p:nvSpPr>
          <p:spPr>
            <a:xfrm>
              <a:off x="14294277" y="3546567"/>
              <a:ext cx="297799" cy="1178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30" h="21600" extrusionOk="0">
                  <a:moveTo>
                    <a:pt x="17052" y="0"/>
                  </a:moveTo>
                  <a:cubicBezTo>
                    <a:pt x="16943" y="0"/>
                    <a:pt x="16834" y="16"/>
                    <a:pt x="16720" y="48"/>
                  </a:cubicBezTo>
                  <a:lnTo>
                    <a:pt x="1871" y="7482"/>
                  </a:lnTo>
                  <a:cubicBezTo>
                    <a:pt x="-1041" y="9689"/>
                    <a:pt x="-354" y="21600"/>
                    <a:pt x="2552" y="21600"/>
                  </a:cubicBezTo>
                  <a:cubicBezTo>
                    <a:pt x="2638" y="21600"/>
                    <a:pt x="2730" y="21584"/>
                    <a:pt x="2821" y="21568"/>
                  </a:cubicBezTo>
                  <a:lnTo>
                    <a:pt x="17607" y="13942"/>
                  </a:lnTo>
                  <a:cubicBezTo>
                    <a:pt x="20559" y="11751"/>
                    <a:pt x="19907" y="0"/>
                    <a:pt x="1705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60" name="Google Shape;193;p2"/>
            <p:cNvSpPr/>
            <p:nvPr/>
          </p:nvSpPr>
          <p:spPr>
            <a:xfrm>
              <a:off x="13973195" y="4422172"/>
              <a:ext cx="601134" cy="6060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60" h="21600" extrusionOk="0">
                  <a:moveTo>
                    <a:pt x="9816" y="0"/>
                  </a:moveTo>
                  <a:cubicBezTo>
                    <a:pt x="6934" y="0"/>
                    <a:pt x="4096" y="1443"/>
                    <a:pt x="2215" y="4161"/>
                  </a:cubicBezTo>
                  <a:lnTo>
                    <a:pt x="18258" y="15415"/>
                  </a:lnTo>
                  <a:cubicBezTo>
                    <a:pt x="20388" y="10567"/>
                    <a:pt x="19055" y="4568"/>
                    <a:pt x="14929" y="1642"/>
                  </a:cubicBezTo>
                  <a:cubicBezTo>
                    <a:pt x="13344" y="535"/>
                    <a:pt x="11569" y="0"/>
                    <a:pt x="9816" y="0"/>
                  </a:cubicBezTo>
                  <a:close/>
                  <a:moveTo>
                    <a:pt x="1083" y="6160"/>
                  </a:moveTo>
                  <a:cubicBezTo>
                    <a:pt x="-1212" y="11046"/>
                    <a:pt x="250" y="17044"/>
                    <a:pt x="4446" y="19971"/>
                  </a:cubicBezTo>
                  <a:cubicBezTo>
                    <a:pt x="6008" y="21068"/>
                    <a:pt x="7761" y="21600"/>
                    <a:pt x="9500" y="21600"/>
                  </a:cubicBezTo>
                  <a:cubicBezTo>
                    <a:pt x="12382" y="21600"/>
                    <a:pt x="15222" y="20142"/>
                    <a:pt x="17092" y="17414"/>
                  </a:cubicBezTo>
                  <a:lnTo>
                    <a:pt x="1083" y="616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61" name="Google Shape;194;p2"/>
            <p:cNvSpPr/>
            <p:nvPr/>
          </p:nvSpPr>
          <p:spPr>
            <a:xfrm>
              <a:off x="15229989" y="3118885"/>
              <a:ext cx="505521" cy="4910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80" y="0"/>
                  </a:moveTo>
                  <a:lnTo>
                    <a:pt x="3281" y="6214"/>
                  </a:lnTo>
                  <a:cubicBezTo>
                    <a:pt x="-141" y="8728"/>
                    <a:pt x="-1029" y="13755"/>
                    <a:pt x="1296" y="17455"/>
                  </a:cubicBezTo>
                  <a:lnTo>
                    <a:pt x="1676" y="18050"/>
                  </a:lnTo>
                  <a:cubicBezTo>
                    <a:pt x="3125" y="20357"/>
                    <a:pt x="5479" y="21600"/>
                    <a:pt x="7872" y="21600"/>
                  </a:cubicBezTo>
                  <a:cubicBezTo>
                    <a:pt x="9320" y="21600"/>
                    <a:pt x="10786" y="21143"/>
                    <a:pt x="12075" y="20199"/>
                  </a:cubicBezTo>
                  <a:lnTo>
                    <a:pt x="20571" y="13982"/>
                  </a:lnTo>
                  <a:lnTo>
                    <a:pt x="11780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62" name="Google Shape;195;p2"/>
            <p:cNvSpPr/>
            <p:nvPr/>
          </p:nvSpPr>
          <p:spPr>
            <a:xfrm>
              <a:off x="15563110" y="2915339"/>
              <a:ext cx="505516" cy="491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2746" y="0"/>
                  </a:moveTo>
                  <a:cubicBezTo>
                    <a:pt x="11293" y="0"/>
                    <a:pt x="9824" y="456"/>
                    <a:pt x="8538" y="1412"/>
                  </a:cubicBezTo>
                  <a:lnTo>
                    <a:pt x="0" y="7626"/>
                  </a:lnTo>
                  <a:lnTo>
                    <a:pt x="8791" y="21600"/>
                  </a:lnTo>
                  <a:lnTo>
                    <a:pt x="17286" y="15344"/>
                  </a:lnTo>
                  <a:cubicBezTo>
                    <a:pt x="20712" y="12831"/>
                    <a:pt x="21600" y="7806"/>
                    <a:pt x="19275" y="4108"/>
                  </a:cubicBezTo>
                  <a:lnTo>
                    <a:pt x="19275" y="4154"/>
                  </a:lnTo>
                  <a:lnTo>
                    <a:pt x="18895" y="3514"/>
                  </a:lnTo>
                  <a:cubicBezTo>
                    <a:pt x="17453" y="1220"/>
                    <a:pt x="15117" y="0"/>
                    <a:pt x="1274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63" name="Google Shape;196;p2"/>
            <p:cNvSpPr/>
            <p:nvPr/>
          </p:nvSpPr>
          <p:spPr>
            <a:xfrm>
              <a:off x="15051537" y="4133560"/>
              <a:ext cx="931458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6" h="21600" extrusionOk="0">
                  <a:moveTo>
                    <a:pt x="10062" y="0"/>
                  </a:moveTo>
                  <a:cubicBezTo>
                    <a:pt x="9690" y="0"/>
                    <a:pt x="9356" y="275"/>
                    <a:pt x="9311" y="656"/>
                  </a:cubicBezTo>
                  <a:lnTo>
                    <a:pt x="8377" y="7713"/>
                  </a:lnTo>
                  <a:lnTo>
                    <a:pt x="1377" y="6774"/>
                  </a:lnTo>
                  <a:cubicBezTo>
                    <a:pt x="1348" y="6770"/>
                    <a:pt x="1318" y="6768"/>
                    <a:pt x="1288" y="6768"/>
                  </a:cubicBezTo>
                  <a:cubicBezTo>
                    <a:pt x="916" y="6768"/>
                    <a:pt x="583" y="7045"/>
                    <a:pt x="539" y="7423"/>
                  </a:cubicBezTo>
                  <a:lnTo>
                    <a:pt x="11" y="11423"/>
                  </a:lnTo>
                  <a:cubicBezTo>
                    <a:pt x="-61" y="11832"/>
                    <a:pt x="227" y="12218"/>
                    <a:pt x="658" y="12267"/>
                  </a:cubicBezTo>
                  <a:lnTo>
                    <a:pt x="658" y="12243"/>
                  </a:lnTo>
                  <a:lnTo>
                    <a:pt x="7658" y="13181"/>
                  </a:lnTo>
                  <a:lnTo>
                    <a:pt x="6724" y="20216"/>
                  </a:lnTo>
                  <a:cubicBezTo>
                    <a:pt x="6676" y="20625"/>
                    <a:pt x="6964" y="21011"/>
                    <a:pt x="7371" y="21058"/>
                  </a:cubicBezTo>
                  <a:lnTo>
                    <a:pt x="11349" y="21588"/>
                  </a:lnTo>
                  <a:cubicBezTo>
                    <a:pt x="11391" y="21596"/>
                    <a:pt x="11434" y="21600"/>
                    <a:pt x="11476" y="21600"/>
                  </a:cubicBezTo>
                  <a:cubicBezTo>
                    <a:pt x="11832" y="21600"/>
                    <a:pt x="12146" y="21327"/>
                    <a:pt x="12189" y="20938"/>
                  </a:cubicBezTo>
                  <a:lnTo>
                    <a:pt x="13123" y="13904"/>
                  </a:lnTo>
                  <a:lnTo>
                    <a:pt x="20124" y="14844"/>
                  </a:lnTo>
                  <a:cubicBezTo>
                    <a:pt x="20154" y="14846"/>
                    <a:pt x="20184" y="14848"/>
                    <a:pt x="20212" y="14848"/>
                  </a:cubicBezTo>
                  <a:cubicBezTo>
                    <a:pt x="20585" y="14848"/>
                    <a:pt x="20919" y="14573"/>
                    <a:pt x="20963" y="14193"/>
                  </a:cubicBezTo>
                  <a:lnTo>
                    <a:pt x="21491" y="10195"/>
                  </a:lnTo>
                  <a:cubicBezTo>
                    <a:pt x="21539" y="9784"/>
                    <a:pt x="21251" y="9400"/>
                    <a:pt x="20842" y="9351"/>
                  </a:cubicBezTo>
                  <a:lnTo>
                    <a:pt x="13844" y="8413"/>
                  </a:lnTo>
                  <a:lnTo>
                    <a:pt x="14754" y="1378"/>
                  </a:lnTo>
                  <a:cubicBezTo>
                    <a:pt x="14826" y="969"/>
                    <a:pt x="14514" y="583"/>
                    <a:pt x="14107" y="534"/>
                  </a:cubicBezTo>
                  <a:lnTo>
                    <a:pt x="10151" y="4"/>
                  </a:lnTo>
                  <a:cubicBezTo>
                    <a:pt x="10121" y="2"/>
                    <a:pt x="10093" y="0"/>
                    <a:pt x="1006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64" name="Google Shape;197;p2"/>
            <p:cNvSpPr/>
            <p:nvPr/>
          </p:nvSpPr>
          <p:spPr>
            <a:xfrm>
              <a:off x="13858312" y="5543986"/>
              <a:ext cx="934093" cy="11787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0" h="21600" extrusionOk="0">
                  <a:moveTo>
                    <a:pt x="8115" y="687"/>
                  </a:moveTo>
                  <a:cubicBezTo>
                    <a:pt x="8695" y="687"/>
                    <a:pt x="9266" y="966"/>
                    <a:pt x="9368" y="1588"/>
                  </a:cubicBezTo>
                  <a:cubicBezTo>
                    <a:pt x="9439" y="1893"/>
                    <a:pt x="9322" y="2216"/>
                    <a:pt x="9085" y="2444"/>
                  </a:cubicBezTo>
                  <a:lnTo>
                    <a:pt x="7496" y="2692"/>
                  </a:lnTo>
                  <a:cubicBezTo>
                    <a:pt x="7163" y="2540"/>
                    <a:pt x="6926" y="2273"/>
                    <a:pt x="6855" y="1968"/>
                  </a:cubicBezTo>
                  <a:lnTo>
                    <a:pt x="6831" y="1949"/>
                  </a:lnTo>
                  <a:cubicBezTo>
                    <a:pt x="6604" y="1154"/>
                    <a:pt x="7366" y="687"/>
                    <a:pt x="8115" y="687"/>
                  </a:cubicBezTo>
                  <a:close/>
                  <a:moveTo>
                    <a:pt x="15527" y="4369"/>
                  </a:moveTo>
                  <a:cubicBezTo>
                    <a:pt x="16041" y="4369"/>
                    <a:pt x="16493" y="4670"/>
                    <a:pt x="16576" y="5090"/>
                  </a:cubicBezTo>
                  <a:lnTo>
                    <a:pt x="19350" y="17196"/>
                  </a:lnTo>
                  <a:cubicBezTo>
                    <a:pt x="19446" y="17672"/>
                    <a:pt x="19065" y="18129"/>
                    <a:pt x="18472" y="18204"/>
                  </a:cubicBezTo>
                  <a:lnTo>
                    <a:pt x="6002" y="20032"/>
                  </a:lnTo>
                  <a:cubicBezTo>
                    <a:pt x="5929" y="20043"/>
                    <a:pt x="5857" y="20049"/>
                    <a:pt x="5785" y="20049"/>
                  </a:cubicBezTo>
                  <a:cubicBezTo>
                    <a:pt x="5258" y="20049"/>
                    <a:pt x="4805" y="19747"/>
                    <a:pt x="4722" y="19328"/>
                  </a:cubicBezTo>
                  <a:lnTo>
                    <a:pt x="1972" y="7221"/>
                  </a:lnTo>
                  <a:cubicBezTo>
                    <a:pt x="1876" y="6747"/>
                    <a:pt x="2257" y="6289"/>
                    <a:pt x="2872" y="6213"/>
                  </a:cubicBezTo>
                  <a:lnTo>
                    <a:pt x="4342" y="5986"/>
                  </a:lnTo>
                  <a:cubicBezTo>
                    <a:pt x="4425" y="6321"/>
                    <a:pt x="4788" y="6569"/>
                    <a:pt x="5198" y="6569"/>
                  </a:cubicBezTo>
                  <a:cubicBezTo>
                    <a:pt x="5252" y="6569"/>
                    <a:pt x="5307" y="6564"/>
                    <a:pt x="5361" y="6556"/>
                  </a:cubicBezTo>
                  <a:lnTo>
                    <a:pt x="13139" y="5413"/>
                  </a:lnTo>
                  <a:cubicBezTo>
                    <a:pt x="13613" y="5338"/>
                    <a:pt x="13920" y="4977"/>
                    <a:pt x="13850" y="4595"/>
                  </a:cubicBezTo>
                  <a:lnTo>
                    <a:pt x="15320" y="4385"/>
                  </a:lnTo>
                  <a:cubicBezTo>
                    <a:pt x="15389" y="4374"/>
                    <a:pt x="15459" y="4369"/>
                    <a:pt x="15527" y="4369"/>
                  </a:cubicBezTo>
                  <a:close/>
                  <a:moveTo>
                    <a:pt x="8091" y="0"/>
                  </a:moveTo>
                  <a:cubicBezTo>
                    <a:pt x="7966" y="0"/>
                    <a:pt x="7838" y="8"/>
                    <a:pt x="7709" y="27"/>
                  </a:cubicBezTo>
                  <a:cubicBezTo>
                    <a:pt x="6524" y="198"/>
                    <a:pt x="5741" y="1130"/>
                    <a:pt x="5978" y="2083"/>
                  </a:cubicBezTo>
                  <a:cubicBezTo>
                    <a:pt x="6050" y="2348"/>
                    <a:pt x="6191" y="2615"/>
                    <a:pt x="6405" y="2844"/>
                  </a:cubicBezTo>
                  <a:lnTo>
                    <a:pt x="4863" y="3073"/>
                  </a:lnTo>
                  <a:cubicBezTo>
                    <a:pt x="4224" y="3167"/>
                    <a:pt x="3820" y="3643"/>
                    <a:pt x="3915" y="4158"/>
                  </a:cubicBezTo>
                  <a:lnTo>
                    <a:pt x="4035" y="4614"/>
                  </a:lnTo>
                  <a:lnTo>
                    <a:pt x="1450" y="4977"/>
                  </a:lnTo>
                  <a:cubicBezTo>
                    <a:pt x="502" y="5129"/>
                    <a:pt x="-139" y="5870"/>
                    <a:pt x="26" y="6631"/>
                  </a:cubicBezTo>
                  <a:lnTo>
                    <a:pt x="3181" y="20431"/>
                  </a:lnTo>
                  <a:cubicBezTo>
                    <a:pt x="3326" y="21120"/>
                    <a:pt x="4063" y="21600"/>
                    <a:pt x="4901" y="21600"/>
                  </a:cubicBezTo>
                  <a:cubicBezTo>
                    <a:pt x="5013" y="21600"/>
                    <a:pt x="5128" y="21592"/>
                    <a:pt x="5244" y="21574"/>
                  </a:cubicBezTo>
                  <a:lnTo>
                    <a:pt x="19872" y="19442"/>
                  </a:lnTo>
                  <a:cubicBezTo>
                    <a:pt x="20820" y="19290"/>
                    <a:pt x="21461" y="18548"/>
                    <a:pt x="21294" y="17766"/>
                  </a:cubicBezTo>
                  <a:lnTo>
                    <a:pt x="18165" y="3966"/>
                  </a:lnTo>
                  <a:cubicBezTo>
                    <a:pt x="17996" y="3273"/>
                    <a:pt x="17243" y="2804"/>
                    <a:pt x="16395" y="2804"/>
                  </a:cubicBezTo>
                  <a:cubicBezTo>
                    <a:pt x="16290" y="2804"/>
                    <a:pt x="16184" y="2811"/>
                    <a:pt x="16078" y="2825"/>
                  </a:cubicBezTo>
                  <a:lnTo>
                    <a:pt x="13518" y="3205"/>
                  </a:lnTo>
                  <a:lnTo>
                    <a:pt x="13422" y="2767"/>
                  </a:lnTo>
                  <a:cubicBezTo>
                    <a:pt x="13316" y="2304"/>
                    <a:pt x="12803" y="1995"/>
                    <a:pt x="12235" y="1995"/>
                  </a:cubicBezTo>
                  <a:cubicBezTo>
                    <a:pt x="12173" y="1995"/>
                    <a:pt x="12110" y="1998"/>
                    <a:pt x="12048" y="2006"/>
                  </a:cubicBezTo>
                  <a:lnTo>
                    <a:pt x="10174" y="2293"/>
                  </a:lnTo>
                  <a:cubicBezTo>
                    <a:pt x="10270" y="2026"/>
                    <a:pt x="10294" y="1739"/>
                    <a:pt x="10246" y="1455"/>
                  </a:cubicBezTo>
                  <a:cubicBezTo>
                    <a:pt x="10055" y="606"/>
                    <a:pt x="9131" y="0"/>
                    <a:pt x="809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65" name="Google Shape;198;p2"/>
            <p:cNvSpPr/>
            <p:nvPr/>
          </p:nvSpPr>
          <p:spPr>
            <a:xfrm>
              <a:off x="14040667" y="5969313"/>
              <a:ext cx="134873" cy="1347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3" h="21600" extrusionOk="0">
                  <a:moveTo>
                    <a:pt x="8936" y="0"/>
                  </a:moveTo>
                  <a:cubicBezTo>
                    <a:pt x="8437" y="0"/>
                    <a:pt x="7926" y="56"/>
                    <a:pt x="7404" y="168"/>
                  </a:cubicBezTo>
                  <a:cubicBezTo>
                    <a:pt x="-477" y="1831"/>
                    <a:pt x="-2682" y="14148"/>
                    <a:pt x="3806" y="19643"/>
                  </a:cubicBezTo>
                  <a:cubicBezTo>
                    <a:pt x="5454" y="20999"/>
                    <a:pt x="7218" y="21600"/>
                    <a:pt x="8936" y="21600"/>
                  </a:cubicBezTo>
                  <a:cubicBezTo>
                    <a:pt x="14182" y="21600"/>
                    <a:pt x="18918" y="15966"/>
                    <a:pt x="17769" y="8822"/>
                  </a:cubicBezTo>
                  <a:cubicBezTo>
                    <a:pt x="16910" y="3607"/>
                    <a:pt x="13173" y="0"/>
                    <a:pt x="893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66" name="Google Shape;199;p2"/>
            <p:cNvSpPr/>
            <p:nvPr/>
          </p:nvSpPr>
          <p:spPr>
            <a:xfrm>
              <a:off x="14219299" y="5929005"/>
              <a:ext cx="303516" cy="1181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38" h="21600" extrusionOk="0">
                  <a:moveTo>
                    <a:pt x="17160" y="0"/>
                  </a:moveTo>
                  <a:cubicBezTo>
                    <a:pt x="16986" y="0"/>
                    <a:pt x="16812" y="48"/>
                    <a:pt x="16626" y="144"/>
                  </a:cubicBezTo>
                  <a:lnTo>
                    <a:pt x="16694" y="144"/>
                  </a:lnTo>
                  <a:lnTo>
                    <a:pt x="2114" y="7737"/>
                  </a:lnTo>
                  <a:cubicBezTo>
                    <a:pt x="-1020" y="8997"/>
                    <a:pt x="-453" y="21600"/>
                    <a:pt x="2389" y="21600"/>
                  </a:cubicBezTo>
                  <a:cubicBezTo>
                    <a:pt x="2574" y="21600"/>
                    <a:pt x="2777" y="21536"/>
                    <a:pt x="2984" y="21425"/>
                  </a:cubicBezTo>
                  <a:lnTo>
                    <a:pt x="17491" y="13815"/>
                  </a:lnTo>
                  <a:cubicBezTo>
                    <a:pt x="20580" y="12395"/>
                    <a:pt x="19929" y="0"/>
                    <a:pt x="1716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67" name="Google Shape;200;p2"/>
            <p:cNvSpPr/>
            <p:nvPr/>
          </p:nvSpPr>
          <p:spPr>
            <a:xfrm>
              <a:off x="14074954" y="6157067"/>
              <a:ext cx="134673" cy="1350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03" h="21600" extrusionOk="0">
                  <a:moveTo>
                    <a:pt x="9143" y="0"/>
                  </a:moveTo>
                  <a:cubicBezTo>
                    <a:pt x="8583" y="0"/>
                    <a:pt x="8012" y="70"/>
                    <a:pt x="7440" y="209"/>
                  </a:cubicBezTo>
                  <a:cubicBezTo>
                    <a:pt x="-479" y="1702"/>
                    <a:pt x="-2695" y="14163"/>
                    <a:pt x="3825" y="19647"/>
                  </a:cubicBezTo>
                  <a:cubicBezTo>
                    <a:pt x="5469" y="21000"/>
                    <a:pt x="7242" y="21600"/>
                    <a:pt x="8956" y="21600"/>
                  </a:cubicBezTo>
                  <a:cubicBezTo>
                    <a:pt x="14193" y="21600"/>
                    <a:pt x="18905" y="15977"/>
                    <a:pt x="17855" y="8847"/>
                  </a:cubicBezTo>
                  <a:cubicBezTo>
                    <a:pt x="17121" y="3712"/>
                    <a:pt x="13353" y="0"/>
                    <a:pt x="914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68" name="Google Shape;201;p2"/>
            <p:cNvSpPr/>
            <p:nvPr/>
          </p:nvSpPr>
          <p:spPr>
            <a:xfrm>
              <a:off x="14258588" y="6116671"/>
              <a:ext cx="296371" cy="117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19" h="21600" extrusionOk="0">
                  <a:moveTo>
                    <a:pt x="16958" y="0"/>
                  </a:moveTo>
                  <a:cubicBezTo>
                    <a:pt x="16889" y="0"/>
                    <a:pt x="16820" y="16"/>
                    <a:pt x="16745" y="16"/>
                  </a:cubicBezTo>
                  <a:lnTo>
                    <a:pt x="1834" y="7654"/>
                  </a:lnTo>
                  <a:cubicBezTo>
                    <a:pt x="-1022" y="10055"/>
                    <a:pt x="-332" y="21600"/>
                    <a:pt x="2454" y="21600"/>
                  </a:cubicBezTo>
                  <a:cubicBezTo>
                    <a:pt x="2541" y="21600"/>
                    <a:pt x="2633" y="21584"/>
                    <a:pt x="2725" y="21568"/>
                  </a:cubicBezTo>
                  <a:lnTo>
                    <a:pt x="17636" y="14122"/>
                  </a:lnTo>
                  <a:cubicBezTo>
                    <a:pt x="20578" y="11705"/>
                    <a:pt x="19860" y="0"/>
                    <a:pt x="1695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69" name="Google Shape;202;p2"/>
            <p:cNvSpPr/>
            <p:nvPr/>
          </p:nvSpPr>
          <p:spPr>
            <a:xfrm>
              <a:off x="14111521" y="6357821"/>
              <a:ext cx="134665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15" h="21600" extrusionOk="0">
                  <a:moveTo>
                    <a:pt x="8912" y="0"/>
                  </a:moveTo>
                  <a:cubicBezTo>
                    <a:pt x="8413" y="0"/>
                    <a:pt x="7890" y="56"/>
                    <a:pt x="7380" y="154"/>
                  </a:cubicBezTo>
                  <a:cubicBezTo>
                    <a:pt x="-501" y="1831"/>
                    <a:pt x="-2718" y="14148"/>
                    <a:pt x="3921" y="19629"/>
                  </a:cubicBezTo>
                  <a:cubicBezTo>
                    <a:pt x="5523" y="20985"/>
                    <a:pt x="7275" y="21600"/>
                    <a:pt x="8970" y="21600"/>
                  </a:cubicBezTo>
                  <a:cubicBezTo>
                    <a:pt x="14146" y="21600"/>
                    <a:pt x="18882" y="15966"/>
                    <a:pt x="17745" y="8822"/>
                  </a:cubicBezTo>
                  <a:cubicBezTo>
                    <a:pt x="17002" y="3607"/>
                    <a:pt x="13172" y="0"/>
                    <a:pt x="891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70" name="Google Shape;203;p2"/>
            <p:cNvSpPr/>
            <p:nvPr/>
          </p:nvSpPr>
          <p:spPr>
            <a:xfrm>
              <a:off x="14293504" y="6317949"/>
              <a:ext cx="299389" cy="1180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47" h="21600" extrusionOk="0">
                  <a:moveTo>
                    <a:pt x="17089" y="0"/>
                  </a:moveTo>
                  <a:cubicBezTo>
                    <a:pt x="16963" y="0"/>
                    <a:pt x="16832" y="16"/>
                    <a:pt x="16696" y="64"/>
                  </a:cubicBezTo>
                  <a:lnTo>
                    <a:pt x="1914" y="7471"/>
                  </a:lnTo>
                  <a:cubicBezTo>
                    <a:pt x="-1031" y="9675"/>
                    <a:pt x="-382" y="21600"/>
                    <a:pt x="2529" y="21600"/>
                  </a:cubicBezTo>
                  <a:cubicBezTo>
                    <a:pt x="2637" y="21600"/>
                    <a:pt x="2746" y="21584"/>
                    <a:pt x="2860" y="21552"/>
                  </a:cubicBezTo>
                  <a:lnTo>
                    <a:pt x="17578" y="13937"/>
                  </a:lnTo>
                  <a:cubicBezTo>
                    <a:pt x="20569" y="11941"/>
                    <a:pt x="19948" y="0"/>
                    <a:pt x="1708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71" name="Google Shape;204;p2"/>
            <p:cNvSpPr/>
            <p:nvPr/>
          </p:nvSpPr>
          <p:spPr>
            <a:xfrm>
              <a:off x="13973195" y="7191984"/>
              <a:ext cx="602920" cy="6079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01" h="21600" extrusionOk="0">
                  <a:moveTo>
                    <a:pt x="9756" y="0"/>
                  </a:moveTo>
                  <a:cubicBezTo>
                    <a:pt x="6875" y="0"/>
                    <a:pt x="4041" y="1460"/>
                    <a:pt x="2201" y="4207"/>
                  </a:cubicBezTo>
                  <a:lnTo>
                    <a:pt x="18147" y="15425"/>
                  </a:lnTo>
                  <a:cubicBezTo>
                    <a:pt x="20395" y="10552"/>
                    <a:pt x="18939" y="4575"/>
                    <a:pt x="14805" y="1621"/>
                  </a:cubicBezTo>
                  <a:cubicBezTo>
                    <a:pt x="13240" y="527"/>
                    <a:pt x="11490" y="0"/>
                    <a:pt x="9756" y="0"/>
                  </a:cubicBezTo>
                  <a:close/>
                  <a:moveTo>
                    <a:pt x="1076" y="6200"/>
                  </a:moveTo>
                  <a:cubicBezTo>
                    <a:pt x="-1205" y="11070"/>
                    <a:pt x="248" y="17049"/>
                    <a:pt x="4419" y="19966"/>
                  </a:cubicBezTo>
                  <a:cubicBezTo>
                    <a:pt x="5983" y="21067"/>
                    <a:pt x="7736" y="21600"/>
                    <a:pt x="9473" y="21600"/>
                  </a:cubicBezTo>
                  <a:cubicBezTo>
                    <a:pt x="12329" y="21600"/>
                    <a:pt x="15138" y="20162"/>
                    <a:pt x="16989" y="17455"/>
                  </a:cubicBezTo>
                  <a:lnTo>
                    <a:pt x="1076" y="620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72" name="Google Shape;205;p2"/>
            <p:cNvSpPr/>
            <p:nvPr/>
          </p:nvSpPr>
          <p:spPr>
            <a:xfrm>
              <a:off x="15229989" y="5890355"/>
              <a:ext cx="505521" cy="4910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80" y="0"/>
                  </a:moveTo>
                  <a:lnTo>
                    <a:pt x="3281" y="6214"/>
                  </a:lnTo>
                  <a:cubicBezTo>
                    <a:pt x="-141" y="8728"/>
                    <a:pt x="-1029" y="13755"/>
                    <a:pt x="1296" y="17455"/>
                  </a:cubicBezTo>
                  <a:lnTo>
                    <a:pt x="1676" y="18096"/>
                  </a:lnTo>
                  <a:cubicBezTo>
                    <a:pt x="3121" y="20368"/>
                    <a:pt x="5468" y="21600"/>
                    <a:pt x="7861" y="21600"/>
                  </a:cubicBezTo>
                  <a:cubicBezTo>
                    <a:pt x="9313" y="21600"/>
                    <a:pt x="10783" y="21147"/>
                    <a:pt x="12075" y="20195"/>
                  </a:cubicBezTo>
                  <a:lnTo>
                    <a:pt x="20571" y="13982"/>
                  </a:lnTo>
                  <a:lnTo>
                    <a:pt x="11780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73" name="Google Shape;206;p2"/>
            <p:cNvSpPr/>
            <p:nvPr/>
          </p:nvSpPr>
          <p:spPr>
            <a:xfrm>
              <a:off x="15563110" y="5686023"/>
              <a:ext cx="505516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2707" y="0"/>
                  </a:moveTo>
                  <a:cubicBezTo>
                    <a:pt x="11265" y="0"/>
                    <a:pt x="9813" y="456"/>
                    <a:pt x="8538" y="1398"/>
                  </a:cubicBezTo>
                  <a:lnTo>
                    <a:pt x="0" y="7644"/>
                  </a:lnTo>
                  <a:lnTo>
                    <a:pt x="8791" y="21600"/>
                  </a:lnTo>
                  <a:lnTo>
                    <a:pt x="17286" y="15354"/>
                  </a:lnTo>
                  <a:cubicBezTo>
                    <a:pt x="20712" y="12845"/>
                    <a:pt x="21600" y="7828"/>
                    <a:pt x="19275" y="4136"/>
                  </a:cubicBezTo>
                  <a:lnTo>
                    <a:pt x="18895" y="3543"/>
                  </a:lnTo>
                  <a:cubicBezTo>
                    <a:pt x="17446" y="1241"/>
                    <a:pt x="15092" y="0"/>
                    <a:pt x="1270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74" name="Google Shape;207;p2"/>
            <p:cNvSpPr/>
            <p:nvPr/>
          </p:nvSpPr>
          <p:spPr>
            <a:xfrm>
              <a:off x="15051537" y="6905031"/>
              <a:ext cx="931458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6" h="21600" extrusionOk="0">
                  <a:moveTo>
                    <a:pt x="10058" y="0"/>
                  </a:moveTo>
                  <a:cubicBezTo>
                    <a:pt x="9668" y="0"/>
                    <a:pt x="9356" y="275"/>
                    <a:pt x="9287" y="656"/>
                  </a:cubicBezTo>
                  <a:lnTo>
                    <a:pt x="8377" y="7713"/>
                  </a:lnTo>
                  <a:lnTo>
                    <a:pt x="1377" y="6774"/>
                  </a:lnTo>
                  <a:cubicBezTo>
                    <a:pt x="1346" y="6770"/>
                    <a:pt x="1314" y="6768"/>
                    <a:pt x="1284" y="6768"/>
                  </a:cubicBezTo>
                  <a:cubicBezTo>
                    <a:pt x="895" y="6768"/>
                    <a:pt x="581" y="7045"/>
                    <a:pt x="515" y="7423"/>
                  </a:cubicBezTo>
                  <a:lnTo>
                    <a:pt x="11" y="11423"/>
                  </a:lnTo>
                  <a:cubicBezTo>
                    <a:pt x="-61" y="11832"/>
                    <a:pt x="227" y="12194"/>
                    <a:pt x="658" y="12265"/>
                  </a:cubicBezTo>
                  <a:lnTo>
                    <a:pt x="7658" y="13181"/>
                  </a:lnTo>
                  <a:lnTo>
                    <a:pt x="6724" y="20238"/>
                  </a:lnTo>
                  <a:cubicBezTo>
                    <a:pt x="6676" y="20649"/>
                    <a:pt x="6964" y="21009"/>
                    <a:pt x="7371" y="21082"/>
                  </a:cubicBezTo>
                  <a:lnTo>
                    <a:pt x="11349" y="21588"/>
                  </a:lnTo>
                  <a:cubicBezTo>
                    <a:pt x="11391" y="21596"/>
                    <a:pt x="11434" y="21600"/>
                    <a:pt x="11476" y="21600"/>
                  </a:cubicBezTo>
                  <a:cubicBezTo>
                    <a:pt x="11832" y="21600"/>
                    <a:pt x="12146" y="21329"/>
                    <a:pt x="12189" y="20963"/>
                  </a:cubicBezTo>
                  <a:lnTo>
                    <a:pt x="13123" y="13904"/>
                  </a:lnTo>
                  <a:lnTo>
                    <a:pt x="20124" y="14842"/>
                  </a:lnTo>
                  <a:cubicBezTo>
                    <a:pt x="20154" y="14846"/>
                    <a:pt x="20184" y="14848"/>
                    <a:pt x="20212" y="14848"/>
                  </a:cubicBezTo>
                  <a:cubicBezTo>
                    <a:pt x="20585" y="14848"/>
                    <a:pt x="20919" y="14573"/>
                    <a:pt x="20963" y="14193"/>
                  </a:cubicBezTo>
                  <a:lnTo>
                    <a:pt x="21491" y="10193"/>
                  </a:lnTo>
                  <a:cubicBezTo>
                    <a:pt x="21539" y="9784"/>
                    <a:pt x="21251" y="9400"/>
                    <a:pt x="20842" y="9351"/>
                  </a:cubicBezTo>
                  <a:lnTo>
                    <a:pt x="13844" y="8435"/>
                  </a:lnTo>
                  <a:lnTo>
                    <a:pt x="14754" y="1378"/>
                  </a:lnTo>
                  <a:cubicBezTo>
                    <a:pt x="14826" y="967"/>
                    <a:pt x="14514" y="583"/>
                    <a:pt x="14107" y="534"/>
                  </a:cubicBezTo>
                  <a:lnTo>
                    <a:pt x="10151" y="4"/>
                  </a:lnTo>
                  <a:cubicBezTo>
                    <a:pt x="10119" y="0"/>
                    <a:pt x="10089" y="0"/>
                    <a:pt x="1005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75" name="Google Shape;208;p2"/>
            <p:cNvSpPr/>
            <p:nvPr/>
          </p:nvSpPr>
          <p:spPr>
            <a:xfrm>
              <a:off x="13858312" y="8315456"/>
              <a:ext cx="934093" cy="11806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0" h="21600" extrusionOk="0">
                  <a:moveTo>
                    <a:pt x="8127" y="693"/>
                  </a:moveTo>
                  <a:cubicBezTo>
                    <a:pt x="8703" y="693"/>
                    <a:pt x="9266" y="969"/>
                    <a:pt x="9368" y="1585"/>
                  </a:cubicBezTo>
                  <a:cubicBezTo>
                    <a:pt x="9439" y="1907"/>
                    <a:pt x="9322" y="2212"/>
                    <a:pt x="9085" y="2460"/>
                  </a:cubicBezTo>
                  <a:lnTo>
                    <a:pt x="7496" y="2688"/>
                  </a:lnTo>
                  <a:cubicBezTo>
                    <a:pt x="7163" y="2535"/>
                    <a:pt x="6926" y="2270"/>
                    <a:pt x="6855" y="1965"/>
                  </a:cubicBezTo>
                  <a:lnTo>
                    <a:pt x="6831" y="1965"/>
                  </a:lnTo>
                  <a:cubicBezTo>
                    <a:pt x="6604" y="1167"/>
                    <a:pt x="7374" y="693"/>
                    <a:pt x="8127" y="693"/>
                  </a:cubicBezTo>
                  <a:close/>
                  <a:moveTo>
                    <a:pt x="15537" y="4380"/>
                  </a:moveTo>
                  <a:cubicBezTo>
                    <a:pt x="16045" y="4380"/>
                    <a:pt x="16493" y="4666"/>
                    <a:pt x="16576" y="5082"/>
                  </a:cubicBezTo>
                  <a:lnTo>
                    <a:pt x="19350" y="17188"/>
                  </a:lnTo>
                  <a:cubicBezTo>
                    <a:pt x="19446" y="17664"/>
                    <a:pt x="19065" y="18101"/>
                    <a:pt x="18472" y="18195"/>
                  </a:cubicBezTo>
                  <a:lnTo>
                    <a:pt x="6002" y="20020"/>
                  </a:lnTo>
                  <a:cubicBezTo>
                    <a:pt x="5929" y="20031"/>
                    <a:pt x="5857" y="20036"/>
                    <a:pt x="5787" y="20036"/>
                  </a:cubicBezTo>
                  <a:cubicBezTo>
                    <a:pt x="5258" y="20036"/>
                    <a:pt x="4805" y="19734"/>
                    <a:pt x="4722" y="19298"/>
                  </a:cubicBezTo>
                  <a:lnTo>
                    <a:pt x="1972" y="7229"/>
                  </a:lnTo>
                  <a:cubicBezTo>
                    <a:pt x="1876" y="6755"/>
                    <a:pt x="2257" y="6299"/>
                    <a:pt x="2872" y="6203"/>
                  </a:cubicBezTo>
                  <a:lnTo>
                    <a:pt x="4342" y="5994"/>
                  </a:lnTo>
                  <a:cubicBezTo>
                    <a:pt x="4425" y="6327"/>
                    <a:pt x="4784" y="6559"/>
                    <a:pt x="5190" y="6559"/>
                  </a:cubicBezTo>
                  <a:cubicBezTo>
                    <a:pt x="5246" y="6559"/>
                    <a:pt x="5303" y="6554"/>
                    <a:pt x="5361" y="6546"/>
                  </a:cubicBezTo>
                  <a:lnTo>
                    <a:pt x="13139" y="5424"/>
                  </a:lnTo>
                  <a:cubicBezTo>
                    <a:pt x="13613" y="5347"/>
                    <a:pt x="13920" y="4987"/>
                    <a:pt x="13850" y="4607"/>
                  </a:cubicBezTo>
                  <a:lnTo>
                    <a:pt x="15320" y="4398"/>
                  </a:lnTo>
                  <a:cubicBezTo>
                    <a:pt x="15393" y="4386"/>
                    <a:pt x="15465" y="4380"/>
                    <a:pt x="15537" y="4380"/>
                  </a:cubicBezTo>
                  <a:close/>
                  <a:moveTo>
                    <a:pt x="8091" y="0"/>
                  </a:moveTo>
                  <a:cubicBezTo>
                    <a:pt x="7966" y="0"/>
                    <a:pt x="7836" y="8"/>
                    <a:pt x="7709" y="27"/>
                  </a:cubicBezTo>
                  <a:cubicBezTo>
                    <a:pt x="6524" y="198"/>
                    <a:pt x="5741" y="1129"/>
                    <a:pt x="5978" y="2080"/>
                  </a:cubicBezTo>
                  <a:cubicBezTo>
                    <a:pt x="6050" y="2364"/>
                    <a:pt x="6191" y="2631"/>
                    <a:pt x="6405" y="2840"/>
                  </a:cubicBezTo>
                  <a:lnTo>
                    <a:pt x="4863" y="3087"/>
                  </a:lnTo>
                  <a:cubicBezTo>
                    <a:pt x="4224" y="3181"/>
                    <a:pt x="3820" y="3676"/>
                    <a:pt x="3915" y="4169"/>
                  </a:cubicBezTo>
                  <a:lnTo>
                    <a:pt x="4035" y="4626"/>
                  </a:lnTo>
                  <a:lnTo>
                    <a:pt x="1450" y="4987"/>
                  </a:lnTo>
                  <a:cubicBezTo>
                    <a:pt x="502" y="5138"/>
                    <a:pt x="-139" y="5880"/>
                    <a:pt x="26" y="6659"/>
                  </a:cubicBezTo>
                  <a:lnTo>
                    <a:pt x="3181" y="20419"/>
                  </a:lnTo>
                  <a:cubicBezTo>
                    <a:pt x="3328" y="21115"/>
                    <a:pt x="4083" y="21600"/>
                    <a:pt x="4935" y="21600"/>
                  </a:cubicBezTo>
                  <a:cubicBezTo>
                    <a:pt x="5036" y="21600"/>
                    <a:pt x="5140" y="21592"/>
                    <a:pt x="5244" y="21578"/>
                  </a:cubicBezTo>
                  <a:lnTo>
                    <a:pt x="19872" y="19431"/>
                  </a:lnTo>
                  <a:cubicBezTo>
                    <a:pt x="20820" y="19279"/>
                    <a:pt x="21461" y="18537"/>
                    <a:pt x="21294" y="17777"/>
                  </a:cubicBezTo>
                  <a:lnTo>
                    <a:pt x="18165" y="3999"/>
                  </a:lnTo>
                  <a:cubicBezTo>
                    <a:pt x="17996" y="3303"/>
                    <a:pt x="17239" y="2819"/>
                    <a:pt x="16385" y="2819"/>
                  </a:cubicBezTo>
                  <a:cubicBezTo>
                    <a:pt x="16284" y="2819"/>
                    <a:pt x="16182" y="2825"/>
                    <a:pt x="16078" y="2840"/>
                  </a:cubicBezTo>
                  <a:lnTo>
                    <a:pt x="13518" y="3220"/>
                  </a:lnTo>
                  <a:lnTo>
                    <a:pt x="13422" y="2782"/>
                  </a:lnTo>
                  <a:cubicBezTo>
                    <a:pt x="13318" y="2327"/>
                    <a:pt x="12821" y="2006"/>
                    <a:pt x="12263" y="2006"/>
                  </a:cubicBezTo>
                  <a:cubicBezTo>
                    <a:pt x="12191" y="2006"/>
                    <a:pt x="12120" y="2011"/>
                    <a:pt x="12048" y="2022"/>
                  </a:cubicBezTo>
                  <a:lnTo>
                    <a:pt x="10174" y="2289"/>
                  </a:lnTo>
                  <a:cubicBezTo>
                    <a:pt x="10270" y="2022"/>
                    <a:pt x="10294" y="1737"/>
                    <a:pt x="10246" y="1472"/>
                  </a:cubicBezTo>
                  <a:cubicBezTo>
                    <a:pt x="10055" y="607"/>
                    <a:pt x="9131" y="0"/>
                    <a:pt x="809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76" name="Google Shape;209;p2"/>
            <p:cNvSpPr/>
            <p:nvPr/>
          </p:nvSpPr>
          <p:spPr>
            <a:xfrm>
              <a:off x="14040667" y="8740782"/>
              <a:ext cx="134873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3" h="21600" extrusionOk="0">
                  <a:moveTo>
                    <a:pt x="8936" y="0"/>
                  </a:moveTo>
                  <a:cubicBezTo>
                    <a:pt x="8437" y="0"/>
                    <a:pt x="7926" y="56"/>
                    <a:pt x="7404" y="154"/>
                  </a:cubicBezTo>
                  <a:cubicBezTo>
                    <a:pt x="-477" y="1817"/>
                    <a:pt x="-2682" y="14134"/>
                    <a:pt x="3806" y="19629"/>
                  </a:cubicBezTo>
                  <a:cubicBezTo>
                    <a:pt x="5454" y="20985"/>
                    <a:pt x="7218" y="21600"/>
                    <a:pt x="8936" y="21600"/>
                  </a:cubicBezTo>
                  <a:cubicBezTo>
                    <a:pt x="14182" y="21600"/>
                    <a:pt x="18918" y="15966"/>
                    <a:pt x="17769" y="8808"/>
                  </a:cubicBezTo>
                  <a:cubicBezTo>
                    <a:pt x="16910" y="3607"/>
                    <a:pt x="13173" y="0"/>
                    <a:pt x="893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77" name="Google Shape;210;p2"/>
            <p:cNvSpPr/>
            <p:nvPr/>
          </p:nvSpPr>
          <p:spPr>
            <a:xfrm>
              <a:off x="14218102" y="8700126"/>
              <a:ext cx="306254" cy="1190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6" h="21600" extrusionOk="0">
                  <a:moveTo>
                    <a:pt x="17205" y="0"/>
                  </a:moveTo>
                  <a:cubicBezTo>
                    <a:pt x="17005" y="0"/>
                    <a:pt x="16793" y="63"/>
                    <a:pt x="16570" y="206"/>
                  </a:cubicBezTo>
                  <a:lnTo>
                    <a:pt x="16637" y="206"/>
                  </a:lnTo>
                  <a:lnTo>
                    <a:pt x="2174" y="7744"/>
                  </a:lnTo>
                  <a:cubicBezTo>
                    <a:pt x="-1013" y="8789"/>
                    <a:pt x="-461" y="21600"/>
                    <a:pt x="2308" y="21600"/>
                  </a:cubicBezTo>
                  <a:cubicBezTo>
                    <a:pt x="2536" y="21600"/>
                    <a:pt x="2781" y="21505"/>
                    <a:pt x="3037" y="21331"/>
                  </a:cubicBezTo>
                  <a:lnTo>
                    <a:pt x="17428" y="13777"/>
                  </a:lnTo>
                  <a:cubicBezTo>
                    <a:pt x="20587" y="12558"/>
                    <a:pt x="19991" y="0"/>
                    <a:pt x="17205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78" name="Google Shape;211;p2"/>
            <p:cNvSpPr/>
            <p:nvPr/>
          </p:nvSpPr>
          <p:spPr>
            <a:xfrm>
              <a:off x="14074954" y="8928537"/>
              <a:ext cx="134673" cy="135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03" h="21600" extrusionOk="0">
                  <a:moveTo>
                    <a:pt x="9143" y="0"/>
                  </a:moveTo>
                  <a:cubicBezTo>
                    <a:pt x="8583" y="0"/>
                    <a:pt x="8012" y="70"/>
                    <a:pt x="7440" y="195"/>
                  </a:cubicBezTo>
                  <a:cubicBezTo>
                    <a:pt x="-479" y="1856"/>
                    <a:pt x="-2695" y="14149"/>
                    <a:pt x="3825" y="19633"/>
                  </a:cubicBezTo>
                  <a:cubicBezTo>
                    <a:pt x="5469" y="20986"/>
                    <a:pt x="7242" y="21600"/>
                    <a:pt x="8956" y="21600"/>
                  </a:cubicBezTo>
                  <a:cubicBezTo>
                    <a:pt x="14193" y="21600"/>
                    <a:pt x="18905" y="15977"/>
                    <a:pt x="17855" y="8847"/>
                  </a:cubicBezTo>
                  <a:cubicBezTo>
                    <a:pt x="17121" y="3712"/>
                    <a:pt x="13353" y="0"/>
                    <a:pt x="914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79" name="Google Shape;212;p2"/>
            <p:cNvSpPr/>
            <p:nvPr/>
          </p:nvSpPr>
          <p:spPr>
            <a:xfrm>
              <a:off x="14258618" y="8889101"/>
              <a:ext cx="296336" cy="117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2" h="21600" extrusionOk="0">
                  <a:moveTo>
                    <a:pt x="17024" y="0"/>
                  </a:moveTo>
                  <a:cubicBezTo>
                    <a:pt x="16932" y="0"/>
                    <a:pt x="16846" y="16"/>
                    <a:pt x="16748" y="32"/>
                  </a:cubicBezTo>
                  <a:lnTo>
                    <a:pt x="1833" y="7462"/>
                  </a:lnTo>
                  <a:cubicBezTo>
                    <a:pt x="-1041" y="9895"/>
                    <a:pt x="-323" y="21600"/>
                    <a:pt x="2517" y="21600"/>
                  </a:cubicBezTo>
                  <a:cubicBezTo>
                    <a:pt x="2586" y="21600"/>
                    <a:pt x="2655" y="21584"/>
                    <a:pt x="2724" y="21568"/>
                  </a:cubicBezTo>
                  <a:lnTo>
                    <a:pt x="17639" y="13946"/>
                  </a:lnTo>
                  <a:cubicBezTo>
                    <a:pt x="20559" y="11545"/>
                    <a:pt x="19875" y="0"/>
                    <a:pt x="1702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80" name="Google Shape;213;p2"/>
            <p:cNvSpPr/>
            <p:nvPr/>
          </p:nvSpPr>
          <p:spPr>
            <a:xfrm>
              <a:off x="14111298" y="9129290"/>
              <a:ext cx="134890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5" h="21600" extrusionOk="0">
                  <a:moveTo>
                    <a:pt x="8941" y="0"/>
                  </a:moveTo>
                  <a:cubicBezTo>
                    <a:pt x="8430" y="0"/>
                    <a:pt x="7919" y="56"/>
                    <a:pt x="7409" y="154"/>
                  </a:cubicBezTo>
                  <a:cubicBezTo>
                    <a:pt x="-472" y="1817"/>
                    <a:pt x="-2689" y="14134"/>
                    <a:pt x="3811" y="19629"/>
                  </a:cubicBezTo>
                  <a:cubicBezTo>
                    <a:pt x="5447" y="20985"/>
                    <a:pt x="7223" y="21600"/>
                    <a:pt x="8952" y="21600"/>
                  </a:cubicBezTo>
                  <a:cubicBezTo>
                    <a:pt x="14187" y="21600"/>
                    <a:pt x="18911" y="15994"/>
                    <a:pt x="17774" y="8976"/>
                  </a:cubicBezTo>
                  <a:cubicBezTo>
                    <a:pt x="17031" y="3621"/>
                    <a:pt x="13201" y="0"/>
                    <a:pt x="894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81" name="Google Shape;214;p2"/>
            <p:cNvSpPr/>
            <p:nvPr/>
          </p:nvSpPr>
          <p:spPr>
            <a:xfrm>
              <a:off x="14294270" y="9089594"/>
              <a:ext cx="297842" cy="117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13" h="21600" extrusionOk="0">
                  <a:moveTo>
                    <a:pt x="16977" y="0"/>
                  </a:moveTo>
                  <a:cubicBezTo>
                    <a:pt x="16886" y="0"/>
                    <a:pt x="16794" y="16"/>
                    <a:pt x="16703" y="32"/>
                  </a:cubicBezTo>
                  <a:lnTo>
                    <a:pt x="1870" y="7654"/>
                  </a:lnTo>
                  <a:cubicBezTo>
                    <a:pt x="-1039" y="9879"/>
                    <a:pt x="-353" y="21600"/>
                    <a:pt x="2545" y="21600"/>
                  </a:cubicBezTo>
                  <a:cubicBezTo>
                    <a:pt x="2636" y="21600"/>
                    <a:pt x="2728" y="21600"/>
                    <a:pt x="2819" y="21568"/>
                  </a:cubicBezTo>
                  <a:lnTo>
                    <a:pt x="17589" y="13946"/>
                  </a:lnTo>
                  <a:cubicBezTo>
                    <a:pt x="20561" y="11721"/>
                    <a:pt x="19881" y="0"/>
                    <a:pt x="1697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82" name="Google Shape;215;p2"/>
            <p:cNvSpPr/>
            <p:nvPr/>
          </p:nvSpPr>
          <p:spPr>
            <a:xfrm>
              <a:off x="13973195" y="9965635"/>
              <a:ext cx="601134" cy="6061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60" h="21600" extrusionOk="0">
                  <a:moveTo>
                    <a:pt x="9810" y="0"/>
                  </a:moveTo>
                  <a:cubicBezTo>
                    <a:pt x="6931" y="0"/>
                    <a:pt x="4096" y="1449"/>
                    <a:pt x="2215" y="4138"/>
                  </a:cubicBezTo>
                  <a:lnTo>
                    <a:pt x="18258" y="15429"/>
                  </a:lnTo>
                  <a:cubicBezTo>
                    <a:pt x="20388" y="10542"/>
                    <a:pt x="19055" y="4582"/>
                    <a:pt x="14929" y="1660"/>
                  </a:cubicBezTo>
                  <a:cubicBezTo>
                    <a:pt x="13341" y="538"/>
                    <a:pt x="11566" y="0"/>
                    <a:pt x="9810" y="0"/>
                  </a:cubicBezTo>
                  <a:close/>
                  <a:moveTo>
                    <a:pt x="1083" y="6137"/>
                  </a:moveTo>
                  <a:cubicBezTo>
                    <a:pt x="-1212" y="11024"/>
                    <a:pt x="250" y="17021"/>
                    <a:pt x="4446" y="19943"/>
                  </a:cubicBezTo>
                  <a:cubicBezTo>
                    <a:pt x="6017" y="21062"/>
                    <a:pt x="7781" y="21600"/>
                    <a:pt x="9525" y="21600"/>
                  </a:cubicBezTo>
                  <a:cubicBezTo>
                    <a:pt x="12399" y="21600"/>
                    <a:pt x="15228" y="20145"/>
                    <a:pt x="17092" y="17428"/>
                  </a:cubicBezTo>
                  <a:lnTo>
                    <a:pt x="1083" y="6137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83" name="Google Shape;216;p2"/>
            <p:cNvSpPr/>
            <p:nvPr/>
          </p:nvSpPr>
          <p:spPr>
            <a:xfrm>
              <a:off x="15229989" y="8661824"/>
              <a:ext cx="505521" cy="4912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80" y="0"/>
                  </a:moveTo>
                  <a:lnTo>
                    <a:pt x="3281" y="6256"/>
                  </a:lnTo>
                  <a:cubicBezTo>
                    <a:pt x="-141" y="8723"/>
                    <a:pt x="-1029" y="13744"/>
                    <a:pt x="1296" y="17446"/>
                  </a:cubicBezTo>
                  <a:lnTo>
                    <a:pt x="1676" y="18082"/>
                  </a:lnTo>
                  <a:cubicBezTo>
                    <a:pt x="3128" y="20369"/>
                    <a:pt x="5489" y="21600"/>
                    <a:pt x="7893" y="21600"/>
                  </a:cubicBezTo>
                  <a:cubicBezTo>
                    <a:pt x="9334" y="21600"/>
                    <a:pt x="10790" y="21155"/>
                    <a:pt x="12075" y="20231"/>
                  </a:cubicBezTo>
                  <a:lnTo>
                    <a:pt x="20571" y="13974"/>
                  </a:lnTo>
                  <a:lnTo>
                    <a:pt x="11780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84" name="Google Shape;217;p2"/>
            <p:cNvSpPr/>
            <p:nvPr/>
          </p:nvSpPr>
          <p:spPr>
            <a:xfrm>
              <a:off x="15563110" y="8457493"/>
              <a:ext cx="505516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2707" y="0"/>
                  </a:moveTo>
                  <a:cubicBezTo>
                    <a:pt x="11265" y="0"/>
                    <a:pt x="9813" y="452"/>
                    <a:pt x="8538" y="1398"/>
                  </a:cubicBezTo>
                  <a:lnTo>
                    <a:pt x="0" y="7644"/>
                  </a:lnTo>
                  <a:lnTo>
                    <a:pt x="8791" y="21600"/>
                  </a:lnTo>
                  <a:lnTo>
                    <a:pt x="17286" y="15350"/>
                  </a:lnTo>
                  <a:cubicBezTo>
                    <a:pt x="20712" y="12845"/>
                    <a:pt x="21600" y="7828"/>
                    <a:pt x="19275" y="4178"/>
                  </a:cubicBezTo>
                  <a:lnTo>
                    <a:pt x="18895" y="3543"/>
                  </a:lnTo>
                  <a:cubicBezTo>
                    <a:pt x="17446" y="1241"/>
                    <a:pt x="15092" y="0"/>
                    <a:pt x="1270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85" name="Google Shape;218;p2"/>
            <p:cNvSpPr/>
            <p:nvPr/>
          </p:nvSpPr>
          <p:spPr>
            <a:xfrm>
              <a:off x="15051537" y="9677198"/>
              <a:ext cx="931458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6" h="21600" extrusionOk="0">
                  <a:moveTo>
                    <a:pt x="10026" y="0"/>
                  </a:moveTo>
                  <a:cubicBezTo>
                    <a:pt x="9668" y="0"/>
                    <a:pt x="9356" y="273"/>
                    <a:pt x="9311" y="662"/>
                  </a:cubicBezTo>
                  <a:lnTo>
                    <a:pt x="8377" y="7696"/>
                  </a:lnTo>
                  <a:lnTo>
                    <a:pt x="1377" y="6758"/>
                  </a:lnTo>
                  <a:cubicBezTo>
                    <a:pt x="1348" y="6754"/>
                    <a:pt x="1318" y="6752"/>
                    <a:pt x="1288" y="6752"/>
                  </a:cubicBezTo>
                  <a:cubicBezTo>
                    <a:pt x="916" y="6752"/>
                    <a:pt x="583" y="7027"/>
                    <a:pt x="539" y="7407"/>
                  </a:cubicBezTo>
                  <a:lnTo>
                    <a:pt x="11" y="11407"/>
                  </a:lnTo>
                  <a:cubicBezTo>
                    <a:pt x="-61" y="11816"/>
                    <a:pt x="227" y="12200"/>
                    <a:pt x="658" y="12249"/>
                  </a:cubicBezTo>
                  <a:lnTo>
                    <a:pt x="7658" y="13189"/>
                  </a:lnTo>
                  <a:lnTo>
                    <a:pt x="6724" y="20222"/>
                  </a:lnTo>
                  <a:cubicBezTo>
                    <a:pt x="6676" y="20633"/>
                    <a:pt x="6964" y="21017"/>
                    <a:pt x="7371" y="21066"/>
                  </a:cubicBezTo>
                  <a:lnTo>
                    <a:pt x="11349" y="21596"/>
                  </a:lnTo>
                  <a:cubicBezTo>
                    <a:pt x="11379" y="21600"/>
                    <a:pt x="11409" y="21600"/>
                    <a:pt x="11440" y="21600"/>
                  </a:cubicBezTo>
                  <a:cubicBezTo>
                    <a:pt x="11812" y="21600"/>
                    <a:pt x="12144" y="21325"/>
                    <a:pt x="12189" y="20944"/>
                  </a:cubicBezTo>
                  <a:lnTo>
                    <a:pt x="13123" y="13912"/>
                  </a:lnTo>
                  <a:lnTo>
                    <a:pt x="20124" y="14826"/>
                  </a:lnTo>
                  <a:cubicBezTo>
                    <a:pt x="20166" y="14834"/>
                    <a:pt x="20208" y="14838"/>
                    <a:pt x="20248" y="14838"/>
                  </a:cubicBezTo>
                  <a:cubicBezTo>
                    <a:pt x="20607" y="14838"/>
                    <a:pt x="20919" y="14565"/>
                    <a:pt x="20963" y="14177"/>
                  </a:cubicBezTo>
                  <a:lnTo>
                    <a:pt x="21491" y="10201"/>
                  </a:lnTo>
                  <a:cubicBezTo>
                    <a:pt x="21539" y="9792"/>
                    <a:pt x="21251" y="9406"/>
                    <a:pt x="20842" y="9357"/>
                  </a:cubicBezTo>
                  <a:lnTo>
                    <a:pt x="13844" y="8419"/>
                  </a:lnTo>
                  <a:lnTo>
                    <a:pt x="14754" y="1386"/>
                  </a:lnTo>
                  <a:cubicBezTo>
                    <a:pt x="14826" y="975"/>
                    <a:pt x="14514" y="591"/>
                    <a:pt x="14107" y="542"/>
                  </a:cubicBezTo>
                  <a:lnTo>
                    <a:pt x="10151" y="12"/>
                  </a:lnTo>
                  <a:cubicBezTo>
                    <a:pt x="10109" y="4"/>
                    <a:pt x="10067" y="0"/>
                    <a:pt x="1002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86" name="Google Shape;219;p2"/>
            <p:cNvSpPr/>
            <p:nvPr/>
          </p:nvSpPr>
          <p:spPr>
            <a:xfrm>
              <a:off x="13858312" y="11086838"/>
              <a:ext cx="934093" cy="11795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0" h="21600" extrusionOk="0">
                  <a:moveTo>
                    <a:pt x="8127" y="695"/>
                  </a:moveTo>
                  <a:cubicBezTo>
                    <a:pt x="8703" y="695"/>
                    <a:pt x="9266" y="971"/>
                    <a:pt x="9368" y="1588"/>
                  </a:cubicBezTo>
                  <a:cubicBezTo>
                    <a:pt x="9439" y="1892"/>
                    <a:pt x="9322" y="2216"/>
                    <a:pt x="9085" y="2464"/>
                  </a:cubicBezTo>
                  <a:lnTo>
                    <a:pt x="7496" y="2690"/>
                  </a:lnTo>
                  <a:cubicBezTo>
                    <a:pt x="7163" y="2539"/>
                    <a:pt x="6926" y="2291"/>
                    <a:pt x="6855" y="1987"/>
                  </a:cubicBezTo>
                  <a:lnTo>
                    <a:pt x="6831" y="1968"/>
                  </a:lnTo>
                  <a:cubicBezTo>
                    <a:pt x="6604" y="1169"/>
                    <a:pt x="7374" y="695"/>
                    <a:pt x="8127" y="695"/>
                  </a:cubicBezTo>
                  <a:close/>
                  <a:moveTo>
                    <a:pt x="15527" y="4387"/>
                  </a:moveTo>
                  <a:cubicBezTo>
                    <a:pt x="16041" y="4387"/>
                    <a:pt x="16493" y="4687"/>
                    <a:pt x="16576" y="5106"/>
                  </a:cubicBezTo>
                  <a:lnTo>
                    <a:pt x="19350" y="17186"/>
                  </a:lnTo>
                  <a:cubicBezTo>
                    <a:pt x="19446" y="17662"/>
                    <a:pt x="19065" y="18117"/>
                    <a:pt x="18472" y="18213"/>
                  </a:cubicBezTo>
                  <a:lnTo>
                    <a:pt x="6002" y="20039"/>
                  </a:lnTo>
                  <a:cubicBezTo>
                    <a:pt x="5941" y="20047"/>
                    <a:pt x="5881" y="20050"/>
                    <a:pt x="5819" y="20050"/>
                  </a:cubicBezTo>
                  <a:cubicBezTo>
                    <a:pt x="5297" y="20050"/>
                    <a:pt x="4827" y="19761"/>
                    <a:pt x="4722" y="19335"/>
                  </a:cubicBezTo>
                  <a:lnTo>
                    <a:pt x="1972" y="7237"/>
                  </a:lnTo>
                  <a:cubicBezTo>
                    <a:pt x="1876" y="6761"/>
                    <a:pt x="2257" y="6306"/>
                    <a:pt x="2872" y="6229"/>
                  </a:cubicBezTo>
                  <a:lnTo>
                    <a:pt x="4342" y="6020"/>
                  </a:lnTo>
                  <a:cubicBezTo>
                    <a:pt x="4425" y="6339"/>
                    <a:pt x="4788" y="6584"/>
                    <a:pt x="5198" y="6584"/>
                  </a:cubicBezTo>
                  <a:cubicBezTo>
                    <a:pt x="5252" y="6584"/>
                    <a:pt x="5307" y="6581"/>
                    <a:pt x="5361" y="6571"/>
                  </a:cubicBezTo>
                  <a:lnTo>
                    <a:pt x="13139" y="5430"/>
                  </a:lnTo>
                  <a:cubicBezTo>
                    <a:pt x="13613" y="5354"/>
                    <a:pt x="13920" y="4993"/>
                    <a:pt x="13850" y="4612"/>
                  </a:cubicBezTo>
                  <a:lnTo>
                    <a:pt x="15320" y="4403"/>
                  </a:lnTo>
                  <a:cubicBezTo>
                    <a:pt x="15389" y="4392"/>
                    <a:pt x="15459" y="4387"/>
                    <a:pt x="15527" y="4387"/>
                  </a:cubicBezTo>
                  <a:close/>
                  <a:moveTo>
                    <a:pt x="8091" y="0"/>
                  </a:moveTo>
                  <a:cubicBezTo>
                    <a:pt x="7966" y="0"/>
                    <a:pt x="7838" y="10"/>
                    <a:pt x="7709" y="29"/>
                  </a:cubicBezTo>
                  <a:cubicBezTo>
                    <a:pt x="6524" y="200"/>
                    <a:pt x="5741" y="1131"/>
                    <a:pt x="5978" y="2082"/>
                  </a:cubicBezTo>
                  <a:cubicBezTo>
                    <a:pt x="6050" y="2368"/>
                    <a:pt x="6191" y="2615"/>
                    <a:pt x="6405" y="2844"/>
                  </a:cubicBezTo>
                  <a:lnTo>
                    <a:pt x="4863" y="3072"/>
                  </a:lnTo>
                  <a:cubicBezTo>
                    <a:pt x="4224" y="3167"/>
                    <a:pt x="3820" y="3662"/>
                    <a:pt x="3915" y="4155"/>
                  </a:cubicBezTo>
                  <a:lnTo>
                    <a:pt x="4035" y="4612"/>
                  </a:lnTo>
                  <a:lnTo>
                    <a:pt x="1450" y="4993"/>
                  </a:lnTo>
                  <a:cubicBezTo>
                    <a:pt x="502" y="5125"/>
                    <a:pt x="-139" y="5868"/>
                    <a:pt x="26" y="6648"/>
                  </a:cubicBezTo>
                  <a:lnTo>
                    <a:pt x="3181" y="20439"/>
                  </a:lnTo>
                  <a:cubicBezTo>
                    <a:pt x="3328" y="21118"/>
                    <a:pt x="4083" y="21600"/>
                    <a:pt x="4935" y="21600"/>
                  </a:cubicBezTo>
                  <a:cubicBezTo>
                    <a:pt x="5036" y="21600"/>
                    <a:pt x="5140" y="21594"/>
                    <a:pt x="5244" y="21579"/>
                  </a:cubicBezTo>
                  <a:lnTo>
                    <a:pt x="19872" y="19430"/>
                  </a:lnTo>
                  <a:cubicBezTo>
                    <a:pt x="20820" y="19298"/>
                    <a:pt x="21461" y="18536"/>
                    <a:pt x="21294" y="17775"/>
                  </a:cubicBezTo>
                  <a:lnTo>
                    <a:pt x="18165" y="3984"/>
                  </a:lnTo>
                  <a:cubicBezTo>
                    <a:pt x="17998" y="3298"/>
                    <a:pt x="17259" y="2817"/>
                    <a:pt x="16421" y="2817"/>
                  </a:cubicBezTo>
                  <a:cubicBezTo>
                    <a:pt x="16307" y="2817"/>
                    <a:pt x="16194" y="2825"/>
                    <a:pt x="16078" y="2844"/>
                  </a:cubicBezTo>
                  <a:lnTo>
                    <a:pt x="13518" y="3224"/>
                  </a:lnTo>
                  <a:lnTo>
                    <a:pt x="13422" y="2767"/>
                  </a:lnTo>
                  <a:cubicBezTo>
                    <a:pt x="13314" y="2318"/>
                    <a:pt x="12799" y="1995"/>
                    <a:pt x="12227" y="1995"/>
                  </a:cubicBezTo>
                  <a:cubicBezTo>
                    <a:pt x="12167" y="1995"/>
                    <a:pt x="12108" y="1999"/>
                    <a:pt x="12048" y="2007"/>
                  </a:cubicBezTo>
                  <a:lnTo>
                    <a:pt x="10174" y="2291"/>
                  </a:lnTo>
                  <a:cubicBezTo>
                    <a:pt x="10270" y="2026"/>
                    <a:pt x="10294" y="1740"/>
                    <a:pt x="10246" y="1454"/>
                  </a:cubicBezTo>
                  <a:cubicBezTo>
                    <a:pt x="10055" y="607"/>
                    <a:pt x="9131" y="0"/>
                    <a:pt x="809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87" name="Google Shape;220;p2"/>
            <p:cNvSpPr/>
            <p:nvPr/>
          </p:nvSpPr>
          <p:spPr>
            <a:xfrm>
              <a:off x="14040667" y="11512252"/>
              <a:ext cx="134873" cy="1347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3" h="21600" extrusionOk="0">
                  <a:moveTo>
                    <a:pt x="8936" y="0"/>
                  </a:moveTo>
                  <a:cubicBezTo>
                    <a:pt x="8437" y="0"/>
                    <a:pt x="7926" y="56"/>
                    <a:pt x="7404" y="154"/>
                  </a:cubicBezTo>
                  <a:cubicBezTo>
                    <a:pt x="-477" y="1819"/>
                    <a:pt x="-2682" y="14144"/>
                    <a:pt x="3806" y="19641"/>
                  </a:cubicBezTo>
                  <a:cubicBezTo>
                    <a:pt x="5454" y="20998"/>
                    <a:pt x="7218" y="21600"/>
                    <a:pt x="8936" y="21600"/>
                  </a:cubicBezTo>
                  <a:cubicBezTo>
                    <a:pt x="14182" y="21600"/>
                    <a:pt x="18918" y="15962"/>
                    <a:pt x="17769" y="8813"/>
                  </a:cubicBezTo>
                  <a:cubicBezTo>
                    <a:pt x="16910" y="3609"/>
                    <a:pt x="13173" y="0"/>
                    <a:pt x="893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88" name="Google Shape;221;p2"/>
            <p:cNvSpPr/>
            <p:nvPr/>
          </p:nvSpPr>
          <p:spPr>
            <a:xfrm>
              <a:off x="14219302" y="11472905"/>
              <a:ext cx="303522" cy="1172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3" h="21600" extrusionOk="0">
                  <a:moveTo>
                    <a:pt x="17179" y="0"/>
                  </a:moveTo>
                  <a:cubicBezTo>
                    <a:pt x="17004" y="0"/>
                    <a:pt x="16825" y="48"/>
                    <a:pt x="16639" y="161"/>
                  </a:cubicBezTo>
                  <a:lnTo>
                    <a:pt x="16707" y="161"/>
                  </a:lnTo>
                  <a:lnTo>
                    <a:pt x="2115" y="7618"/>
                  </a:lnTo>
                  <a:cubicBezTo>
                    <a:pt x="-1004" y="8871"/>
                    <a:pt x="-459" y="21600"/>
                    <a:pt x="2346" y="21600"/>
                  </a:cubicBezTo>
                  <a:cubicBezTo>
                    <a:pt x="2548" y="21600"/>
                    <a:pt x="2762" y="21536"/>
                    <a:pt x="2987" y="21391"/>
                  </a:cubicBezTo>
                  <a:lnTo>
                    <a:pt x="17505" y="13934"/>
                  </a:lnTo>
                  <a:cubicBezTo>
                    <a:pt x="20596" y="12311"/>
                    <a:pt x="19944" y="0"/>
                    <a:pt x="1717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89" name="Google Shape;222;p2"/>
            <p:cNvSpPr/>
            <p:nvPr/>
          </p:nvSpPr>
          <p:spPr>
            <a:xfrm>
              <a:off x="14074954" y="11700268"/>
              <a:ext cx="134673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03" h="21600" extrusionOk="0">
                  <a:moveTo>
                    <a:pt x="8991" y="0"/>
                  </a:moveTo>
                  <a:cubicBezTo>
                    <a:pt x="8478" y="0"/>
                    <a:pt x="7953" y="56"/>
                    <a:pt x="7440" y="154"/>
                  </a:cubicBezTo>
                  <a:cubicBezTo>
                    <a:pt x="-479" y="1817"/>
                    <a:pt x="-2695" y="14134"/>
                    <a:pt x="3825" y="19629"/>
                  </a:cubicBezTo>
                  <a:cubicBezTo>
                    <a:pt x="5469" y="20985"/>
                    <a:pt x="7242" y="21600"/>
                    <a:pt x="8956" y="21600"/>
                  </a:cubicBezTo>
                  <a:cubicBezTo>
                    <a:pt x="14193" y="21600"/>
                    <a:pt x="18905" y="15952"/>
                    <a:pt x="17855" y="8808"/>
                  </a:cubicBezTo>
                  <a:cubicBezTo>
                    <a:pt x="17109" y="3607"/>
                    <a:pt x="13260" y="0"/>
                    <a:pt x="899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90" name="Google Shape;223;p2"/>
            <p:cNvSpPr/>
            <p:nvPr/>
          </p:nvSpPr>
          <p:spPr>
            <a:xfrm>
              <a:off x="14258618" y="11660571"/>
              <a:ext cx="296336" cy="117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2" h="21600" extrusionOk="0">
                  <a:moveTo>
                    <a:pt x="17024" y="0"/>
                  </a:moveTo>
                  <a:cubicBezTo>
                    <a:pt x="16932" y="0"/>
                    <a:pt x="16846" y="0"/>
                    <a:pt x="16748" y="32"/>
                  </a:cubicBezTo>
                  <a:lnTo>
                    <a:pt x="1833" y="7467"/>
                  </a:lnTo>
                  <a:cubicBezTo>
                    <a:pt x="-1041" y="9887"/>
                    <a:pt x="-323" y="21600"/>
                    <a:pt x="2517" y="21600"/>
                  </a:cubicBezTo>
                  <a:cubicBezTo>
                    <a:pt x="2586" y="21600"/>
                    <a:pt x="2655" y="21600"/>
                    <a:pt x="2724" y="21584"/>
                  </a:cubicBezTo>
                  <a:lnTo>
                    <a:pt x="17639" y="13957"/>
                  </a:lnTo>
                  <a:cubicBezTo>
                    <a:pt x="20559" y="11553"/>
                    <a:pt x="19875" y="0"/>
                    <a:pt x="1702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91" name="Google Shape;224;p2"/>
            <p:cNvSpPr/>
            <p:nvPr/>
          </p:nvSpPr>
          <p:spPr>
            <a:xfrm>
              <a:off x="14111298" y="11900761"/>
              <a:ext cx="134887" cy="1357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4" h="21600" extrusionOk="0">
                  <a:moveTo>
                    <a:pt x="8894" y="0"/>
                  </a:moveTo>
                  <a:cubicBezTo>
                    <a:pt x="8407" y="0"/>
                    <a:pt x="7908" y="56"/>
                    <a:pt x="7409" y="153"/>
                  </a:cubicBezTo>
                  <a:cubicBezTo>
                    <a:pt x="-472" y="1805"/>
                    <a:pt x="-2689" y="14034"/>
                    <a:pt x="3811" y="19657"/>
                  </a:cubicBezTo>
                  <a:cubicBezTo>
                    <a:pt x="5447" y="21003"/>
                    <a:pt x="7223" y="21600"/>
                    <a:pt x="8941" y="21600"/>
                  </a:cubicBezTo>
                  <a:cubicBezTo>
                    <a:pt x="14175" y="21600"/>
                    <a:pt x="18911" y="16006"/>
                    <a:pt x="17774" y="8912"/>
                  </a:cubicBezTo>
                  <a:cubicBezTo>
                    <a:pt x="17031" y="3720"/>
                    <a:pt x="13166" y="0"/>
                    <a:pt x="889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92" name="Google Shape;225;p2"/>
            <p:cNvSpPr/>
            <p:nvPr/>
          </p:nvSpPr>
          <p:spPr>
            <a:xfrm>
              <a:off x="14293504" y="11860977"/>
              <a:ext cx="299358" cy="1180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45" h="21600" extrusionOk="0">
                  <a:moveTo>
                    <a:pt x="17032" y="0"/>
                  </a:moveTo>
                  <a:cubicBezTo>
                    <a:pt x="16923" y="0"/>
                    <a:pt x="16809" y="16"/>
                    <a:pt x="16695" y="48"/>
                  </a:cubicBezTo>
                  <a:lnTo>
                    <a:pt x="1914" y="7647"/>
                  </a:lnTo>
                  <a:cubicBezTo>
                    <a:pt x="-1014" y="9643"/>
                    <a:pt x="-387" y="21600"/>
                    <a:pt x="2472" y="21600"/>
                  </a:cubicBezTo>
                  <a:cubicBezTo>
                    <a:pt x="2597" y="21600"/>
                    <a:pt x="2728" y="21568"/>
                    <a:pt x="2859" y="21520"/>
                  </a:cubicBezTo>
                  <a:lnTo>
                    <a:pt x="17578" y="14113"/>
                  </a:lnTo>
                  <a:cubicBezTo>
                    <a:pt x="20586" y="11910"/>
                    <a:pt x="19937" y="0"/>
                    <a:pt x="1703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93" name="Google Shape;226;p2"/>
            <p:cNvSpPr/>
            <p:nvPr/>
          </p:nvSpPr>
          <p:spPr>
            <a:xfrm>
              <a:off x="13973195" y="12735884"/>
              <a:ext cx="602920" cy="60741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01" h="21600" extrusionOk="0">
                  <a:moveTo>
                    <a:pt x="9748" y="0"/>
                  </a:moveTo>
                  <a:cubicBezTo>
                    <a:pt x="6867" y="0"/>
                    <a:pt x="4038" y="1455"/>
                    <a:pt x="2201" y="4173"/>
                  </a:cubicBezTo>
                  <a:lnTo>
                    <a:pt x="18147" y="15441"/>
                  </a:lnTo>
                  <a:cubicBezTo>
                    <a:pt x="20395" y="10564"/>
                    <a:pt x="18939" y="4542"/>
                    <a:pt x="14805" y="1626"/>
                  </a:cubicBezTo>
                  <a:cubicBezTo>
                    <a:pt x="13238" y="527"/>
                    <a:pt x="11484" y="0"/>
                    <a:pt x="9748" y="0"/>
                  </a:cubicBezTo>
                  <a:close/>
                  <a:moveTo>
                    <a:pt x="1076" y="6168"/>
                  </a:moveTo>
                  <a:cubicBezTo>
                    <a:pt x="-1205" y="11045"/>
                    <a:pt x="248" y="17030"/>
                    <a:pt x="4419" y="19946"/>
                  </a:cubicBezTo>
                  <a:cubicBezTo>
                    <a:pt x="5980" y="21063"/>
                    <a:pt x="7733" y="21600"/>
                    <a:pt x="9467" y="21600"/>
                  </a:cubicBezTo>
                  <a:cubicBezTo>
                    <a:pt x="12323" y="21600"/>
                    <a:pt x="15135" y="20148"/>
                    <a:pt x="16989" y="17436"/>
                  </a:cubicBezTo>
                  <a:lnTo>
                    <a:pt x="1076" y="6168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94" name="Google Shape;227;p2"/>
            <p:cNvSpPr/>
            <p:nvPr/>
          </p:nvSpPr>
          <p:spPr>
            <a:xfrm>
              <a:off x="15229989" y="11433207"/>
              <a:ext cx="505521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80" y="0"/>
                  </a:moveTo>
                  <a:lnTo>
                    <a:pt x="3281" y="6250"/>
                  </a:lnTo>
                  <a:cubicBezTo>
                    <a:pt x="-141" y="8755"/>
                    <a:pt x="-1029" y="13772"/>
                    <a:pt x="1296" y="17464"/>
                  </a:cubicBezTo>
                  <a:lnTo>
                    <a:pt x="1676" y="18057"/>
                  </a:lnTo>
                  <a:cubicBezTo>
                    <a:pt x="3125" y="20359"/>
                    <a:pt x="5479" y="21600"/>
                    <a:pt x="7872" y="21600"/>
                  </a:cubicBezTo>
                  <a:cubicBezTo>
                    <a:pt x="9320" y="21600"/>
                    <a:pt x="10786" y="21148"/>
                    <a:pt x="12075" y="20202"/>
                  </a:cubicBezTo>
                  <a:lnTo>
                    <a:pt x="20571" y="13956"/>
                  </a:lnTo>
                  <a:lnTo>
                    <a:pt x="11780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95" name="Google Shape;228;p2"/>
            <p:cNvSpPr/>
            <p:nvPr/>
          </p:nvSpPr>
          <p:spPr>
            <a:xfrm>
              <a:off x="15563110" y="11228963"/>
              <a:ext cx="505516" cy="4919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2707" y="0"/>
                  </a:moveTo>
                  <a:cubicBezTo>
                    <a:pt x="11265" y="0"/>
                    <a:pt x="9813" y="452"/>
                    <a:pt x="8538" y="1398"/>
                  </a:cubicBezTo>
                  <a:lnTo>
                    <a:pt x="0" y="7646"/>
                  </a:lnTo>
                  <a:lnTo>
                    <a:pt x="8791" y="21600"/>
                  </a:lnTo>
                  <a:lnTo>
                    <a:pt x="17286" y="15353"/>
                  </a:lnTo>
                  <a:cubicBezTo>
                    <a:pt x="20712" y="12844"/>
                    <a:pt x="21600" y="7829"/>
                    <a:pt x="19275" y="4179"/>
                  </a:cubicBezTo>
                  <a:lnTo>
                    <a:pt x="18895" y="3543"/>
                  </a:lnTo>
                  <a:cubicBezTo>
                    <a:pt x="17446" y="1241"/>
                    <a:pt x="15092" y="0"/>
                    <a:pt x="1270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96" name="Google Shape;229;p2"/>
            <p:cNvSpPr/>
            <p:nvPr/>
          </p:nvSpPr>
          <p:spPr>
            <a:xfrm>
              <a:off x="15051537" y="12448668"/>
              <a:ext cx="931458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6" h="21600" extrusionOk="0">
                  <a:moveTo>
                    <a:pt x="10020" y="0"/>
                  </a:moveTo>
                  <a:cubicBezTo>
                    <a:pt x="9650" y="0"/>
                    <a:pt x="9356" y="273"/>
                    <a:pt x="9311" y="662"/>
                  </a:cubicBezTo>
                  <a:lnTo>
                    <a:pt x="8377" y="7696"/>
                  </a:lnTo>
                  <a:lnTo>
                    <a:pt x="1377" y="6756"/>
                  </a:lnTo>
                  <a:cubicBezTo>
                    <a:pt x="1346" y="6754"/>
                    <a:pt x="1314" y="6752"/>
                    <a:pt x="1284" y="6752"/>
                  </a:cubicBezTo>
                  <a:cubicBezTo>
                    <a:pt x="895" y="6752"/>
                    <a:pt x="583" y="7027"/>
                    <a:pt x="539" y="7407"/>
                  </a:cubicBezTo>
                  <a:lnTo>
                    <a:pt x="11" y="11405"/>
                  </a:lnTo>
                  <a:cubicBezTo>
                    <a:pt x="-61" y="11816"/>
                    <a:pt x="227" y="12200"/>
                    <a:pt x="658" y="12249"/>
                  </a:cubicBezTo>
                  <a:lnTo>
                    <a:pt x="7658" y="13187"/>
                  </a:lnTo>
                  <a:lnTo>
                    <a:pt x="6724" y="20222"/>
                  </a:lnTo>
                  <a:cubicBezTo>
                    <a:pt x="6676" y="20631"/>
                    <a:pt x="6964" y="21017"/>
                    <a:pt x="7371" y="21066"/>
                  </a:cubicBezTo>
                  <a:lnTo>
                    <a:pt x="11349" y="21596"/>
                  </a:lnTo>
                  <a:cubicBezTo>
                    <a:pt x="11379" y="21598"/>
                    <a:pt x="11409" y="21600"/>
                    <a:pt x="11440" y="21600"/>
                  </a:cubicBezTo>
                  <a:cubicBezTo>
                    <a:pt x="11812" y="21600"/>
                    <a:pt x="12144" y="21325"/>
                    <a:pt x="12189" y="20944"/>
                  </a:cubicBezTo>
                  <a:lnTo>
                    <a:pt x="13123" y="13912"/>
                  </a:lnTo>
                  <a:lnTo>
                    <a:pt x="20124" y="14826"/>
                  </a:lnTo>
                  <a:cubicBezTo>
                    <a:pt x="20164" y="14832"/>
                    <a:pt x="20202" y="14836"/>
                    <a:pt x="20242" y="14836"/>
                  </a:cubicBezTo>
                  <a:cubicBezTo>
                    <a:pt x="20603" y="14836"/>
                    <a:pt x="20919" y="14545"/>
                    <a:pt x="20963" y="14177"/>
                  </a:cubicBezTo>
                  <a:lnTo>
                    <a:pt x="21491" y="10201"/>
                  </a:lnTo>
                  <a:cubicBezTo>
                    <a:pt x="21539" y="9768"/>
                    <a:pt x="21251" y="9406"/>
                    <a:pt x="20842" y="9333"/>
                  </a:cubicBezTo>
                  <a:lnTo>
                    <a:pt x="13844" y="8419"/>
                  </a:lnTo>
                  <a:lnTo>
                    <a:pt x="14754" y="1384"/>
                  </a:lnTo>
                  <a:cubicBezTo>
                    <a:pt x="14826" y="951"/>
                    <a:pt x="14514" y="589"/>
                    <a:pt x="14107" y="518"/>
                  </a:cubicBezTo>
                  <a:lnTo>
                    <a:pt x="10151" y="12"/>
                  </a:lnTo>
                  <a:cubicBezTo>
                    <a:pt x="10107" y="4"/>
                    <a:pt x="10062" y="0"/>
                    <a:pt x="1002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97" name="Google Shape;230;p2"/>
            <p:cNvSpPr/>
            <p:nvPr/>
          </p:nvSpPr>
          <p:spPr>
            <a:xfrm>
              <a:off x="11086903" y="2093"/>
              <a:ext cx="933047" cy="11774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0" h="21600" extrusionOk="0">
                  <a:moveTo>
                    <a:pt x="8136" y="658"/>
                  </a:moveTo>
                  <a:cubicBezTo>
                    <a:pt x="8710" y="658"/>
                    <a:pt x="9274" y="933"/>
                    <a:pt x="9378" y="1552"/>
                  </a:cubicBezTo>
                  <a:cubicBezTo>
                    <a:pt x="9448" y="1876"/>
                    <a:pt x="9330" y="2181"/>
                    <a:pt x="9093" y="2428"/>
                  </a:cubicBezTo>
                  <a:lnTo>
                    <a:pt x="7502" y="2657"/>
                  </a:lnTo>
                  <a:cubicBezTo>
                    <a:pt x="7169" y="2505"/>
                    <a:pt x="6908" y="2237"/>
                    <a:pt x="6838" y="1933"/>
                  </a:cubicBezTo>
                  <a:cubicBezTo>
                    <a:pt x="6609" y="1133"/>
                    <a:pt x="7381" y="658"/>
                    <a:pt x="8136" y="658"/>
                  </a:cubicBezTo>
                  <a:close/>
                  <a:moveTo>
                    <a:pt x="15492" y="4361"/>
                  </a:moveTo>
                  <a:cubicBezTo>
                    <a:pt x="16017" y="4361"/>
                    <a:pt x="16487" y="4651"/>
                    <a:pt x="16593" y="5096"/>
                  </a:cubicBezTo>
                  <a:lnTo>
                    <a:pt x="19346" y="17197"/>
                  </a:lnTo>
                  <a:cubicBezTo>
                    <a:pt x="19465" y="17672"/>
                    <a:pt x="19061" y="18130"/>
                    <a:pt x="18469" y="18207"/>
                  </a:cubicBezTo>
                  <a:lnTo>
                    <a:pt x="5983" y="20036"/>
                  </a:lnTo>
                  <a:cubicBezTo>
                    <a:pt x="5913" y="20048"/>
                    <a:pt x="5844" y="20052"/>
                    <a:pt x="5774" y="20052"/>
                  </a:cubicBezTo>
                  <a:cubicBezTo>
                    <a:pt x="5261" y="20052"/>
                    <a:pt x="4807" y="19751"/>
                    <a:pt x="4701" y="19331"/>
                  </a:cubicBezTo>
                  <a:lnTo>
                    <a:pt x="1948" y="7212"/>
                  </a:lnTo>
                  <a:cubicBezTo>
                    <a:pt x="1853" y="6735"/>
                    <a:pt x="2257" y="6296"/>
                    <a:pt x="2849" y="6202"/>
                  </a:cubicBezTo>
                  <a:lnTo>
                    <a:pt x="4323" y="5992"/>
                  </a:lnTo>
                  <a:cubicBezTo>
                    <a:pt x="4404" y="6327"/>
                    <a:pt x="4763" y="6559"/>
                    <a:pt x="5170" y="6559"/>
                  </a:cubicBezTo>
                  <a:cubicBezTo>
                    <a:pt x="5228" y="6559"/>
                    <a:pt x="5283" y="6554"/>
                    <a:pt x="5343" y="6544"/>
                  </a:cubicBezTo>
                  <a:lnTo>
                    <a:pt x="13128" y="5402"/>
                  </a:lnTo>
                  <a:cubicBezTo>
                    <a:pt x="13602" y="5344"/>
                    <a:pt x="13911" y="4982"/>
                    <a:pt x="13840" y="4601"/>
                  </a:cubicBezTo>
                  <a:lnTo>
                    <a:pt x="15311" y="4372"/>
                  </a:lnTo>
                  <a:cubicBezTo>
                    <a:pt x="15373" y="4364"/>
                    <a:pt x="15433" y="4361"/>
                    <a:pt x="15492" y="4361"/>
                  </a:cubicBezTo>
                  <a:close/>
                  <a:moveTo>
                    <a:pt x="8106" y="0"/>
                  </a:moveTo>
                  <a:cubicBezTo>
                    <a:pt x="7979" y="0"/>
                    <a:pt x="7847" y="8"/>
                    <a:pt x="7716" y="27"/>
                  </a:cubicBezTo>
                  <a:cubicBezTo>
                    <a:pt x="6553" y="198"/>
                    <a:pt x="5770" y="1114"/>
                    <a:pt x="5983" y="2047"/>
                  </a:cubicBezTo>
                  <a:cubicBezTo>
                    <a:pt x="6031" y="2333"/>
                    <a:pt x="6196" y="2582"/>
                    <a:pt x="6410" y="2809"/>
                  </a:cubicBezTo>
                  <a:lnTo>
                    <a:pt x="4867" y="3038"/>
                  </a:lnTo>
                  <a:cubicBezTo>
                    <a:pt x="4227" y="3134"/>
                    <a:pt x="3800" y="3628"/>
                    <a:pt x="3918" y="4124"/>
                  </a:cubicBezTo>
                  <a:lnTo>
                    <a:pt x="4014" y="4582"/>
                  </a:lnTo>
                  <a:lnTo>
                    <a:pt x="1450" y="4963"/>
                  </a:lnTo>
                  <a:cubicBezTo>
                    <a:pt x="501" y="5096"/>
                    <a:pt x="-141" y="5840"/>
                    <a:pt x="26" y="6602"/>
                  </a:cubicBezTo>
                  <a:lnTo>
                    <a:pt x="3158" y="20417"/>
                  </a:lnTo>
                  <a:cubicBezTo>
                    <a:pt x="3328" y="21115"/>
                    <a:pt x="4085" y="21600"/>
                    <a:pt x="4923" y="21600"/>
                  </a:cubicBezTo>
                  <a:cubicBezTo>
                    <a:pt x="5022" y="21600"/>
                    <a:pt x="5122" y="21594"/>
                    <a:pt x="5224" y="21579"/>
                  </a:cubicBezTo>
                  <a:lnTo>
                    <a:pt x="19868" y="19427"/>
                  </a:lnTo>
                  <a:cubicBezTo>
                    <a:pt x="20817" y="19292"/>
                    <a:pt x="21459" y="18530"/>
                    <a:pt x="21294" y="17768"/>
                  </a:cubicBezTo>
                  <a:lnTo>
                    <a:pt x="18160" y="3972"/>
                  </a:lnTo>
                  <a:cubicBezTo>
                    <a:pt x="17990" y="3273"/>
                    <a:pt x="17233" y="2788"/>
                    <a:pt x="16379" y="2788"/>
                  </a:cubicBezTo>
                  <a:cubicBezTo>
                    <a:pt x="16278" y="2788"/>
                    <a:pt x="16174" y="2796"/>
                    <a:pt x="16070" y="2809"/>
                  </a:cubicBezTo>
                  <a:lnTo>
                    <a:pt x="13531" y="3191"/>
                  </a:lnTo>
                  <a:lnTo>
                    <a:pt x="13437" y="2753"/>
                  </a:lnTo>
                  <a:cubicBezTo>
                    <a:pt x="13309" y="2295"/>
                    <a:pt x="12829" y="1975"/>
                    <a:pt x="12273" y="1975"/>
                  </a:cubicBezTo>
                  <a:cubicBezTo>
                    <a:pt x="12203" y="1975"/>
                    <a:pt x="12131" y="1980"/>
                    <a:pt x="12059" y="1991"/>
                  </a:cubicBezTo>
                  <a:lnTo>
                    <a:pt x="10184" y="2257"/>
                  </a:lnTo>
                  <a:cubicBezTo>
                    <a:pt x="10279" y="1991"/>
                    <a:pt x="10303" y="1705"/>
                    <a:pt x="10231" y="1437"/>
                  </a:cubicBezTo>
                  <a:cubicBezTo>
                    <a:pt x="10042" y="591"/>
                    <a:pt x="9139" y="0"/>
                    <a:pt x="810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98" name="Google Shape;231;p2"/>
            <p:cNvSpPr/>
            <p:nvPr/>
          </p:nvSpPr>
          <p:spPr>
            <a:xfrm>
              <a:off x="11268763" y="425151"/>
              <a:ext cx="135102" cy="1348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4" h="21600" extrusionOk="0">
                  <a:moveTo>
                    <a:pt x="9130" y="0"/>
                  </a:moveTo>
                  <a:cubicBezTo>
                    <a:pt x="8586" y="0"/>
                    <a:pt x="8018" y="56"/>
                    <a:pt x="7450" y="196"/>
                  </a:cubicBezTo>
                  <a:cubicBezTo>
                    <a:pt x="-418" y="1858"/>
                    <a:pt x="-2759" y="14167"/>
                    <a:pt x="3869" y="19658"/>
                  </a:cubicBezTo>
                  <a:cubicBezTo>
                    <a:pt x="5480" y="20999"/>
                    <a:pt x="7218" y="21600"/>
                    <a:pt x="8910" y="21600"/>
                  </a:cubicBezTo>
                  <a:cubicBezTo>
                    <a:pt x="14136" y="21600"/>
                    <a:pt x="18841" y="15886"/>
                    <a:pt x="17798" y="8844"/>
                  </a:cubicBezTo>
                  <a:cubicBezTo>
                    <a:pt x="16952" y="3702"/>
                    <a:pt x="13302" y="0"/>
                    <a:pt x="913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999" name="Google Shape;232;p2"/>
            <p:cNvSpPr/>
            <p:nvPr/>
          </p:nvSpPr>
          <p:spPr>
            <a:xfrm>
              <a:off x="11449368" y="386065"/>
              <a:ext cx="303201" cy="1177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43" h="21600" extrusionOk="0">
                  <a:moveTo>
                    <a:pt x="17157" y="0"/>
                  </a:moveTo>
                  <a:cubicBezTo>
                    <a:pt x="16983" y="0"/>
                    <a:pt x="16803" y="48"/>
                    <a:pt x="16617" y="160"/>
                  </a:cubicBezTo>
                  <a:lnTo>
                    <a:pt x="2018" y="7776"/>
                  </a:lnTo>
                  <a:cubicBezTo>
                    <a:pt x="-1024" y="9216"/>
                    <a:pt x="-405" y="21600"/>
                    <a:pt x="2401" y="21600"/>
                  </a:cubicBezTo>
                  <a:cubicBezTo>
                    <a:pt x="2558" y="21600"/>
                    <a:pt x="2721" y="21568"/>
                    <a:pt x="2890" y="21488"/>
                  </a:cubicBezTo>
                  <a:lnTo>
                    <a:pt x="17551" y="13872"/>
                  </a:lnTo>
                  <a:cubicBezTo>
                    <a:pt x="20576" y="12256"/>
                    <a:pt x="19924" y="0"/>
                    <a:pt x="1715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00" name="Google Shape;233;p2"/>
            <p:cNvSpPr/>
            <p:nvPr/>
          </p:nvSpPr>
          <p:spPr>
            <a:xfrm>
              <a:off x="11303033" y="613429"/>
              <a:ext cx="135112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5" h="21600" extrusionOk="0">
                  <a:moveTo>
                    <a:pt x="8982" y="0"/>
                  </a:moveTo>
                  <a:cubicBezTo>
                    <a:pt x="8483" y="0"/>
                    <a:pt x="7973" y="42"/>
                    <a:pt x="7452" y="154"/>
                  </a:cubicBezTo>
                  <a:cubicBezTo>
                    <a:pt x="-416" y="1819"/>
                    <a:pt x="-2757" y="14144"/>
                    <a:pt x="3860" y="19641"/>
                  </a:cubicBezTo>
                  <a:cubicBezTo>
                    <a:pt x="5470" y="20998"/>
                    <a:pt x="7209" y="21600"/>
                    <a:pt x="8912" y="21600"/>
                  </a:cubicBezTo>
                  <a:cubicBezTo>
                    <a:pt x="14092" y="21600"/>
                    <a:pt x="18843" y="15962"/>
                    <a:pt x="17800" y="8813"/>
                  </a:cubicBezTo>
                  <a:cubicBezTo>
                    <a:pt x="16943" y="3609"/>
                    <a:pt x="13211" y="0"/>
                    <a:pt x="898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01" name="Google Shape;234;p2"/>
            <p:cNvSpPr/>
            <p:nvPr/>
          </p:nvSpPr>
          <p:spPr>
            <a:xfrm>
              <a:off x="11486806" y="573732"/>
              <a:ext cx="295965" cy="117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34" h="21600" extrusionOk="0">
                  <a:moveTo>
                    <a:pt x="17009" y="0"/>
                  </a:moveTo>
                  <a:cubicBezTo>
                    <a:pt x="16940" y="0"/>
                    <a:pt x="16876" y="16"/>
                    <a:pt x="16807" y="32"/>
                  </a:cubicBezTo>
                  <a:lnTo>
                    <a:pt x="1858" y="7659"/>
                  </a:lnTo>
                  <a:cubicBezTo>
                    <a:pt x="-1021" y="9903"/>
                    <a:pt x="-370" y="21600"/>
                    <a:pt x="2543" y="21600"/>
                  </a:cubicBezTo>
                  <a:cubicBezTo>
                    <a:pt x="2607" y="21600"/>
                    <a:pt x="2682" y="21600"/>
                    <a:pt x="2751" y="21584"/>
                  </a:cubicBezTo>
                  <a:lnTo>
                    <a:pt x="17694" y="13957"/>
                  </a:lnTo>
                  <a:cubicBezTo>
                    <a:pt x="20579" y="11713"/>
                    <a:pt x="19859" y="0"/>
                    <a:pt x="1700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02" name="Google Shape;235;p2"/>
            <p:cNvSpPr/>
            <p:nvPr/>
          </p:nvSpPr>
          <p:spPr>
            <a:xfrm>
              <a:off x="11339866" y="813921"/>
              <a:ext cx="134866" cy="1356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2" h="21600" extrusionOk="0">
                  <a:moveTo>
                    <a:pt x="8936" y="0"/>
                  </a:moveTo>
                  <a:cubicBezTo>
                    <a:pt x="8426" y="0"/>
                    <a:pt x="7915" y="42"/>
                    <a:pt x="7404" y="153"/>
                  </a:cubicBezTo>
                  <a:cubicBezTo>
                    <a:pt x="-477" y="1806"/>
                    <a:pt x="-2682" y="14043"/>
                    <a:pt x="3806" y="19669"/>
                  </a:cubicBezTo>
                  <a:cubicBezTo>
                    <a:pt x="5431" y="21003"/>
                    <a:pt x="7184" y="21600"/>
                    <a:pt x="8878" y="21600"/>
                  </a:cubicBezTo>
                  <a:cubicBezTo>
                    <a:pt x="14148" y="21600"/>
                    <a:pt x="18918" y="15919"/>
                    <a:pt x="17769" y="8918"/>
                  </a:cubicBezTo>
                  <a:cubicBezTo>
                    <a:pt x="17026" y="3598"/>
                    <a:pt x="13196" y="0"/>
                    <a:pt x="893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03" name="Google Shape;236;p2"/>
            <p:cNvSpPr/>
            <p:nvPr/>
          </p:nvSpPr>
          <p:spPr>
            <a:xfrm>
              <a:off x="11522071" y="774050"/>
              <a:ext cx="299313" cy="1190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6" h="21600" extrusionOk="0">
                  <a:moveTo>
                    <a:pt x="17010" y="0"/>
                  </a:moveTo>
                  <a:cubicBezTo>
                    <a:pt x="16902" y="0"/>
                    <a:pt x="16793" y="16"/>
                    <a:pt x="16680" y="63"/>
                  </a:cubicBezTo>
                  <a:lnTo>
                    <a:pt x="1910" y="7601"/>
                  </a:lnTo>
                  <a:cubicBezTo>
                    <a:pt x="-1033" y="9596"/>
                    <a:pt x="-378" y="21600"/>
                    <a:pt x="2530" y="21600"/>
                  </a:cubicBezTo>
                  <a:cubicBezTo>
                    <a:pt x="2632" y="21600"/>
                    <a:pt x="2746" y="21584"/>
                    <a:pt x="2854" y="21552"/>
                  </a:cubicBezTo>
                  <a:lnTo>
                    <a:pt x="17562" y="14015"/>
                  </a:lnTo>
                  <a:cubicBezTo>
                    <a:pt x="20567" y="12004"/>
                    <a:pt x="19918" y="0"/>
                    <a:pt x="1701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04" name="Google Shape;237;p2"/>
            <p:cNvSpPr/>
            <p:nvPr/>
          </p:nvSpPr>
          <p:spPr>
            <a:xfrm>
              <a:off x="11201376" y="1649742"/>
              <a:ext cx="602278" cy="6076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08" h="21600" extrusionOk="0">
                  <a:moveTo>
                    <a:pt x="9733" y="0"/>
                  </a:moveTo>
                  <a:cubicBezTo>
                    <a:pt x="6867" y="0"/>
                    <a:pt x="4049" y="1439"/>
                    <a:pt x="2215" y="4146"/>
                  </a:cubicBezTo>
                  <a:lnTo>
                    <a:pt x="18150" y="15407"/>
                  </a:lnTo>
                  <a:cubicBezTo>
                    <a:pt x="20404" y="10535"/>
                    <a:pt x="18946" y="4553"/>
                    <a:pt x="14803" y="1634"/>
                  </a:cubicBezTo>
                  <a:cubicBezTo>
                    <a:pt x="13236" y="533"/>
                    <a:pt x="11475" y="0"/>
                    <a:pt x="9733" y="0"/>
                  </a:cubicBezTo>
                  <a:close/>
                  <a:moveTo>
                    <a:pt x="1055" y="6178"/>
                  </a:moveTo>
                  <a:cubicBezTo>
                    <a:pt x="-1196" y="11016"/>
                    <a:pt x="262" y="17032"/>
                    <a:pt x="4402" y="19950"/>
                  </a:cubicBezTo>
                  <a:cubicBezTo>
                    <a:pt x="5977" y="21063"/>
                    <a:pt x="7736" y="21600"/>
                    <a:pt x="9475" y="21600"/>
                  </a:cubicBezTo>
                  <a:cubicBezTo>
                    <a:pt x="12346" y="21600"/>
                    <a:pt x="15167" y="20139"/>
                    <a:pt x="17023" y="17401"/>
                  </a:cubicBezTo>
                  <a:lnTo>
                    <a:pt x="1055" y="6178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05" name="Google Shape;238;p2"/>
            <p:cNvSpPr/>
            <p:nvPr/>
          </p:nvSpPr>
          <p:spPr>
            <a:xfrm>
              <a:off x="12458524" y="346368"/>
              <a:ext cx="505515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38" y="0"/>
                  </a:moveTo>
                  <a:lnTo>
                    <a:pt x="3285" y="6246"/>
                  </a:lnTo>
                  <a:cubicBezTo>
                    <a:pt x="-141" y="8755"/>
                    <a:pt x="-1029" y="13772"/>
                    <a:pt x="1296" y="17464"/>
                  </a:cubicBezTo>
                  <a:lnTo>
                    <a:pt x="1719" y="18057"/>
                  </a:lnTo>
                  <a:cubicBezTo>
                    <a:pt x="3143" y="20359"/>
                    <a:pt x="5482" y="21600"/>
                    <a:pt x="7875" y="21600"/>
                  </a:cubicBezTo>
                  <a:cubicBezTo>
                    <a:pt x="9320" y="21600"/>
                    <a:pt x="10786" y="21144"/>
                    <a:pt x="12075" y="20202"/>
                  </a:cubicBezTo>
                  <a:lnTo>
                    <a:pt x="20571" y="13956"/>
                  </a:lnTo>
                  <a:lnTo>
                    <a:pt x="11738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06" name="Google Shape;239;p2"/>
            <p:cNvSpPr/>
            <p:nvPr/>
          </p:nvSpPr>
          <p:spPr>
            <a:xfrm>
              <a:off x="12791640" y="143171"/>
              <a:ext cx="505516" cy="4909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2699" y="0"/>
                  </a:moveTo>
                  <a:cubicBezTo>
                    <a:pt x="11251" y="0"/>
                    <a:pt x="9785" y="453"/>
                    <a:pt x="8496" y="1401"/>
                  </a:cubicBezTo>
                  <a:lnTo>
                    <a:pt x="0" y="7616"/>
                  </a:lnTo>
                  <a:lnTo>
                    <a:pt x="8791" y="21600"/>
                  </a:lnTo>
                  <a:lnTo>
                    <a:pt x="17286" y="15385"/>
                  </a:lnTo>
                  <a:cubicBezTo>
                    <a:pt x="20712" y="12871"/>
                    <a:pt x="21600" y="7842"/>
                    <a:pt x="19275" y="4142"/>
                  </a:cubicBezTo>
                  <a:lnTo>
                    <a:pt x="18895" y="3547"/>
                  </a:lnTo>
                  <a:cubicBezTo>
                    <a:pt x="17446" y="1240"/>
                    <a:pt x="15092" y="0"/>
                    <a:pt x="1269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07" name="Google Shape;240;p2"/>
            <p:cNvSpPr/>
            <p:nvPr/>
          </p:nvSpPr>
          <p:spPr>
            <a:xfrm>
              <a:off x="12279274" y="1362876"/>
              <a:ext cx="932251" cy="9303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14" h="21600" extrusionOk="0">
                  <a:moveTo>
                    <a:pt x="10038" y="0"/>
                  </a:moveTo>
                  <a:cubicBezTo>
                    <a:pt x="9668" y="0"/>
                    <a:pt x="9372" y="273"/>
                    <a:pt x="9307" y="662"/>
                  </a:cubicBezTo>
                  <a:lnTo>
                    <a:pt x="8395" y="7681"/>
                  </a:lnTo>
                  <a:lnTo>
                    <a:pt x="1397" y="6763"/>
                  </a:lnTo>
                  <a:cubicBezTo>
                    <a:pt x="1350" y="6755"/>
                    <a:pt x="1308" y="6753"/>
                    <a:pt x="1264" y="6753"/>
                  </a:cubicBezTo>
                  <a:cubicBezTo>
                    <a:pt x="893" y="6753"/>
                    <a:pt x="597" y="7024"/>
                    <a:pt x="533" y="7415"/>
                  </a:cubicBezTo>
                  <a:lnTo>
                    <a:pt x="5" y="11393"/>
                  </a:lnTo>
                  <a:cubicBezTo>
                    <a:pt x="-43" y="11805"/>
                    <a:pt x="245" y="12189"/>
                    <a:pt x="652" y="12238"/>
                  </a:cubicBezTo>
                  <a:lnTo>
                    <a:pt x="7676" y="13178"/>
                  </a:lnTo>
                  <a:lnTo>
                    <a:pt x="6742" y="20221"/>
                  </a:lnTo>
                  <a:cubicBezTo>
                    <a:pt x="6694" y="20630"/>
                    <a:pt x="6982" y="21017"/>
                    <a:pt x="7389" y="21065"/>
                  </a:cubicBezTo>
                  <a:lnTo>
                    <a:pt x="11369" y="21596"/>
                  </a:lnTo>
                  <a:cubicBezTo>
                    <a:pt x="11397" y="21598"/>
                    <a:pt x="11427" y="21600"/>
                    <a:pt x="11458" y="21600"/>
                  </a:cubicBezTo>
                  <a:cubicBezTo>
                    <a:pt x="11830" y="21600"/>
                    <a:pt x="12162" y="21325"/>
                    <a:pt x="12207" y="20944"/>
                  </a:cubicBezTo>
                  <a:lnTo>
                    <a:pt x="13119" y="13901"/>
                  </a:lnTo>
                  <a:lnTo>
                    <a:pt x="20142" y="14843"/>
                  </a:lnTo>
                  <a:cubicBezTo>
                    <a:pt x="20170" y="14845"/>
                    <a:pt x="20198" y="14847"/>
                    <a:pt x="20226" y="14847"/>
                  </a:cubicBezTo>
                  <a:cubicBezTo>
                    <a:pt x="20601" y="14847"/>
                    <a:pt x="20937" y="14549"/>
                    <a:pt x="20981" y="14166"/>
                  </a:cubicBezTo>
                  <a:lnTo>
                    <a:pt x="21509" y="10164"/>
                  </a:lnTo>
                  <a:cubicBezTo>
                    <a:pt x="21557" y="9755"/>
                    <a:pt x="21269" y="9368"/>
                    <a:pt x="20860" y="9319"/>
                  </a:cubicBezTo>
                  <a:lnTo>
                    <a:pt x="13862" y="8404"/>
                  </a:lnTo>
                  <a:lnTo>
                    <a:pt x="14772" y="1337"/>
                  </a:lnTo>
                  <a:cubicBezTo>
                    <a:pt x="14820" y="928"/>
                    <a:pt x="14532" y="565"/>
                    <a:pt x="14125" y="494"/>
                  </a:cubicBezTo>
                  <a:lnTo>
                    <a:pt x="10169" y="10"/>
                  </a:lnTo>
                  <a:cubicBezTo>
                    <a:pt x="10125" y="4"/>
                    <a:pt x="10080" y="0"/>
                    <a:pt x="1003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08" name="Google Shape;241;p2"/>
            <p:cNvSpPr/>
            <p:nvPr/>
          </p:nvSpPr>
          <p:spPr>
            <a:xfrm>
              <a:off x="11086871" y="2773476"/>
              <a:ext cx="933079" cy="11786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0" h="21600" extrusionOk="0">
                  <a:moveTo>
                    <a:pt x="8127" y="662"/>
                  </a:moveTo>
                  <a:cubicBezTo>
                    <a:pt x="8705" y="662"/>
                    <a:pt x="9275" y="942"/>
                    <a:pt x="9379" y="1570"/>
                  </a:cubicBezTo>
                  <a:cubicBezTo>
                    <a:pt x="9449" y="1876"/>
                    <a:pt x="9331" y="2199"/>
                    <a:pt x="9094" y="2427"/>
                  </a:cubicBezTo>
                  <a:lnTo>
                    <a:pt x="7503" y="2675"/>
                  </a:lnTo>
                  <a:cubicBezTo>
                    <a:pt x="7146" y="2523"/>
                    <a:pt x="6909" y="2256"/>
                    <a:pt x="6839" y="1933"/>
                  </a:cubicBezTo>
                  <a:cubicBezTo>
                    <a:pt x="6610" y="1135"/>
                    <a:pt x="7376" y="662"/>
                    <a:pt x="8127" y="662"/>
                  </a:cubicBezTo>
                  <a:close/>
                  <a:moveTo>
                    <a:pt x="15545" y="4371"/>
                  </a:moveTo>
                  <a:cubicBezTo>
                    <a:pt x="16058" y="4371"/>
                    <a:pt x="16510" y="4674"/>
                    <a:pt x="16594" y="5093"/>
                  </a:cubicBezTo>
                  <a:lnTo>
                    <a:pt x="19347" y="17182"/>
                  </a:lnTo>
                  <a:cubicBezTo>
                    <a:pt x="19466" y="17657"/>
                    <a:pt x="19062" y="18114"/>
                    <a:pt x="18470" y="18191"/>
                  </a:cubicBezTo>
                  <a:lnTo>
                    <a:pt x="5984" y="20019"/>
                  </a:lnTo>
                  <a:cubicBezTo>
                    <a:pt x="5914" y="20030"/>
                    <a:pt x="5845" y="20035"/>
                    <a:pt x="5775" y="20035"/>
                  </a:cubicBezTo>
                  <a:cubicBezTo>
                    <a:pt x="5262" y="20035"/>
                    <a:pt x="4808" y="19734"/>
                    <a:pt x="4702" y="19314"/>
                  </a:cubicBezTo>
                  <a:lnTo>
                    <a:pt x="1973" y="7226"/>
                  </a:lnTo>
                  <a:cubicBezTo>
                    <a:pt x="1854" y="6749"/>
                    <a:pt x="2258" y="6292"/>
                    <a:pt x="2850" y="6217"/>
                  </a:cubicBezTo>
                  <a:lnTo>
                    <a:pt x="4345" y="5988"/>
                  </a:lnTo>
                  <a:cubicBezTo>
                    <a:pt x="4411" y="6332"/>
                    <a:pt x="4786" y="6567"/>
                    <a:pt x="5207" y="6567"/>
                  </a:cubicBezTo>
                  <a:cubicBezTo>
                    <a:pt x="5253" y="6567"/>
                    <a:pt x="5298" y="6564"/>
                    <a:pt x="5344" y="6559"/>
                  </a:cubicBezTo>
                  <a:lnTo>
                    <a:pt x="13153" y="5416"/>
                  </a:lnTo>
                  <a:cubicBezTo>
                    <a:pt x="13627" y="5340"/>
                    <a:pt x="13936" y="4979"/>
                    <a:pt x="13841" y="4597"/>
                  </a:cubicBezTo>
                  <a:lnTo>
                    <a:pt x="15336" y="4389"/>
                  </a:lnTo>
                  <a:cubicBezTo>
                    <a:pt x="15406" y="4376"/>
                    <a:pt x="15475" y="4371"/>
                    <a:pt x="15545" y="4371"/>
                  </a:cubicBezTo>
                  <a:close/>
                  <a:moveTo>
                    <a:pt x="8107" y="0"/>
                  </a:moveTo>
                  <a:cubicBezTo>
                    <a:pt x="7980" y="0"/>
                    <a:pt x="7848" y="10"/>
                    <a:pt x="7717" y="29"/>
                  </a:cubicBezTo>
                  <a:cubicBezTo>
                    <a:pt x="6554" y="200"/>
                    <a:pt x="5771" y="1114"/>
                    <a:pt x="5984" y="2066"/>
                  </a:cubicBezTo>
                  <a:cubicBezTo>
                    <a:pt x="6032" y="2333"/>
                    <a:pt x="6197" y="2598"/>
                    <a:pt x="6411" y="2827"/>
                  </a:cubicBezTo>
                  <a:lnTo>
                    <a:pt x="4868" y="3056"/>
                  </a:lnTo>
                  <a:cubicBezTo>
                    <a:pt x="4228" y="3151"/>
                    <a:pt x="3801" y="3646"/>
                    <a:pt x="3919" y="4160"/>
                  </a:cubicBezTo>
                  <a:lnTo>
                    <a:pt x="4015" y="4597"/>
                  </a:lnTo>
                  <a:lnTo>
                    <a:pt x="1451" y="4979"/>
                  </a:lnTo>
                  <a:cubicBezTo>
                    <a:pt x="478" y="5112"/>
                    <a:pt x="-140" y="5854"/>
                    <a:pt x="27" y="6634"/>
                  </a:cubicBezTo>
                  <a:lnTo>
                    <a:pt x="3159" y="20418"/>
                  </a:lnTo>
                  <a:cubicBezTo>
                    <a:pt x="3329" y="21116"/>
                    <a:pt x="4086" y="21600"/>
                    <a:pt x="4924" y="21600"/>
                  </a:cubicBezTo>
                  <a:cubicBezTo>
                    <a:pt x="5023" y="21600"/>
                    <a:pt x="5123" y="21594"/>
                    <a:pt x="5225" y="21579"/>
                  </a:cubicBezTo>
                  <a:lnTo>
                    <a:pt x="19869" y="19427"/>
                  </a:lnTo>
                  <a:cubicBezTo>
                    <a:pt x="20818" y="19294"/>
                    <a:pt x="21460" y="18552"/>
                    <a:pt x="21295" y="17772"/>
                  </a:cubicBezTo>
                  <a:lnTo>
                    <a:pt x="18161" y="3970"/>
                  </a:lnTo>
                  <a:cubicBezTo>
                    <a:pt x="17993" y="3281"/>
                    <a:pt x="17254" y="2800"/>
                    <a:pt x="16414" y="2800"/>
                  </a:cubicBezTo>
                  <a:cubicBezTo>
                    <a:pt x="16301" y="2800"/>
                    <a:pt x="16187" y="2809"/>
                    <a:pt x="16071" y="2827"/>
                  </a:cubicBezTo>
                  <a:lnTo>
                    <a:pt x="13532" y="3188"/>
                  </a:lnTo>
                  <a:lnTo>
                    <a:pt x="13438" y="2752"/>
                  </a:lnTo>
                  <a:cubicBezTo>
                    <a:pt x="13308" y="2288"/>
                    <a:pt x="12812" y="1978"/>
                    <a:pt x="12246" y="1978"/>
                  </a:cubicBezTo>
                  <a:cubicBezTo>
                    <a:pt x="12186" y="1978"/>
                    <a:pt x="12122" y="1983"/>
                    <a:pt x="12060" y="1989"/>
                  </a:cubicBezTo>
                  <a:lnTo>
                    <a:pt x="10185" y="2275"/>
                  </a:lnTo>
                  <a:cubicBezTo>
                    <a:pt x="10280" y="1989"/>
                    <a:pt x="10304" y="1704"/>
                    <a:pt x="10232" y="1437"/>
                  </a:cubicBezTo>
                  <a:cubicBezTo>
                    <a:pt x="10043" y="592"/>
                    <a:pt x="9140" y="0"/>
                    <a:pt x="810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09" name="Google Shape;242;p2"/>
            <p:cNvSpPr/>
            <p:nvPr/>
          </p:nvSpPr>
          <p:spPr>
            <a:xfrm>
              <a:off x="11268763" y="3196883"/>
              <a:ext cx="135106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5" h="21600" extrusionOk="0">
                  <a:moveTo>
                    <a:pt x="8980" y="0"/>
                  </a:moveTo>
                  <a:cubicBezTo>
                    <a:pt x="8481" y="0"/>
                    <a:pt x="7971" y="42"/>
                    <a:pt x="7450" y="154"/>
                  </a:cubicBezTo>
                  <a:cubicBezTo>
                    <a:pt x="-418" y="1819"/>
                    <a:pt x="-2759" y="14144"/>
                    <a:pt x="3869" y="19641"/>
                  </a:cubicBezTo>
                  <a:cubicBezTo>
                    <a:pt x="5503" y="20998"/>
                    <a:pt x="7265" y="21600"/>
                    <a:pt x="8968" y="21600"/>
                  </a:cubicBezTo>
                  <a:cubicBezTo>
                    <a:pt x="14159" y="21600"/>
                    <a:pt x="18841" y="15962"/>
                    <a:pt x="17798" y="8813"/>
                  </a:cubicBezTo>
                  <a:cubicBezTo>
                    <a:pt x="16941" y="3609"/>
                    <a:pt x="13209" y="0"/>
                    <a:pt x="898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10" name="Google Shape;243;p2"/>
            <p:cNvSpPr/>
            <p:nvPr/>
          </p:nvSpPr>
          <p:spPr>
            <a:xfrm>
              <a:off x="11448154" y="3157011"/>
              <a:ext cx="305944" cy="1188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77" h="21600" extrusionOk="0">
                  <a:moveTo>
                    <a:pt x="17261" y="0"/>
                  </a:moveTo>
                  <a:cubicBezTo>
                    <a:pt x="17043" y="0"/>
                    <a:pt x="16815" y="79"/>
                    <a:pt x="16575" y="238"/>
                  </a:cubicBezTo>
                  <a:lnTo>
                    <a:pt x="2081" y="7803"/>
                  </a:lnTo>
                  <a:cubicBezTo>
                    <a:pt x="-1017" y="9024"/>
                    <a:pt x="-420" y="21600"/>
                    <a:pt x="2322" y="21600"/>
                  </a:cubicBezTo>
                  <a:cubicBezTo>
                    <a:pt x="2517" y="21600"/>
                    <a:pt x="2729" y="21537"/>
                    <a:pt x="2947" y="21394"/>
                  </a:cubicBezTo>
                  <a:lnTo>
                    <a:pt x="17501" y="13845"/>
                  </a:lnTo>
                  <a:cubicBezTo>
                    <a:pt x="20583" y="12433"/>
                    <a:pt x="20008" y="0"/>
                    <a:pt x="1726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11" name="Google Shape;244;p2"/>
            <p:cNvSpPr/>
            <p:nvPr/>
          </p:nvSpPr>
          <p:spPr>
            <a:xfrm>
              <a:off x="11303033" y="3384899"/>
              <a:ext cx="135112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5" h="21600" extrusionOk="0">
                  <a:moveTo>
                    <a:pt x="8982" y="0"/>
                  </a:moveTo>
                  <a:cubicBezTo>
                    <a:pt x="8483" y="0"/>
                    <a:pt x="7962" y="42"/>
                    <a:pt x="7452" y="154"/>
                  </a:cubicBezTo>
                  <a:cubicBezTo>
                    <a:pt x="-416" y="1819"/>
                    <a:pt x="-2757" y="14144"/>
                    <a:pt x="3860" y="19641"/>
                  </a:cubicBezTo>
                  <a:cubicBezTo>
                    <a:pt x="5470" y="20998"/>
                    <a:pt x="7220" y="21600"/>
                    <a:pt x="8924" y="21600"/>
                  </a:cubicBezTo>
                  <a:cubicBezTo>
                    <a:pt x="14092" y="21600"/>
                    <a:pt x="18843" y="16004"/>
                    <a:pt x="17800" y="8981"/>
                  </a:cubicBezTo>
                  <a:cubicBezTo>
                    <a:pt x="16943" y="3623"/>
                    <a:pt x="13211" y="0"/>
                    <a:pt x="898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12" name="Google Shape;245;p2"/>
            <p:cNvSpPr/>
            <p:nvPr/>
          </p:nvSpPr>
          <p:spPr>
            <a:xfrm>
              <a:off x="11486794" y="3345202"/>
              <a:ext cx="295977" cy="1176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1" h="21600" extrusionOk="0">
                  <a:moveTo>
                    <a:pt x="17024" y="0"/>
                  </a:moveTo>
                  <a:cubicBezTo>
                    <a:pt x="16955" y="0"/>
                    <a:pt x="16891" y="16"/>
                    <a:pt x="16822" y="32"/>
                  </a:cubicBezTo>
                  <a:lnTo>
                    <a:pt x="1861" y="7654"/>
                  </a:lnTo>
                  <a:cubicBezTo>
                    <a:pt x="-1003" y="10055"/>
                    <a:pt x="-375" y="21600"/>
                    <a:pt x="2478" y="21600"/>
                  </a:cubicBezTo>
                  <a:cubicBezTo>
                    <a:pt x="2570" y="21600"/>
                    <a:pt x="2662" y="21584"/>
                    <a:pt x="2755" y="21568"/>
                  </a:cubicBezTo>
                  <a:lnTo>
                    <a:pt x="17710" y="14138"/>
                  </a:lnTo>
                  <a:cubicBezTo>
                    <a:pt x="20597" y="11705"/>
                    <a:pt x="19877" y="0"/>
                    <a:pt x="1702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13" name="Google Shape;246;p2"/>
            <p:cNvSpPr/>
            <p:nvPr/>
          </p:nvSpPr>
          <p:spPr>
            <a:xfrm>
              <a:off x="11339866" y="3586351"/>
              <a:ext cx="134850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9" h="21600" extrusionOk="0">
                  <a:moveTo>
                    <a:pt x="8942" y="0"/>
                  </a:moveTo>
                  <a:cubicBezTo>
                    <a:pt x="8442" y="0"/>
                    <a:pt x="7920" y="56"/>
                    <a:pt x="7409" y="168"/>
                  </a:cubicBezTo>
                  <a:cubicBezTo>
                    <a:pt x="-477" y="1831"/>
                    <a:pt x="-2683" y="14148"/>
                    <a:pt x="3809" y="19643"/>
                  </a:cubicBezTo>
                  <a:cubicBezTo>
                    <a:pt x="5446" y="20999"/>
                    <a:pt x="7223" y="21600"/>
                    <a:pt x="8942" y="21600"/>
                  </a:cubicBezTo>
                  <a:cubicBezTo>
                    <a:pt x="14179" y="21600"/>
                    <a:pt x="18917" y="15966"/>
                    <a:pt x="17779" y="8822"/>
                  </a:cubicBezTo>
                  <a:cubicBezTo>
                    <a:pt x="17036" y="3621"/>
                    <a:pt x="13203" y="0"/>
                    <a:pt x="894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14" name="Google Shape;247;p2"/>
            <p:cNvSpPr/>
            <p:nvPr/>
          </p:nvSpPr>
          <p:spPr>
            <a:xfrm>
              <a:off x="11522808" y="3545607"/>
              <a:ext cx="297835" cy="1188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12" h="21600" extrusionOk="0">
                  <a:moveTo>
                    <a:pt x="16976" y="0"/>
                  </a:moveTo>
                  <a:cubicBezTo>
                    <a:pt x="16885" y="0"/>
                    <a:pt x="16799" y="16"/>
                    <a:pt x="16702" y="32"/>
                  </a:cubicBezTo>
                  <a:lnTo>
                    <a:pt x="16702" y="222"/>
                  </a:lnTo>
                  <a:lnTo>
                    <a:pt x="1869" y="7596"/>
                  </a:lnTo>
                  <a:cubicBezTo>
                    <a:pt x="-1040" y="9785"/>
                    <a:pt x="-354" y="21600"/>
                    <a:pt x="2550" y="21600"/>
                  </a:cubicBezTo>
                  <a:cubicBezTo>
                    <a:pt x="2641" y="21600"/>
                    <a:pt x="2727" y="21584"/>
                    <a:pt x="2818" y="21568"/>
                  </a:cubicBezTo>
                  <a:lnTo>
                    <a:pt x="17588" y="14004"/>
                  </a:lnTo>
                  <a:cubicBezTo>
                    <a:pt x="20560" y="11625"/>
                    <a:pt x="19880" y="0"/>
                    <a:pt x="1697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15" name="Google Shape;248;p2"/>
            <p:cNvSpPr/>
            <p:nvPr/>
          </p:nvSpPr>
          <p:spPr>
            <a:xfrm>
              <a:off x="11203163" y="4421473"/>
              <a:ext cx="600492" cy="60592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67" h="21600" extrusionOk="0">
                  <a:moveTo>
                    <a:pt x="9766" y="0"/>
                  </a:moveTo>
                  <a:cubicBezTo>
                    <a:pt x="6872" y="0"/>
                    <a:pt x="4022" y="1459"/>
                    <a:pt x="2171" y="4186"/>
                  </a:cubicBezTo>
                  <a:lnTo>
                    <a:pt x="18204" y="15442"/>
                  </a:lnTo>
                  <a:cubicBezTo>
                    <a:pt x="20471" y="10556"/>
                    <a:pt x="19004" y="4556"/>
                    <a:pt x="14836" y="1630"/>
                  </a:cubicBezTo>
                  <a:cubicBezTo>
                    <a:pt x="13271" y="532"/>
                    <a:pt x="11510" y="0"/>
                    <a:pt x="9766" y="0"/>
                  </a:cubicBezTo>
                  <a:close/>
                  <a:moveTo>
                    <a:pt x="1004" y="6186"/>
                  </a:moveTo>
                  <a:cubicBezTo>
                    <a:pt x="-1129" y="11035"/>
                    <a:pt x="206" y="17034"/>
                    <a:pt x="4338" y="19961"/>
                  </a:cubicBezTo>
                  <a:cubicBezTo>
                    <a:pt x="5925" y="21068"/>
                    <a:pt x="7703" y="21600"/>
                    <a:pt x="9458" y="21600"/>
                  </a:cubicBezTo>
                  <a:cubicBezTo>
                    <a:pt x="12344" y="21600"/>
                    <a:pt x="15186" y="20160"/>
                    <a:pt x="17070" y="17442"/>
                  </a:cubicBezTo>
                  <a:lnTo>
                    <a:pt x="1004" y="6186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16" name="Google Shape;249;p2"/>
            <p:cNvSpPr/>
            <p:nvPr/>
          </p:nvSpPr>
          <p:spPr>
            <a:xfrm>
              <a:off x="12458524" y="3118885"/>
              <a:ext cx="505515" cy="4910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38" y="0"/>
                  </a:moveTo>
                  <a:lnTo>
                    <a:pt x="3285" y="6214"/>
                  </a:lnTo>
                  <a:cubicBezTo>
                    <a:pt x="-141" y="8728"/>
                    <a:pt x="-1029" y="13755"/>
                    <a:pt x="1296" y="17455"/>
                  </a:cubicBezTo>
                  <a:lnTo>
                    <a:pt x="1719" y="18050"/>
                  </a:lnTo>
                  <a:cubicBezTo>
                    <a:pt x="3143" y="20357"/>
                    <a:pt x="5482" y="21600"/>
                    <a:pt x="7875" y="21600"/>
                  </a:cubicBezTo>
                  <a:cubicBezTo>
                    <a:pt x="9320" y="21600"/>
                    <a:pt x="10786" y="21143"/>
                    <a:pt x="12075" y="20199"/>
                  </a:cubicBezTo>
                  <a:lnTo>
                    <a:pt x="20571" y="13982"/>
                  </a:lnTo>
                  <a:lnTo>
                    <a:pt x="11738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17" name="Google Shape;250;p2"/>
            <p:cNvSpPr/>
            <p:nvPr/>
          </p:nvSpPr>
          <p:spPr>
            <a:xfrm>
              <a:off x="12791640" y="2915339"/>
              <a:ext cx="505516" cy="491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2738" y="0"/>
                  </a:moveTo>
                  <a:cubicBezTo>
                    <a:pt x="11276" y="0"/>
                    <a:pt x="9799" y="456"/>
                    <a:pt x="8496" y="1412"/>
                  </a:cubicBezTo>
                  <a:lnTo>
                    <a:pt x="0" y="7626"/>
                  </a:lnTo>
                  <a:lnTo>
                    <a:pt x="8791" y="21600"/>
                  </a:lnTo>
                  <a:lnTo>
                    <a:pt x="17286" y="15344"/>
                  </a:lnTo>
                  <a:cubicBezTo>
                    <a:pt x="20712" y="12831"/>
                    <a:pt x="21600" y="7806"/>
                    <a:pt x="19275" y="4108"/>
                  </a:cubicBezTo>
                  <a:lnTo>
                    <a:pt x="19275" y="4154"/>
                  </a:lnTo>
                  <a:lnTo>
                    <a:pt x="18895" y="3514"/>
                  </a:lnTo>
                  <a:cubicBezTo>
                    <a:pt x="17453" y="1220"/>
                    <a:pt x="15117" y="0"/>
                    <a:pt x="1273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18" name="Google Shape;251;p2"/>
            <p:cNvSpPr/>
            <p:nvPr/>
          </p:nvSpPr>
          <p:spPr>
            <a:xfrm>
              <a:off x="12279274" y="4133560"/>
              <a:ext cx="932251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14" h="21600" extrusionOk="0">
                  <a:moveTo>
                    <a:pt x="10076" y="0"/>
                  </a:moveTo>
                  <a:cubicBezTo>
                    <a:pt x="9688" y="0"/>
                    <a:pt x="9374" y="275"/>
                    <a:pt x="9307" y="656"/>
                  </a:cubicBezTo>
                  <a:lnTo>
                    <a:pt x="8395" y="7713"/>
                  </a:lnTo>
                  <a:lnTo>
                    <a:pt x="1397" y="6774"/>
                  </a:lnTo>
                  <a:cubicBezTo>
                    <a:pt x="1366" y="6770"/>
                    <a:pt x="1336" y="6768"/>
                    <a:pt x="1306" y="6768"/>
                  </a:cubicBezTo>
                  <a:cubicBezTo>
                    <a:pt x="934" y="6768"/>
                    <a:pt x="601" y="7045"/>
                    <a:pt x="557" y="7423"/>
                  </a:cubicBezTo>
                  <a:lnTo>
                    <a:pt x="5" y="11399"/>
                  </a:lnTo>
                  <a:cubicBezTo>
                    <a:pt x="-43" y="11808"/>
                    <a:pt x="245" y="12194"/>
                    <a:pt x="652" y="12243"/>
                  </a:cubicBezTo>
                  <a:lnTo>
                    <a:pt x="7676" y="13181"/>
                  </a:lnTo>
                  <a:lnTo>
                    <a:pt x="6742" y="20216"/>
                  </a:lnTo>
                  <a:cubicBezTo>
                    <a:pt x="6694" y="20625"/>
                    <a:pt x="6982" y="21011"/>
                    <a:pt x="7389" y="21058"/>
                  </a:cubicBezTo>
                  <a:lnTo>
                    <a:pt x="11369" y="21588"/>
                  </a:lnTo>
                  <a:cubicBezTo>
                    <a:pt x="11409" y="21596"/>
                    <a:pt x="11452" y="21600"/>
                    <a:pt x="11492" y="21600"/>
                  </a:cubicBezTo>
                  <a:cubicBezTo>
                    <a:pt x="11846" y="21600"/>
                    <a:pt x="12142" y="21327"/>
                    <a:pt x="12207" y="20938"/>
                  </a:cubicBezTo>
                  <a:lnTo>
                    <a:pt x="13119" y="13904"/>
                  </a:lnTo>
                  <a:lnTo>
                    <a:pt x="20142" y="14844"/>
                  </a:lnTo>
                  <a:cubicBezTo>
                    <a:pt x="20172" y="14846"/>
                    <a:pt x="20202" y="14848"/>
                    <a:pt x="20230" y="14848"/>
                  </a:cubicBezTo>
                  <a:cubicBezTo>
                    <a:pt x="20605" y="14848"/>
                    <a:pt x="20937" y="14573"/>
                    <a:pt x="20981" y="14193"/>
                  </a:cubicBezTo>
                  <a:lnTo>
                    <a:pt x="21509" y="10195"/>
                  </a:lnTo>
                  <a:cubicBezTo>
                    <a:pt x="21557" y="9784"/>
                    <a:pt x="21269" y="9400"/>
                    <a:pt x="20860" y="9351"/>
                  </a:cubicBezTo>
                  <a:lnTo>
                    <a:pt x="13862" y="8413"/>
                  </a:lnTo>
                  <a:lnTo>
                    <a:pt x="14772" y="1378"/>
                  </a:lnTo>
                  <a:cubicBezTo>
                    <a:pt x="14820" y="969"/>
                    <a:pt x="14532" y="583"/>
                    <a:pt x="14125" y="534"/>
                  </a:cubicBezTo>
                  <a:lnTo>
                    <a:pt x="10169" y="4"/>
                  </a:lnTo>
                  <a:cubicBezTo>
                    <a:pt x="10139" y="2"/>
                    <a:pt x="10107" y="0"/>
                    <a:pt x="1007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19" name="Google Shape;252;p2"/>
            <p:cNvSpPr/>
            <p:nvPr/>
          </p:nvSpPr>
          <p:spPr>
            <a:xfrm>
              <a:off x="11086903" y="5545993"/>
              <a:ext cx="933047" cy="11765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0" h="21600" extrusionOk="0">
                  <a:moveTo>
                    <a:pt x="8122" y="652"/>
                  </a:moveTo>
                  <a:cubicBezTo>
                    <a:pt x="8702" y="652"/>
                    <a:pt x="9274" y="931"/>
                    <a:pt x="9378" y="1554"/>
                  </a:cubicBezTo>
                  <a:cubicBezTo>
                    <a:pt x="9448" y="1860"/>
                    <a:pt x="9330" y="2183"/>
                    <a:pt x="9093" y="2412"/>
                  </a:cubicBezTo>
                  <a:lnTo>
                    <a:pt x="7502" y="2661"/>
                  </a:lnTo>
                  <a:cubicBezTo>
                    <a:pt x="7169" y="2508"/>
                    <a:pt x="6908" y="2241"/>
                    <a:pt x="6838" y="1935"/>
                  </a:cubicBezTo>
                  <a:lnTo>
                    <a:pt x="6838" y="1916"/>
                  </a:lnTo>
                  <a:cubicBezTo>
                    <a:pt x="6609" y="1120"/>
                    <a:pt x="7373" y="652"/>
                    <a:pt x="8122" y="652"/>
                  </a:cubicBezTo>
                  <a:close/>
                  <a:moveTo>
                    <a:pt x="15520" y="4341"/>
                  </a:moveTo>
                  <a:cubicBezTo>
                    <a:pt x="16033" y="4341"/>
                    <a:pt x="16489" y="4642"/>
                    <a:pt x="16593" y="5063"/>
                  </a:cubicBezTo>
                  <a:lnTo>
                    <a:pt x="19346" y="17192"/>
                  </a:lnTo>
                  <a:cubicBezTo>
                    <a:pt x="19465" y="17669"/>
                    <a:pt x="19061" y="18127"/>
                    <a:pt x="18469" y="18203"/>
                  </a:cubicBezTo>
                  <a:lnTo>
                    <a:pt x="5983" y="20033"/>
                  </a:lnTo>
                  <a:cubicBezTo>
                    <a:pt x="5913" y="20045"/>
                    <a:pt x="5844" y="20051"/>
                    <a:pt x="5774" y="20051"/>
                  </a:cubicBezTo>
                  <a:cubicBezTo>
                    <a:pt x="5258" y="20051"/>
                    <a:pt x="4785" y="19748"/>
                    <a:pt x="4701" y="19329"/>
                  </a:cubicBezTo>
                  <a:lnTo>
                    <a:pt x="1948" y="7198"/>
                  </a:lnTo>
                  <a:cubicBezTo>
                    <a:pt x="1853" y="6723"/>
                    <a:pt x="2257" y="6265"/>
                    <a:pt x="2849" y="6188"/>
                  </a:cubicBezTo>
                  <a:lnTo>
                    <a:pt x="4323" y="5960"/>
                  </a:lnTo>
                  <a:cubicBezTo>
                    <a:pt x="4406" y="6297"/>
                    <a:pt x="4767" y="6545"/>
                    <a:pt x="5180" y="6545"/>
                  </a:cubicBezTo>
                  <a:cubicBezTo>
                    <a:pt x="5234" y="6545"/>
                    <a:pt x="5287" y="6540"/>
                    <a:pt x="5343" y="6532"/>
                  </a:cubicBezTo>
                  <a:lnTo>
                    <a:pt x="13128" y="5387"/>
                  </a:lnTo>
                  <a:cubicBezTo>
                    <a:pt x="13602" y="5312"/>
                    <a:pt x="13911" y="4949"/>
                    <a:pt x="13840" y="4567"/>
                  </a:cubicBezTo>
                  <a:lnTo>
                    <a:pt x="15311" y="4357"/>
                  </a:lnTo>
                  <a:cubicBezTo>
                    <a:pt x="15381" y="4346"/>
                    <a:pt x="15450" y="4341"/>
                    <a:pt x="15520" y="4341"/>
                  </a:cubicBezTo>
                  <a:close/>
                  <a:moveTo>
                    <a:pt x="8116" y="0"/>
                  </a:moveTo>
                  <a:cubicBezTo>
                    <a:pt x="7985" y="0"/>
                    <a:pt x="7851" y="10"/>
                    <a:pt x="7716" y="29"/>
                  </a:cubicBezTo>
                  <a:cubicBezTo>
                    <a:pt x="6553" y="200"/>
                    <a:pt x="5770" y="1096"/>
                    <a:pt x="5983" y="2050"/>
                  </a:cubicBezTo>
                  <a:cubicBezTo>
                    <a:pt x="6031" y="2316"/>
                    <a:pt x="6196" y="2584"/>
                    <a:pt x="6410" y="2813"/>
                  </a:cubicBezTo>
                  <a:lnTo>
                    <a:pt x="4867" y="3042"/>
                  </a:lnTo>
                  <a:cubicBezTo>
                    <a:pt x="4227" y="3136"/>
                    <a:pt x="3800" y="3614"/>
                    <a:pt x="3918" y="4129"/>
                  </a:cubicBezTo>
                  <a:lnTo>
                    <a:pt x="4014" y="4586"/>
                  </a:lnTo>
                  <a:lnTo>
                    <a:pt x="1450" y="4949"/>
                  </a:lnTo>
                  <a:cubicBezTo>
                    <a:pt x="501" y="5102"/>
                    <a:pt x="-141" y="5845"/>
                    <a:pt x="26" y="6607"/>
                  </a:cubicBezTo>
                  <a:lnTo>
                    <a:pt x="3158" y="20434"/>
                  </a:lnTo>
                  <a:cubicBezTo>
                    <a:pt x="3328" y="21131"/>
                    <a:pt x="4081" y="21600"/>
                    <a:pt x="4915" y="21600"/>
                  </a:cubicBezTo>
                  <a:cubicBezTo>
                    <a:pt x="5016" y="21600"/>
                    <a:pt x="5120" y="21594"/>
                    <a:pt x="5224" y="21579"/>
                  </a:cubicBezTo>
                  <a:lnTo>
                    <a:pt x="19868" y="19442"/>
                  </a:lnTo>
                  <a:cubicBezTo>
                    <a:pt x="20817" y="19290"/>
                    <a:pt x="21459" y="18547"/>
                    <a:pt x="21294" y="17764"/>
                  </a:cubicBezTo>
                  <a:lnTo>
                    <a:pt x="18160" y="3937"/>
                  </a:lnTo>
                  <a:cubicBezTo>
                    <a:pt x="17990" y="3242"/>
                    <a:pt x="17237" y="2773"/>
                    <a:pt x="16387" y="2773"/>
                  </a:cubicBezTo>
                  <a:cubicBezTo>
                    <a:pt x="16284" y="2773"/>
                    <a:pt x="16176" y="2779"/>
                    <a:pt x="16070" y="2794"/>
                  </a:cubicBezTo>
                  <a:lnTo>
                    <a:pt x="13531" y="3175"/>
                  </a:lnTo>
                  <a:lnTo>
                    <a:pt x="13437" y="2736"/>
                  </a:lnTo>
                  <a:cubicBezTo>
                    <a:pt x="13307" y="2271"/>
                    <a:pt x="12811" y="1962"/>
                    <a:pt x="12245" y="1962"/>
                  </a:cubicBezTo>
                  <a:cubicBezTo>
                    <a:pt x="12185" y="1962"/>
                    <a:pt x="12121" y="1965"/>
                    <a:pt x="12059" y="1973"/>
                  </a:cubicBezTo>
                  <a:lnTo>
                    <a:pt x="10184" y="2260"/>
                  </a:lnTo>
                  <a:cubicBezTo>
                    <a:pt x="10279" y="1993"/>
                    <a:pt x="10303" y="1706"/>
                    <a:pt x="10231" y="1421"/>
                  </a:cubicBezTo>
                  <a:cubicBezTo>
                    <a:pt x="10042" y="575"/>
                    <a:pt x="9145" y="0"/>
                    <a:pt x="811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20" name="Google Shape;253;p2"/>
            <p:cNvSpPr/>
            <p:nvPr/>
          </p:nvSpPr>
          <p:spPr>
            <a:xfrm>
              <a:off x="11268763" y="5969313"/>
              <a:ext cx="135106" cy="1347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5" h="21600" extrusionOk="0">
                  <a:moveTo>
                    <a:pt x="8980" y="0"/>
                  </a:moveTo>
                  <a:cubicBezTo>
                    <a:pt x="8481" y="0"/>
                    <a:pt x="7971" y="56"/>
                    <a:pt x="7450" y="168"/>
                  </a:cubicBezTo>
                  <a:cubicBezTo>
                    <a:pt x="-418" y="1831"/>
                    <a:pt x="-2759" y="14148"/>
                    <a:pt x="3869" y="19643"/>
                  </a:cubicBezTo>
                  <a:cubicBezTo>
                    <a:pt x="5503" y="20999"/>
                    <a:pt x="7265" y="21600"/>
                    <a:pt x="8968" y="21600"/>
                  </a:cubicBezTo>
                  <a:cubicBezTo>
                    <a:pt x="14159" y="21600"/>
                    <a:pt x="18841" y="15966"/>
                    <a:pt x="17798" y="8822"/>
                  </a:cubicBezTo>
                  <a:cubicBezTo>
                    <a:pt x="16941" y="3607"/>
                    <a:pt x="13209" y="0"/>
                    <a:pt x="898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21" name="Google Shape;254;p2"/>
            <p:cNvSpPr/>
            <p:nvPr/>
          </p:nvSpPr>
          <p:spPr>
            <a:xfrm>
              <a:off x="11449368" y="5929005"/>
              <a:ext cx="303228" cy="1179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5" h="21600" extrusionOk="0">
                  <a:moveTo>
                    <a:pt x="17160" y="0"/>
                  </a:moveTo>
                  <a:cubicBezTo>
                    <a:pt x="16985" y="0"/>
                    <a:pt x="16811" y="48"/>
                    <a:pt x="16625" y="144"/>
                  </a:cubicBezTo>
                  <a:lnTo>
                    <a:pt x="2019" y="7749"/>
                  </a:lnTo>
                  <a:cubicBezTo>
                    <a:pt x="-1008" y="9362"/>
                    <a:pt x="-412" y="21600"/>
                    <a:pt x="2351" y="21600"/>
                  </a:cubicBezTo>
                  <a:cubicBezTo>
                    <a:pt x="2520" y="21600"/>
                    <a:pt x="2700" y="21552"/>
                    <a:pt x="2891" y="21456"/>
                  </a:cubicBezTo>
                  <a:lnTo>
                    <a:pt x="17559" y="13836"/>
                  </a:lnTo>
                  <a:cubicBezTo>
                    <a:pt x="20592" y="12414"/>
                    <a:pt x="19934" y="0"/>
                    <a:pt x="1716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22" name="Google Shape;255;p2"/>
            <p:cNvSpPr/>
            <p:nvPr/>
          </p:nvSpPr>
          <p:spPr>
            <a:xfrm>
              <a:off x="11303033" y="6157067"/>
              <a:ext cx="135112" cy="1350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5" h="21600" extrusionOk="0">
                  <a:moveTo>
                    <a:pt x="9132" y="0"/>
                  </a:moveTo>
                  <a:cubicBezTo>
                    <a:pt x="8588" y="0"/>
                    <a:pt x="8020" y="70"/>
                    <a:pt x="7452" y="209"/>
                  </a:cubicBezTo>
                  <a:cubicBezTo>
                    <a:pt x="-416" y="1702"/>
                    <a:pt x="-2757" y="14163"/>
                    <a:pt x="3860" y="19647"/>
                  </a:cubicBezTo>
                  <a:cubicBezTo>
                    <a:pt x="5470" y="21000"/>
                    <a:pt x="7209" y="21600"/>
                    <a:pt x="8912" y="21600"/>
                  </a:cubicBezTo>
                  <a:cubicBezTo>
                    <a:pt x="14092" y="21600"/>
                    <a:pt x="18843" y="15977"/>
                    <a:pt x="17800" y="8847"/>
                  </a:cubicBezTo>
                  <a:cubicBezTo>
                    <a:pt x="16943" y="3712"/>
                    <a:pt x="13304" y="0"/>
                    <a:pt x="913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23" name="Google Shape;256;p2"/>
            <p:cNvSpPr/>
            <p:nvPr/>
          </p:nvSpPr>
          <p:spPr>
            <a:xfrm>
              <a:off x="11486794" y="6116671"/>
              <a:ext cx="295977" cy="117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1" h="21600" extrusionOk="0">
                  <a:moveTo>
                    <a:pt x="17024" y="0"/>
                  </a:moveTo>
                  <a:cubicBezTo>
                    <a:pt x="16955" y="0"/>
                    <a:pt x="16891" y="16"/>
                    <a:pt x="16822" y="16"/>
                  </a:cubicBezTo>
                  <a:lnTo>
                    <a:pt x="1861" y="7654"/>
                  </a:lnTo>
                  <a:cubicBezTo>
                    <a:pt x="-1003" y="10055"/>
                    <a:pt x="-375" y="21600"/>
                    <a:pt x="2478" y="21600"/>
                  </a:cubicBezTo>
                  <a:cubicBezTo>
                    <a:pt x="2570" y="21600"/>
                    <a:pt x="2662" y="21584"/>
                    <a:pt x="2755" y="21568"/>
                  </a:cubicBezTo>
                  <a:lnTo>
                    <a:pt x="17710" y="14122"/>
                  </a:lnTo>
                  <a:cubicBezTo>
                    <a:pt x="20597" y="11705"/>
                    <a:pt x="19877" y="0"/>
                    <a:pt x="1702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24" name="Google Shape;257;p2"/>
            <p:cNvSpPr/>
            <p:nvPr/>
          </p:nvSpPr>
          <p:spPr>
            <a:xfrm>
              <a:off x="11339866" y="6357821"/>
              <a:ext cx="134850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9" h="21600" extrusionOk="0">
                  <a:moveTo>
                    <a:pt x="8942" y="0"/>
                  </a:moveTo>
                  <a:cubicBezTo>
                    <a:pt x="8442" y="0"/>
                    <a:pt x="7920" y="56"/>
                    <a:pt x="7409" y="154"/>
                  </a:cubicBezTo>
                  <a:cubicBezTo>
                    <a:pt x="-477" y="1831"/>
                    <a:pt x="-2683" y="14148"/>
                    <a:pt x="3809" y="19629"/>
                  </a:cubicBezTo>
                  <a:cubicBezTo>
                    <a:pt x="5446" y="20985"/>
                    <a:pt x="7223" y="21600"/>
                    <a:pt x="8942" y="21600"/>
                  </a:cubicBezTo>
                  <a:cubicBezTo>
                    <a:pt x="14179" y="21600"/>
                    <a:pt x="18917" y="15966"/>
                    <a:pt x="17779" y="8822"/>
                  </a:cubicBezTo>
                  <a:cubicBezTo>
                    <a:pt x="17036" y="3607"/>
                    <a:pt x="13203" y="0"/>
                    <a:pt x="894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25" name="Google Shape;258;p2"/>
            <p:cNvSpPr/>
            <p:nvPr/>
          </p:nvSpPr>
          <p:spPr>
            <a:xfrm>
              <a:off x="11522034" y="6317949"/>
              <a:ext cx="299390" cy="1180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47" h="21600" extrusionOk="0">
                  <a:moveTo>
                    <a:pt x="17089" y="0"/>
                  </a:moveTo>
                  <a:cubicBezTo>
                    <a:pt x="16963" y="0"/>
                    <a:pt x="16832" y="16"/>
                    <a:pt x="16696" y="64"/>
                  </a:cubicBezTo>
                  <a:lnTo>
                    <a:pt x="1914" y="7471"/>
                  </a:lnTo>
                  <a:cubicBezTo>
                    <a:pt x="-1031" y="9675"/>
                    <a:pt x="-382" y="21600"/>
                    <a:pt x="2529" y="21600"/>
                  </a:cubicBezTo>
                  <a:cubicBezTo>
                    <a:pt x="2637" y="21600"/>
                    <a:pt x="2746" y="21584"/>
                    <a:pt x="2860" y="21552"/>
                  </a:cubicBezTo>
                  <a:lnTo>
                    <a:pt x="17578" y="13937"/>
                  </a:lnTo>
                  <a:cubicBezTo>
                    <a:pt x="20569" y="11941"/>
                    <a:pt x="19948" y="0"/>
                    <a:pt x="1708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26" name="Google Shape;259;p2"/>
            <p:cNvSpPr/>
            <p:nvPr/>
          </p:nvSpPr>
          <p:spPr>
            <a:xfrm>
              <a:off x="11201376" y="7192681"/>
              <a:ext cx="602278" cy="6079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08" h="21600" extrusionOk="0">
                  <a:moveTo>
                    <a:pt x="9742" y="0"/>
                  </a:moveTo>
                  <a:cubicBezTo>
                    <a:pt x="6873" y="0"/>
                    <a:pt x="4052" y="1448"/>
                    <a:pt x="2215" y="4182"/>
                  </a:cubicBezTo>
                  <a:lnTo>
                    <a:pt x="18150" y="15400"/>
                  </a:lnTo>
                  <a:cubicBezTo>
                    <a:pt x="20404" y="10527"/>
                    <a:pt x="18946" y="4551"/>
                    <a:pt x="14803" y="1634"/>
                  </a:cubicBezTo>
                  <a:cubicBezTo>
                    <a:pt x="13239" y="533"/>
                    <a:pt x="11484" y="0"/>
                    <a:pt x="9742" y="0"/>
                  </a:cubicBezTo>
                  <a:close/>
                  <a:moveTo>
                    <a:pt x="1055" y="6175"/>
                  </a:moveTo>
                  <a:cubicBezTo>
                    <a:pt x="-1196" y="11045"/>
                    <a:pt x="262" y="17025"/>
                    <a:pt x="4402" y="19976"/>
                  </a:cubicBezTo>
                  <a:cubicBezTo>
                    <a:pt x="5972" y="21073"/>
                    <a:pt x="7724" y="21600"/>
                    <a:pt x="9458" y="21600"/>
                  </a:cubicBezTo>
                  <a:cubicBezTo>
                    <a:pt x="12335" y="21600"/>
                    <a:pt x="15162" y="20149"/>
                    <a:pt x="17023" y="17431"/>
                  </a:cubicBezTo>
                  <a:lnTo>
                    <a:pt x="1055" y="6175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27" name="Google Shape;260;p2"/>
            <p:cNvSpPr/>
            <p:nvPr/>
          </p:nvSpPr>
          <p:spPr>
            <a:xfrm>
              <a:off x="12458524" y="5890355"/>
              <a:ext cx="505515" cy="4910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38" y="0"/>
                  </a:moveTo>
                  <a:lnTo>
                    <a:pt x="3285" y="6214"/>
                  </a:lnTo>
                  <a:cubicBezTo>
                    <a:pt x="-141" y="8728"/>
                    <a:pt x="-1029" y="13755"/>
                    <a:pt x="1296" y="17455"/>
                  </a:cubicBezTo>
                  <a:lnTo>
                    <a:pt x="1719" y="18096"/>
                  </a:lnTo>
                  <a:cubicBezTo>
                    <a:pt x="3139" y="20368"/>
                    <a:pt x="5475" y="21600"/>
                    <a:pt x="7864" y="21600"/>
                  </a:cubicBezTo>
                  <a:cubicBezTo>
                    <a:pt x="9313" y="21600"/>
                    <a:pt x="10783" y="21147"/>
                    <a:pt x="12075" y="20195"/>
                  </a:cubicBezTo>
                  <a:lnTo>
                    <a:pt x="20571" y="13982"/>
                  </a:lnTo>
                  <a:lnTo>
                    <a:pt x="11738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28" name="Google Shape;261;p2"/>
            <p:cNvSpPr/>
            <p:nvPr/>
          </p:nvSpPr>
          <p:spPr>
            <a:xfrm>
              <a:off x="12791640" y="5686023"/>
              <a:ext cx="505516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2699" y="0"/>
                  </a:moveTo>
                  <a:cubicBezTo>
                    <a:pt x="11251" y="0"/>
                    <a:pt x="9785" y="456"/>
                    <a:pt x="8496" y="1398"/>
                  </a:cubicBezTo>
                  <a:lnTo>
                    <a:pt x="0" y="7644"/>
                  </a:lnTo>
                  <a:lnTo>
                    <a:pt x="8791" y="21600"/>
                  </a:lnTo>
                  <a:lnTo>
                    <a:pt x="17286" y="15354"/>
                  </a:lnTo>
                  <a:cubicBezTo>
                    <a:pt x="20712" y="12845"/>
                    <a:pt x="21600" y="7828"/>
                    <a:pt x="19275" y="4136"/>
                  </a:cubicBezTo>
                  <a:lnTo>
                    <a:pt x="18895" y="3543"/>
                  </a:lnTo>
                  <a:cubicBezTo>
                    <a:pt x="17446" y="1241"/>
                    <a:pt x="15092" y="0"/>
                    <a:pt x="1269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29" name="Google Shape;262;p2"/>
            <p:cNvSpPr/>
            <p:nvPr/>
          </p:nvSpPr>
          <p:spPr>
            <a:xfrm>
              <a:off x="12279274" y="6905990"/>
              <a:ext cx="932251" cy="9304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14" h="21600" extrusionOk="0">
                  <a:moveTo>
                    <a:pt x="10076" y="0"/>
                  </a:moveTo>
                  <a:cubicBezTo>
                    <a:pt x="9688" y="0"/>
                    <a:pt x="9376" y="277"/>
                    <a:pt x="9331" y="658"/>
                  </a:cubicBezTo>
                  <a:lnTo>
                    <a:pt x="8395" y="7698"/>
                  </a:lnTo>
                  <a:lnTo>
                    <a:pt x="1397" y="6758"/>
                  </a:lnTo>
                  <a:cubicBezTo>
                    <a:pt x="1366" y="6754"/>
                    <a:pt x="1336" y="6752"/>
                    <a:pt x="1306" y="6752"/>
                  </a:cubicBezTo>
                  <a:cubicBezTo>
                    <a:pt x="934" y="6752"/>
                    <a:pt x="601" y="7030"/>
                    <a:pt x="557" y="7409"/>
                  </a:cubicBezTo>
                  <a:lnTo>
                    <a:pt x="5" y="11413"/>
                  </a:lnTo>
                  <a:cubicBezTo>
                    <a:pt x="-43" y="11822"/>
                    <a:pt x="245" y="12184"/>
                    <a:pt x="652" y="12255"/>
                  </a:cubicBezTo>
                  <a:lnTo>
                    <a:pt x="7676" y="13173"/>
                  </a:lnTo>
                  <a:lnTo>
                    <a:pt x="6742" y="20237"/>
                  </a:lnTo>
                  <a:cubicBezTo>
                    <a:pt x="6694" y="20648"/>
                    <a:pt x="6982" y="21009"/>
                    <a:pt x="7389" y="21082"/>
                  </a:cubicBezTo>
                  <a:lnTo>
                    <a:pt x="11369" y="21588"/>
                  </a:lnTo>
                  <a:cubicBezTo>
                    <a:pt x="11411" y="21596"/>
                    <a:pt x="11452" y="21600"/>
                    <a:pt x="11494" y="21600"/>
                  </a:cubicBezTo>
                  <a:cubicBezTo>
                    <a:pt x="11852" y="21600"/>
                    <a:pt x="12164" y="21329"/>
                    <a:pt x="12207" y="20962"/>
                  </a:cubicBezTo>
                  <a:lnTo>
                    <a:pt x="13119" y="13896"/>
                  </a:lnTo>
                  <a:lnTo>
                    <a:pt x="20142" y="14835"/>
                  </a:lnTo>
                  <a:cubicBezTo>
                    <a:pt x="20172" y="14839"/>
                    <a:pt x="20202" y="14842"/>
                    <a:pt x="20230" y="14842"/>
                  </a:cubicBezTo>
                  <a:cubicBezTo>
                    <a:pt x="20601" y="14842"/>
                    <a:pt x="20915" y="14566"/>
                    <a:pt x="20981" y="14210"/>
                  </a:cubicBezTo>
                  <a:lnTo>
                    <a:pt x="21509" y="10206"/>
                  </a:lnTo>
                  <a:cubicBezTo>
                    <a:pt x="21557" y="9796"/>
                    <a:pt x="21269" y="9410"/>
                    <a:pt x="20860" y="9363"/>
                  </a:cubicBezTo>
                  <a:lnTo>
                    <a:pt x="13862" y="8421"/>
                  </a:lnTo>
                  <a:lnTo>
                    <a:pt x="14772" y="1381"/>
                  </a:lnTo>
                  <a:cubicBezTo>
                    <a:pt x="14820" y="970"/>
                    <a:pt x="14532" y="585"/>
                    <a:pt x="14125" y="537"/>
                  </a:cubicBezTo>
                  <a:lnTo>
                    <a:pt x="10169" y="6"/>
                  </a:lnTo>
                  <a:cubicBezTo>
                    <a:pt x="10139" y="2"/>
                    <a:pt x="10107" y="0"/>
                    <a:pt x="1007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30" name="Google Shape;263;p2"/>
            <p:cNvSpPr/>
            <p:nvPr/>
          </p:nvSpPr>
          <p:spPr>
            <a:xfrm>
              <a:off x="11086871" y="8317463"/>
              <a:ext cx="933079" cy="11786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0" h="21600" extrusionOk="0">
                  <a:moveTo>
                    <a:pt x="8137" y="657"/>
                  </a:moveTo>
                  <a:cubicBezTo>
                    <a:pt x="8711" y="657"/>
                    <a:pt x="9275" y="934"/>
                    <a:pt x="9379" y="1551"/>
                  </a:cubicBezTo>
                  <a:cubicBezTo>
                    <a:pt x="9449" y="1874"/>
                    <a:pt x="9331" y="2179"/>
                    <a:pt x="9094" y="2427"/>
                  </a:cubicBezTo>
                  <a:lnTo>
                    <a:pt x="7503" y="2656"/>
                  </a:lnTo>
                  <a:cubicBezTo>
                    <a:pt x="7146" y="2502"/>
                    <a:pt x="6909" y="2237"/>
                    <a:pt x="6839" y="1932"/>
                  </a:cubicBezTo>
                  <a:cubicBezTo>
                    <a:pt x="6610" y="1132"/>
                    <a:pt x="7382" y="657"/>
                    <a:pt x="8137" y="657"/>
                  </a:cubicBezTo>
                  <a:close/>
                  <a:moveTo>
                    <a:pt x="15529" y="4351"/>
                  </a:moveTo>
                  <a:cubicBezTo>
                    <a:pt x="16040" y="4351"/>
                    <a:pt x="16490" y="4637"/>
                    <a:pt x="16594" y="5054"/>
                  </a:cubicBezTo>
                  <a:lnTo>
                    <a:pt x="19347" y="17181"/>
                  </a:lnTo>
                  <a:cubicBezTo>
                    <a:pt x="19466" y="17657"/>
                    <a:pt x="19062" y="18113"/>
                    <a:pt x="18470" y="18189"/>
                  </a:cubicBezTo>
                  <a:lnTo>
                    <a:pt x="5984" y="20017"/>
                  </a:lnTo>
                  <a:cubicBezTo>
                    <a:pt x="5922" y="20025"/>
                    <a:pt x="5863" y="20028"/>
                    <a:pt x="5803" y="20028"/>
                  </a:cubicBezTo>
                  <a:cubicBezTo>
                    <a:pt x="5278" y="20028"/>
                    <a:pt x="4808" y="19737"/>
                    <a:pt x="4702" y="19294"/>
                  </a:cubicBezTo>
                  <a:lnTo>
                    <a:pt x="1949" y="7205"/>
                  </a:lnTo>
                  <a:cubicBezTo>
                    <a:pt x="1854" y="6730"/>
                    <a:pt x="2234" y="6273"/>
                    <a:pt x="2850" y="6177"/>
                  </a:cubicBezTo>
                  <a:lnTo>
                    <a:pt x="4324" y="5967"/>
                  </a:lnTo>
                  <a:cubicBezTo>
                    <a:pt x="4405" y="6301"/>
                    <a:pt x="4764" y="6533"/>
                    <a:pt x="5171" y="6533"/>
                  </a:cubicBezTo>
                  <a:cubicBezTo>
                    <a:pt x="5229" y="6533"/>
                    <a:pt x="5284" y="6528"/>
                    <a:pt x="5344" y="6520"/>
                  </a:cubicBezTo>
                  <a:lnTo>
                    <a:pt x="13129" y="5396"/>
                  </a:lnTo>
                  <a:cubicBezTo>
                    <a:pt x="13603" y="5320"/>
                    <a:pt x="13912" y="4958"/>
                    <a:pt x="13841" y="4578"/>
                  </a:cubicBezTo>
                  <a:lnTo>
                    <a:pt x="15312" y="4368"/>
                  </a:lnTo>
                  <a:cubicBezTo>
                    <a:pt x="15386" y="4357"/>
                    <a:pt x="15457" y="4351"/>
                    <a:pt x="15529" y="4351"/>
                  </a:cubicBezTo>
                  <a:close/>
                  <a:moveTo>
                    <a:pt x="8107" y="0"/>
                  </a:moveTo>
                  <a:cubicBezTo>
                    <a:pt x="7980" y="0"/>
                    <a:pt x="7848" y="10"/>
                    <a:pt x="7717" y="29"/>
                  </a:cubicBezTo>
                  <a:cubicBezTo>
                    <a:pt x="6554" y="200"/>
                    <a:pt x="5771" y="1113"/>
                    <a:pt x="5984" y="2047"/>
                  </a:cubicBezTo>
                  <a:cubicBezTo>
                    <a:pt x="6032" y="2331"/>
                    <a:pt x="6197" y="2598"/>
                    <a:pt x="6411" y="2808"/>
                  </a:cubicBezTo>
                  <a:lnTo>
                    <a:pt x="4868" y="3056"/>
                  </a:lnTo>
                  <a:cubicBezTo>
                    <a:pt x="4228" y="3150"/>
                    <a:pt x="3801" y="3646"/>
                    <a:pt x="3919" y="4140"/>
                  </a:cubicBezTo>
                  <a:lnTo>
                    <a:pt x="4015" y="4597"/>
                  </a:lnTo>
                  <a:lnTo>
                    <a:pt x="1451" y="4958"/>
                  </a:lnTo>
                  <a:cubicBezTo>
                    <a:pt x="478" y="5110"/>
                    <a:pt x="-140" y="5854"/>
                    <a:pt x="27" y="6634"/>
                  </a:cubicBezTo>
                  <a:lnTo>
                    <a:pt x="3159" y="20417"/>
                  </a:lnTo>
                  <a:cubicBezTo>
                    <a:pt x="3329" y="21114"/>
                    <a:pt x="4086" y="21600"/>
                    <a:pt x="4924" y="21600"/>
                  </a:cubicBezTo>
                  <a:cubicBezTo>
                    <a:pt x="5023" y="21600"/>
                    <a:pt x="5123" y="21592"/>
                    <a:pt x="5225" y="21578"/>
                  </a:cubicBezTo>
                  <a:lnTo>
                    <a:pt x="19869" y="19427"/>
                  </a:lnTo>
                  <a:cubicBezTo>
                    <a:pt x="20818" y="19294"/>
                    <a:pt x="21460" y="18532"/>
                    <a:pt x="21295" y="17771"/>
                  </a:cubicBezTo>
                  <a:lnTo>
                    <a:pt x="18161" y="3969"/>
                  </a:lnTo>
                  <a:cubicBezTo>
                    <a:pt x="17991" y="3271"/>
                    <a:pt x="17234" y="2787"/>
                    <a:pt x="16380" y="2787"/>
                  </a:cubicBezTo>
                  <a:cubicBezTo>
                    <a:pt x="16279" y="2787"/>
                    <a:pt x="16175" y="2793"/>
                    <a:pt x="16071" y="2808"/>
                  </a:cubicBezTo>
                  <a:lnTo>
                    <a:pt x="13532" y="3188"/>
                  </a:lnTo>
                  <a:lnTo>
                    <a:pt x="13438" y="2750"/>
                  </a:lnTo>
                  <a:cubicBezTo>
                    <a:pt x="13310" y="2294"/>
                    <a:pt x="12830" y="1973"/>
                    <a:pt x="12274" y="1973"/>
                  </a:cubicBezTo>
                  <a:cubicBezTo>
                    <a:pt x="12204" y="1973"/>
                    <a:pt x="12132" y="1978"/>
                    <a:pt x="12060" y="1989"/>
                  </a:cubicBezTo>
                  <a:lnTo>
                    <a:pt x="10185" y="2256"/>
                  </a:lnTo>
                  <a:cubicBezTo>
                    <a:pt x="10280" y="1989"/>
                    <a:pt x="10304" y="1703"/>
                    <a:pt x="10232" y="1437"/>
                  </a:cubicBezTo>
                  <a:cubicBezTo>
                    <a:pt x="10043" y="590"/>
                    <a:pt x="9140" y="0"/>
                    <a:pt x="810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31" name="Google Shape;264;p2"/>
            <p:cNvSpPr/>
            <p:nvPr/>
          </p:nvSpPr>
          <p:spPr>
            <a:xfrm>
              <a:off x="11268763" y="8740521"/>
              <a:ext cx="135106" cy="135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5" h="21600" extrusionOk="0">
                  <a:moveTo>
                    <a:pt x="9130" y="0"/>
                  </a:moveTo>
                  <a:cubicBezTo>
                    <a:pt x="8586" y="0"/>
                    <a:pt x="8018" y="70"/>
                    <a:pt x="7450" y="195"/>
                  </a:cubicBezTo>
                  <a:cubicBezTo>
                    <a:pt x="-418" y="1856"/>
                    <a:pt x="-2759" y="14149"/>
                    <a:pt x="3869" y="19633"/>
                  </a:cubicBezTo>
                  <a:cubicBezTo>
                    <a:pt x="5503" y="20986"/>
                    <a:pt x="7265" y="21600"/>
                    <a:pt x="8968" y="21600"/>
                  </a:cubicBezTo>
                  <a:cubicBezTo>
                    <a:pt x="14159" y="21600"/>
                    <a:pt x="18841" y="15977"/>
                    <a:pt x="17798" y="8833"/>
                  </a:cubicBezTo>
                  <a:cubicBezTo>
                    <a:pt x="16952" y="3712"/>
                    <a:pt x="13302" y="0"/>
                    <a:pt x="913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32" name="Google Shape;265;p2"/>
            <p:cNvSpPr/>
            <p:nvPr/>
          </p:nvSpPr>
          <p:spPr>
            <a:xfrm>
              <a:off x="11448146" y="8701172"/>
              <a:ext cx="305984" cy="117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9" h="21600" extrusionOk="0">
                  <a:moveTo>
                    <a:pt x="17193" y="0"/>
                  </a:moveTo>
                  <a:cubicBezTo>
                    <a:pt x="16992" y="0"/>
                    <a:pt x="16780" y="64"/>
                    <a:pt x="16557" y="208"/>
                  </a:cubicBezTo>
                  <a:lnTo>
                    <a:pt x="16557" y="16"/>
                  </a:lnTo>
                  <a:lnTo>
                    <a:pt x="2079" y="7643"/>
                  </a:lnTo>
                  <a:cubicBezTo>
                    <a:pt x="-1016" y="9069"/>
                    <a:pt x="-419" y="21600"/>
                    <a:pt x="2314" y="21600"/>
                  </a:cubicBezTo>
                  <a:cubicBezTo>
                    <a:pt x="2509" y="21600"/>
                    <a:pt x="2721" y="21520"/>
                    <a:pt x="2944" y="21392"/>
                  </a:cubicBezTo>
                  <a:lnTo>
                    <a:pt x="17483" y="13941"/>
                  </a:lnTo>
                  <a:cubicBezTo>
                    <a:pt x="20584" y="12691"/>
                    <a:pt x="19982" y="0"/>
                    <a:pt x="1719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33" name="Google Shape;266;p2"/>
            <p:cNvSpPr/>
            <p:nvPr/>
          </p:nvSpPr>
          <p:spPr>
            <a:xfrm>
              <a:off x="11303033" y="8928537"/>
              <a:ext cx="135112" cy="135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5" h="21600" extrusionOk="0">
                  <a:moveTo>
                    <a:pt x="9132" y="0"/>
                  </a:moveTo>
                  <a:cubicBezTo>
                    <a:pt x="8588" y="0"/>
                    <a:pt x="8020" y="70"/>
                    <a:pt x="7452" y="195"/>
                  </a:cubicBezTo>
                  <a:cubicBezTo>
                    <a:pt x="-416" y="1856"/>
                    <a:pt x="-2757" y="14149"/>
                    <a:pt x="3860" y="19633"/>
                  </a:cubicBezTo>
                  <a:cubicBezTo>
                    <a:pt x="5470" y="20986"/>
                    <a:pt x="7209" y="21600"/>
                    <a:pt x="8912" y="21600"/>
                  </a:cubicBezTo>
                  <a:cubicBezTo>
                    <a:pt x="14092" y="21600"/>
                    <a:pt x="18843" y="15977"/>
                    <a:pt x="17800" y="8847"/>
                  </a:cubicBezTo>
                  <a:cubicBezTo>
                    <a:pt x="16943" y="3712"/>
                    <a:pt x="13304" y="0"/>
                    <a:pt x="913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34" name="Google Shape;267;p2"/>
            <p:cNvSpPr/>
            <p:nvPr/>
          </p:nvSpPr>
          <p:spPr>
            <a:xfrm>
              <a:off x="11486806" y="8889101"/>
              <a:ext cx="295931" cy="117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3" h="21600" extrusionOk="0">
                  <a:moveTo>
                    <a:pt x="17090" y="0"/>
                  </a:moveTo>
                  <a:cubicBezTo>
                    <a:pt x="17004" y="0"/>
                    <a:pt x="16912" y="16"/>
                    <a:pt x="16825" y="32"/>
                  </a:cubicBezTo>
                  <a:lnTo>
                    <a:pt x="1860" y="7462"/>
                  </a:lnTo>
                  <a:cubicBezTo>
                    <a:pt x="-1022" y="9895"/>
                    <a:pt x="-371" y="21600"/>
                    <a:pt x="2546" y="21600"/>
                  </a:cubicBezTo>
                  <a:cubicBezTo>
                    <a:pt x="2610" y="21600"/>
                    <a:pt x="2685" y="21584"/>
                    <a:pt x="2754" y="21568"/>
                  </a:cubicBezTo>
                  <a:lnTo>
                    <a:pt x="17713" y="13946"/>
                  </a:lnTo>
                  <a:cubicBezTo>
                    <a:pt x="20578" y="11545"/>
                    <a:pt x="19886" y="0"/>
                    <a:pt x="1709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35" name="Google Shape;268;p2"/>
            <p:cNvSpPr/>
            <p:nvPr/>
          </p:nvSpPr>
          <p:spPr>
            <a:xfrm>
              <a:off x="11339866" y="9129290"/>
              <a:ext cx="134853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9" h="21600" extrusionOk="0">
                  <a:moveTo>
                    <a:pt x="8942" y="0"/>
                  </a:moveTo>
                  <a:cubicBezTo>
                    <a:pt x="8431" y="0"/>
                    <a:pt x="7920" y="56"/>
                    <a:pt x="7409" y="154"/>
                  </a:cubicBezTo>
                  <a:cubicBezTo>
                    <a:pt x="-477" y="1817"/>
                    <a:pt x="-2683" y="14134"/>
                    <a:pt x="3809" y="19629"/>
                  </a:cubicBezTo>
                  <a:cubicBezTo>
                    <a:pt x="5458" y="20985"/>
                    <a:pt x="7234" y="21600"/>
                    <a:pt x="8953" y="21600"/>
                  </a:cubicBezTo>
                  <a:cubicBezTo>
                    <a:pt x="14191" y="21600"/>
                    <a:pt x="18917" y="15994"/>
                    <a:pt x="17779" y="8976"/>
                  </a:cubicBezTo>
                  <a:cubicBezTo>
                    <a:pt x="17036" y="3621"/>
                    <a:pt x="13203" y="0"/>
                    <a:pt x="894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36" name="Google Shape;269;p2"/>
            <p:cNvSpPr/>
            <p:nvPr/>
          </p:nvSpPr>
          <p:spPr>
            <a:xfrm>
              <a:off x="11522808" y="9089768"/>
              <a:ext cx="297799" cy="117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30" h="21600" extrusionOk="0">
                  <a:moveTo>
                    <a:pt x="16720" y="0"/>
                  </a:moveTo>
                  <a:lnTo>
                    <a:pt x="1871" y="7633"/>
                  </a:lnTo>
                  <a:cubicBezTo>
                    <a:pt x="-1041" y="9862"/>
                    <a:pt x="-354" y="21600"/>
                    <a:pt x="2552" y="21600"/>
                  </a:cubicBezTo>
                  <a:cubicBezTo>
                    <a:pt x="2638" y="21600"/>
                    <a:pt x="2730" y="21600"/>
                    <a:pt x="2821" y="21568"/>
                  </a:cubicBezTo>
                  <a:lnTo>
                    <a:pt x="17607" y="14127"/>
                  </a:lnTo>
                  <a:cubicBezTo>
                    <a:pt x="20559" y="11914"/>
                    <a:pt x="19907" y="144"/>
                    <a:pt x="17052" y="144"/>
                  </a:cubicBezTo>
                  <a:cubicBezTo>
                    <a:pt x="16949" y="144"/>
                    <a:pt x="16834" y="160"/>
                    <a:pt x="16720" y="192"/>
                  </a:cubicBezTo>
                  <a:lnTo>
                    <a:pt x="16720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37" name="Google Shape;270;p2"/>
            <p:cNvSpPr/>
            <p:nvPr/>
          </p:nvSpPr>
          <p:spPr>
            <a:xfrm>
              <a:off x="11203163" y="9964413"/>
              <a:ext cx="600492" cy="6060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67" h="21600" extrusionOk="0">
                  <a:moveTo>
                    <a:pt x="9766" y="0"/>
                  </a:moveTo>
                  <a:cubicBezTo>
                    <a:pt x="6872" y="0"/>
                    <a:pt x="4022" y="1458"/>
                    <a:pt x="2171" y="4183"/>
                  </a:cubicBezTo>
                  <a:lnTo>
                    <a:pt x="18204" y="15477"/>
                  </a:lnTo>
                  <a:cubicBezTo>
                    <a:pt x="20471" y="10589"/>
                    <a:pt x="19004" y="4590"/>
                    <a:pt x="14836" y="1629"/>
                  </a:cubicBezTo>
                  <a:cubicBezTo>
                    <a:pt x="13271" y="529"/>
                    <a:pt x="11510" y="0"/>
                    <a:pt x="9766" y="0"/>
                  </a:cubicBezTo>
                  <a:close/>
                  <a:moveTo>
                    <a:pt x="1004" y="6182"/>
                  </a:moveTo>
                  <a:cubicBezTo>
                    <a:pt x="-1129" y="11071"/>
                    <a:pt x="206" y="17032"/>
                    <a:pt x="4338" y="19955"/>
                  </a:cubicBezTo>
                  <a:cubicBezTo>
                    <a:pt x="5931" y="21065"/>
                    <a:pt x="7709" y="21600"/>
                    <a:pt x="9469" y="21600"/>
                  </a:cubicBezTo>
                  <a:cubicBezTo>
                    <a:pt x="12353" y="21600"/>
                    <a:pt x="15186" y="20166"/>
                    <a:pt x="17070" y="17477"/>
                  </a:cubicBezTo>
                  <a:lnTo>
                    <a:pt x="1004" y="6182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38" name="Google Shape;271;p2"/>
            <p:cNvSpPr/>
            <p:nvPr/>
          </p:nvSpPr>
          <p:spPr>
            <a:xfrm>
              <a:off x="12458524" y="8661824"/>
              <a:ext cx="505515" cy="4912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38" y="0"/>
                  </a:moveTo>
                  <a:lnTo>
                    <a:pt x="3285" y="6210"/>
                  </a:lnTo>
                  <a:cubicBezTo>
                    <a:pt x="-141" y="8723"/>
                    <a:pt x="-1029" y="13744"/>
                    <a:pt x="1296" y="17446"/>
                  </a:cubicBezTo>
                  <a:lnTo>
                    <a:pt x="1719" y="18082"/>
                  </a:lnTo>
                  <a:cubicBezTo>
                    <a:pt x="3146" y="20369"/>
                    <a:pt x="5496" y="21600"/>
                    <a:pt x="7896" y="21600"/>
                  </a:cubicBezTo>
                  <a:cubicBezTo>
                    <a:pt x="9334" y="21600"/>
                    <a:pt x="10790" y="21155"/>
                    <a:pt x="12075" y="20231"/>
                  </a:cubicBezTo>
                  <a:lnTo>
                    <a:pt x="20571" y="13974"/>
                  </a:lnTo>
                  <a:lnTo>
                    <a:pt x="11738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39" name="Google Shape;272;p2"/>
            <p:cNvSpPr/>
            <p:nvPr/>
          </p:nvSpPr>
          <p:spPr>
            <a:xfrm>
              <a:off x="12791640" y="8457493"/>
              <a:ext cx="505516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2699" y="0"/>
                  </a:moveTo>
                  <a:cubicBezTo>
                    <a:pt x="11251" y="0"/>
                    <a:pt x="9785" y="452"/>
                    <a:pt x="8496" y="1398"/>
                  </a:cubicBezTo>
                  <a:lnTo>
                    <a:pt x="0" y="7644"/>
                  </a:lnTo>
                  <a:lnTo>
                    <a:pt x="8791" y="21600"/>
                  </a:lnTo>
                  <a:lnTo>
                    <a:pt x="17286" y="15350"/>
                  </a:lnTo>
                  <a:cubicBezTo>
                    <a:pt x="20712" y="12845"/>
                    <a:pt x="21600" y="7828"/>
                    <a:pt x="19275" y="4178"/>
                  </a:cubicBezTo>
                  <a:lnTo>
                    <a:pt x="18895" y="3543"/>
                  </a:lnTo>
                  <a:cubicBezTo>
                    <a:pt x="17446" y="1241"/>
                    <a:pt x="15092" y="0"/>
                    <a:pt x="1269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40" name="Google Shape;273;p2"/>
            <p:cNvSpPr/>
            <p:nvPr/>
          </p:nvSpPr>
          <p:spPr>
            <a:xfrm>
              <a:off x="12279274" y="9677198"/>
              <a:ext cx="932251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14" h="21600" extrusionOk="0">
                  <a:moveTo>
                    <a:pt x="10038" y="0"/>
                  </a:moveTo>
                  <a:cubicBezTo>
                    <a:pt x="9668" y="0"/>
                    <a:pt x="9372" y="273"/>
                    <a:pt x="9307" y="662"/>
                  </a:cubicBezTo>
                  <a:lnTo>
                    <a:pt x="8395" y="7696"/>
                  </a:lnTo>
                  <a:lnTo>
                    <a:pt x="1397" y="6758"/>
                  </a:lnTo>
                  <a:cubicBezTo>
                    <a:pt x="1366" y="6754"/>
                    <a:pt x="1336" y="6752"/>
                    <a:pt x="1306" y="6752"/>
                  </a:cubicBezTo>
                  <a:cubicBezTo>
                    <a:pt x="934" y="6752"/>
                    <a:pt x="601" y="7027"/>
                    <a:pt x="557" y="7407"/>
                  </a:cubicBezTo>
                  <a:lnTo>
                    <a:pt x="5" y="11407"/>
                  </a:lnTo>
                  <a:cubicBezTo>
                    <a:pt x="-43" y="11816"/>
                    <a:pt x="245" y="12178"/>
                    <a:pt x="652" y="12249"/>
                  </a:cubicBezTo>
                  <a:lnTo>
                    <a:pt x="7676" y="13189"/>
                  </a:lnTo>
                  <a:lnTo>
                    <a:pt x="6742" y="20222"/>
                  </a:lnTo>
                  <a:cubicBezTo>
                    <a:pt x="6694" y="20633"/>
                    <a:pt x="6982" y="21017"/>
                    <a:pt x="7389" y="21066"/>
                  </a:cubicBezTo>
                  <a:lnTo>
                    <a:pt x="11369" y="21596"/>
                  </a:lnTo>
                  <a:cubicBezTo>
                    <a:pt x="11397" y="21600"/>
                    <a:pt x="11427" y="21600"/>
                    <a:pt x="11458" y="21600"/>
                  </a:cubicBezTo>
                  <a:cubicBezTo>
                    <a:pt x="11826" y="21600"/>
                    <a:pt x="12140" y="21325"/>
                    <a:pt x="12207" y="20944"/>
                  </a:cubicBezTo>
                  <a:lnTo>
                    <a:pt x="13119" y="13912"/>
                  </a:lnTo>
                  <a:lnTo>
                    <a:pt x="20142" y="14826"/>
                  </a:lnTo>
                  <a:cubicBezTo>
                    <a:pt x="20184" y="14834"/>
                    <a:pt x="20226" y="14838"/>
                    <a:pt x="20266" y="14838"/>
                  </a:cubicBezTo>
                  <a:cubicBezTo>
                    <a:pt x="20625" y="14838"/>
                    <a:pt x="20939" y="14565"/>
                    <a:pt x="20981" y="14177"/>
                  </a:cubicBezTo>
                  <a:lnTo>
                    <a:pt x="21509" y="10201"/>
                  </a:lnTo>
                  <a:cubicBezTo>
                    <a:pt x="21557" y="9792"/>
                    <a:pt x="21269" y="9406"/>
                    <a:pt x="20860" y="9357"/>
                  </a:cubicBezTo>
                  <a:lnTo>
                    <a:pt x="13862" y="8419"/>
                  </a:lnTo>
                  <a:lnTo>
                    <a:pt x="14772" y="1386"/>
                  </a:lnTo>
                  <a:cubicBezTo>
                    <a:pt x="14820" y="975"/>
                    <a:pt x="14532" y="591"/>
                    <a:pt x="14125" y="542"/>
                  </a:cubicBezTo>
                  <a:lnTo>
                    <a:pt x="10169" y="12"/>
                  </a:lnTo>
                  <a:cubicBezTo>
                    <a:pt x="10125" y="4"/>
                    <a:pt x="10080" y="0"/>
                    <a:pt x="1003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41" name="Google Shape;274;p2"/>
            <p:cNvSpPr/>
            <p:nvPr/>
          </p:nvSpPr>
          <p:spPr>
            <a:xfrm>
              <a:off x="11086903" y="11088932"/>
              <a:ext cx="933047" cy="11774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0" h="21600" extrusionOk="0">
                  <a:moveTo>
                    <a:pt x="8136" y="658"/>
                  </a:moveTo>
                  <a:cubicBezTo>
                    <a:pt x="8710" y="658"/>
                    <a:pt x="9274" y="935"/>
                    <a:pt x="9378" y="1552"/>
                  </a:cubicBezTo>
                  <a:cubicBezTo>
                    <a:pt x="9448" y="1857"/>
                    <a:pt x="9330" y="2181"/>
                    <a:pt x="9093" y="2430"/>
                  </a:cubicBezTo>
                  <a:lnTo>
                    <a:pt x="7502" y="2657"/>
                  </a:lnTo>
                  <a:cubicBezTo>
                    <a:pt x="7169" y="2505"/>
                    <a:pt x="6908" y="2257"/>
                    <a:pt x="6838" y="1953"/>
                  </a:cubicBezTo>
                  <a:lnTo>
                    <a:pt x="6838" y="1933"/>
                  </a:lnTo>
                  <a:cubicBezTo>
                    <a:pt x="6609" y="1133"/>
                    <a:pt x="7381" y="658"/>
                    <a:pt x="8136" y="658"/>
                  </a:cubicBezTo>
                  <a:close/>
                  <a:moveTo>
                    <a:pt x="15520" y="4356"/>
                  </a:moveTo>
                  <a:cubicBezTo>
                    <a:pt x="16033" y="4356"/>
                    <a:pt x="16489" y="4657"/>
                    <a:pt x="16593" y="5077"/>
                  </a:cubicBezTo>
                  <a:lnTo>
                    <a:pt x="19346" y="17178"/>
                  </a:lnTo>
                  <a:cubicBezTo>
                    <a:pt x="19465" y="17672"/>
                    <a:pt x="19061" y="18130"/>
                    <a:pt x="18469" y="18207"/>
                  </a:cubicBezTo>
                  <a:lnTo>
                    <a:pt x="5983" y="20036"/>
                  </a:lnTo>
                  <a:cubicBezTo>
                    <a:pt x="5921" y="20044"/>
                    <a:pt x="5862" y="20048"/>
                    <a:pt x="5802" y="20048"/>
                  </a:cubicBezTo>
                  <a:cubicBezTo>
                    <a:pt x="5277" y="20048"/>
                    <a:pt x="4807" y="19758"/>
                    <a:pt x="4701" y="19331"/>
                  </a:cubicBezTo>
                  <a:lnTo>
                    <a:pt x="1948" y="7212"/>
                  </a:lnTo>
                  <a:cubicBezTo>
                    <a:pt x="1853" y="6735"/>
                    <a:pt x="2257" y="6279"/>
                    <a:pt x="2849" y="6202"/>
                  </a:cubicBezTo>
                  <a:lnTo>
                    <a:pt x="4323" y="5992"/>
                  </a:lnTo>
                  <a:cubicBezTo>
                    <a:pt x="4406" y="6312"/>
                    <a:pt x="4767" y="6557"/>
                    <a:pt x="5178" y="6557"/>
                  </a:cubicBezTo>
                  <a:cubicBezTo>
                    <a:pt x="5232" y="6557"/>
                    <a:pt x="5287" y="6554"/>
                    <a:pt x="5343" y="6544"/>
                  </a:cubicBezTo>
                  <a:lnTo>
                    <a:pt x="13128" y="5402"/>
                  </a:lnTo>
                  <a:cubicBezTo>
                    <a:pt x="13602" y="5325"/>
                    <a:pt x="13911" y="4963"/>
                    <a:pt x="13840" y="4582"/>
                  </a:cubicBezTo>
                  <a:lnTo>
                    <a:pt x="15311" y="4372"/>
                  </a:lnTo>
                  <a:cubicBezTo>
                    <a:pt x="15381" y="4361"/>
                    <a:pt x="15450" y="4356"/>
                    <a:pt x="15520" y="4356"/>
                  </a:cubicBezTo>
                  <a:close/>
                  <a:moveTo>
                    <a:pt x="8106" y="0"/>
                  </a:moveTo>
                  <a:cubicBezTo>
                    <a:pt x="7979" y="0"/>
                    <a:pt x="7847" y="8"/>
                    <a:pt x="7716" y="27"/>
                  </a:cubicBezTo>
                  <a:cubicBezTo>
                    <a:pt x="6553" y="198"/>
                    <a:pt x="5770" y="1114"/>
                    <a:pt x="5983" y="2047"/>
                  </a:cubicBezTo>
                  <a:cubicBezTo>
                    <a:pt x="6031" y="2333"/>
                    <a:pt x="6196" y="2582"/>
                    <a:pt x="6410" y="2810"/>
                  </a:cubicBezTo>
                  <a:lnTo>
                    <a:pt x="4867" y="3039"/>
                  </a:lnTo>
                  <a:cubicBezTo>
                    <a:pt x="4227" y="3134"/>
                    <a:pt x="3800" y="3630"/>
                    <a:pt x="3918" y="4124"/>
                  </a:cubicBezTo>
                  <a:lnTo>
                    <a:pt x="4014" y="4582"/>
                  </a:lnTo>
                  <a:lnTo>
                    <a:pt x="1450" y="4963"/>
                  </a:lnTo>
                  <a:cubicBezTo>
                    <a:pt x="501" y="5096"/>
                    <a:pt x="-141" y="5840"/>
                    <a:pt x="26" y="6621"/>
                  </a:cubicBezTo>
                  <a:lnTo>
                    <a:pt x="3158" y="20436"/>
                  </a:lnTo>
                  <a:cubicBezTo>
                    <a:pt x="3328" y="21117"/>
                    <a:pt x="4085" y="21600"/>
                    <a:pt x="4923" y="21600"/>
                  </a:cubicBezTo>
                  <a:cubicBezTo>
                    <a:pt x="5022" y="21600"/>
                    <a:pt x="5122" y="21594"/>
                    <a:pt x="5224" y="21579"/>
                  </a:cubicBezTo>
                  <a:lnTo>
                    <a:pt x="19868" y="19427"/>
                  </a:lnTo>
                  <a:cubicBezTo>
                    <a:pt x="20817" y="19294"/>
                    <a:pt x="21459" y="18530"/>
                    <a:pt x="21294" y="17768"/>
                  </a:cubicBezTo>
                  <a:lnTo>
                    <a:pt x="18160" y="3953"/>
                  </a:lnTo>
                  <a:cubicBezTo>
                    <a:pt x="17992" y="3265"/>
                    <a:pt x="17253" y="2783"/>
                    <a:pt x="16413" y="2783"/>
                  </a:cubicBezTo>
                  <a:cubicBezTo>
                    <a:pt x="16300" y="2783"/>
                    <a:pt x="16186" y="2791"/>
                    <a:pt x="16070" y="2810"/>
                  </a:cubicBezTo>
                  <a:lnTo>
                    <a:pt x="13531" y="3191"/>
                  </a:lnTo>
                  <a:lnTo>
                    <a:pt x="13437" y="2734"/>
                  </a:lnTo>
                  <a:cubicBezTo>
                    <a:pt x="13307" y="2284"/>
                    <a:pt x="12807" y="1961"/>
                    <a:pt x="12239" y="1961"/>
                  </a:cubicBezTo>
                  <a:cubicBezTo>
                    <a:pt x="12179" y="1961"/>
                    <a:pt x="12119" y="1964"/>
                    <a:pt x="12059" y="1972"/>
                  </a:cubicBezTo>
                  <a:lnTo>
                    <a:pt x="10184" y="2257"/>
                  </a:lnTo>
                  <a:cubicBezTo>
                    <a:pt x="10279" y="1991"/>
                    <a:pt x="10303" y="1705"/>
                    <a:pt x="10231" y="1418"/>
                  </a:cubicBezTo>
                  <a:cubicBezTo>
                    <a:pt x="10042" y="589"/>
                    <a:pt x="9139" y="0"/>
                    <a:pt x="810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42" name="Google Shape;275;p2"/>
            <p:cNvSpPr/>
            <p:nvPr/>
          </p:nvSpPr>
          <p:spPr>
            <a:xfrm>
              <a:off x="11268763" y="11512252"/>
              <a:ext cx="135106" cy="1347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5" h="21600" extrusionOk="0">
                  <a:moveTo>
                    <a:pt x="8980" y="0"/>
                  </a:moveTo>
                  <a:cubicBezTo>
                    <a:pt x="8481" y="0"/>
                    <a:pt x="7971" y="56"/>
                    <a:pt x="7450" y="154"/>
                  </a:cubicBezTo>
                  <a:cubicBezTo>
                    <a:pt x="-418" y="1819"/>
                    <a:pt x="-2759" y="14144"/>
                    <a:pt x="3869" y="19641"/>
                  </a:cubicBezTo>
                  <a:cubicBezTo>
                    <a:pt x="5503" y="20998"/>
                    <a:pt x="7265" y="21600"/>
                    <a:pt x="8968" y="21600"/>
                  </a:cubicBezTo>
                  <a:cubicBezTo>
                    <a:pt x="14159" y="21600"/>
                    <a:pt x="18841" y="15962"/>
                    <a:pt x="17798" y="8813"/>
                  </a:cubicBezTo>
                  <a:cubicBezTo>
                    <a:pt x="16941" y="3609"/>
                    <a:pt x="13209" y="0"/>
                    <a:pt x="898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43" name="Google Shape;276;p2"/>
            <p:cNvSpPr/>
            <p:nvPr/>
          </p:nvSpPr>
          <p:spPr>
            <a:xfrm>
              <a:off x="11449368" y="11472905"/>
              <a:ext cx="303201" cy="1169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8" h="21600" extrusionOk="0">
                  <a:moveTo>
                    <a:pt x="17170" y="0"/>
                  </a:moveTo>
                  <a:cubicBezTo>
                    <a:pt x="16996" y="0"/>
                    <a:pt x="16816" y="48"/>
                    <a:pt x="16630" y="161"/>
                  </a:cubicBezTo>
                  <a:lnTo>
                    <a:pt x="2020" y="7635"/>
                  </a:lnTo>
                  <a:cubicBezTo>
                    <a:pt x="-1008" y="9262"/>
                    <a:pt x="-411" y="21600"/>
                    <a:pt x="2352" y="21600"/>
                  </a:cubicBezTo>
                  <a:cubicBezTo>
                    <a:pt x="2521" y="21600"/>
                    <a:pt x="2701" y="21552"/>
                    <a:pt x="2892" y="21439"/>
                  </a:cubicBezTo>
                  <a:lnTo>
                    <a:pt x="17564" y="13965"/>
                  </a:lnTo>
                  <a:cubicBezTo>
                    <a:pt x="20592" y="12338"/>
                    <a:pt x="19939" y="0"/>
                    <a:pt x="1717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44" name="Google Shape;277;p2"/>
            <p:cNvSpPr/>
            <p:nvPr/>
          </p:nvSpPr>
          <p:spPr>
            <a:xfrm>
              <a:off x="11303033" y="11700268"/>
              <a:ext cx="135112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5" h="21600" extrusionOk="0">
                  <a:moveTo>
                    <a:pt x="8982" y="0"/>
                  </a:moveTo>
                  <a:cubicBezTo>
                    <a:pt x="8483" y="0"/>
                    <a:pt x="7973" y="56"/>
                    <a:pt x="7452" y="154"/>
                  </a:cubicBezTo>
                  <a:cubicBezTo>
                    <a:pt x="-416" y="1817"/>
                    <a:pt x="-2757" y="14134"/>
                    <a:pt x="3860" y="19629"/>
                  </a:cubicBezTo>
                  <a:cubicBezTo>
                    <a:pt x="5470" y="20985"/>
                    <a:pt x="7209" y="21600"/>
                    <a:pt x="8912" y="21600"/>
                  </a:cubicBezTo>
                  <a:cubicBezTo>
                    <a:pt x="14092" y="21600"/>
                    <a:pt x="18843" y="15952"/>
                    <a:pt x="17800" y="8808"/>
                  </a:cubicBezTo>
                  <a:cubicBezTo>
                    <a:pt x="16943" y="3607"/>
                    <a:pt x="13211" y="0"/>
                    <a:pt x="898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45" name="Google Shape;278;p2"/>
            <p:cNvSpPr/>
            <p:nvPr/>
          </p:nvSpPr>
          <p:spPr>
            <a:xfrm>
              <a:off x="11486806" y="11660571"/>
              <a:ext cx="295931" cy="117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3" h="21600" extrusionOk="0">
                  <a:moveTo>
                    <a:pt x="17090" y="0"/>
                  </a:moveTo>
                  <a:cubicBezTo>
                    <a:pt x="17004" y="0"/>
                    <a:pt x="16912" y="0"/>
                    <a:pt x="16825" y="32"/>
                  </a:cubicBezTo>
                  <a:lnTo>
                    <a:pt x="1860" y="7467"/>
                  </a:lnTo>
                  <a:cubicBezTo>
                    <a:pt x="-1022" y="9887"/>
                    <a:pt x="-371" y="21600"/>
                    <a:pt x="2546" y="21600"/>
                  </a:cubicBezTo>
                  <a:cubicBezTo>
                    <a:pt x="2610" y="21600"/>
                    <a:pt x="2685" y="21600"/>
                    <a:pt x="2754" y="21584"/>
                  </a:cubicBezTo>
                  <a:lnTo>
                    <a:pt x="17713" y="13957"/>
                  </a:lnTo>
                  <a:cubicBezTo>
                    <a:pt x="20578" y="11553"/>
                    <a:pt x="19886" y="0"/>
                    <a:pt x="1709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46" name="Google Shape;279;p2"/>
            <p:cNvSpPr/>
            <p:nvPr/>
          </p:nvSpPr>
          <p:spPr>
            <a:xfrm>
              <a:off x="11339866" y="11900761"/>
              <a:ext cx="134850" cy="1357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9" h="21600" extrusionOk="0">
                  <a:moveTo>
                    <a:pt x="8895" y="0"/>
                  </a:moveTo>
                  <a:cubicBezTo>
                    <a:pt x="8407" y="0"/>
                    <a:pt x="7908" y="56"/>
                    <a:pt x="7409" y="153"/>
                  </a:cubicBezTo>
                  <a:cubicBezTo>
                    <a:pt x="-477" y="1805"/>
                    <a:pt x="-2683" y="14034"/>
                    <a:pt x="3809" y="19657"/>
                  </a:cubicBezTo>
                  <a:cubicBezTo>
                    <a:pt x="5446" y="21003"/>
                    <a:pt x="7223" y="21600"/>
                    <a:pt x="8942" y="21600"/>
                  </a:cubicBezTo>
                  <a:cubicBezTo>
                    <a:pt x="14179" y="21600"/>
                    <a:pt x="18917" y="16006"/>
                    <a:pt x="17779" y="8912"/>
                  </a:cubicBezTo>
                  <a:cubicBezTo>
                    <a:pt x="17036" y="3720"/>
                    <a:pt x="13180" y="0"/>
                    <a:pt x="8895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47" name="Google Shape;280;p2"/>
            <p:cNvSpPr/>
            <p:nvPr/>
          </p:nvSpPr>
          <p:spPr>
            <a:xfrm>
              <a:off x="11522034" y="11860802"/>
              <a:ext cx="299390" cy="1182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62" h="21600" extrusionOk="0">
                  <a:moveTo>
                    <a:pt x="17102" y="0"/>
                  </a:moveTo>
                  <a:cubicBezTo>
                    <a:pt x="16976" y="0"/>
                    <a:pt x="16845" y="32"/>
                    <a:pt x="16709" y="80"/>
                  </a:cubicBezTo>
                  <a:lnTo>
                    <a:pt x="1915" y="7668"/>
                  </a:lnTo>
                  <a:cubicBezTo>
                    <a:pt x="-1015" y="9660"/>
                    <a:pt x="-388" y="21600"/>
                    <a:pt x="2474" y="21600"/>
                  </a:cubicBezTo>
                  <a:cubicBezTo>
                    <a:pt x="2599" y="21600"/>
                    <a:pt x="2730" y="21568"/>
                    <a:pt x="2861" y="21520"/>
                  </a:cubicBezTo>
                  <a:lnTo>
                    <a:pt x="17592" y="14124"/>
                  </a:lnTo>
                  <a:cubicBezTo>
                    <a:pt x="20585" y="11940"/>
                    <a:pt x="19964" y="0"/>
                    <a:pt x="1710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48" name="Google Shape;281;p2"/>
            <p:cNvSpPr/>
            <p:nvPr/>
          </p:nvSpPr>
          <p:spPr>
            <a:xfrm>
              <a:off x="11201376" y="12736145"/>
              <a:ext cx="602278" cy="6074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08" h="21600" extrusionOk="0">
                  <a:moveTo>
                    <a:pt x="9739" y="0"/>
                  </a:moveTo>
                  <a:cubicBezTo>
                    <a:pt x="6870" y="0"/>
                    <a:pt x="4049" y="1452"/>
                    <a:pt x="2215" y="4164"/>
                  </a:cubicBezTo>
                  <a:lnTo>
                    <a:pt x="18150" y="15432"/>
                  </a:lnTo>
                  <a:cubicBezTo>
                    <a:pt x="20404" y="10555"/>
                    <a:pt x="18946" y="4570"/>
                    <a:pt x="14803" y="1654"/>
                  </a:cubicBezTo>
                  <a:cubicBezTo>
                    <a:pt x="13239" y="537"/>
                    <a:pt x="11481" y="0"/>
                    <a:pt x="9739" y="0"/>
                  </a:cubicBezTo>
                  <a:close/>
                  <a:moveTo>
                    <a:pt x="1055" y="6159"/>
                  </a:moveTo>
                  <a:cubicBezTo>
                    <a:pt x="-1196" y="11036"/>
                    <a:pt x="262" y="17055"/>
                    <a:pt x="4402" y="19974"/>
                  </a:cubicBezTo>
                  <a:cubicBezTo>
                    <a:pt x="5972" y="21073"/>
                    <a:pt x="7724" y="21600"/>
                    <a:pt x="9458" y="21600"/>
                  </a:cubicBezTo>
                  <a:cubicBezTo>
                    <a:pt x="12335" y="21600"/>
                    <a:pt x="15162" y="20145"/>
                    <a:pt x="17023" y="17427"/>
                  </a:cubicBezTo>
                  <a:lnTo>
                    <a:pt x="1055" y="6159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49" name="Google Shape;282;p2"/>
            <p:cNvSpPr/>
            <p:nvPr/>
          </p:nvSpPr>
          <p:spPr>
            <a:xfrm>
              <a:off x="12458524" y="11433207"/>
              <a:ext cx="505515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38" y="0"/>
                  </a:moveTo>
                  <a:lnTo>
                    <a:pt x="3285" y="6250"/>
                  </a:lnTo>
                  <a:cubicBezTo>
                    <a:pt x="-141" y="8755"/>
                    <a:pt x="-1029" y="13772"/>
                    <a:pt x="1296" y="17422"/>
                  </a:cubicBezTo>
                  <a:lnTo>
                    <a:pt x="1719" y="18057"/>
                  </a:lnTo>
                  <a:cubicBezTo>
                    <a:pt x="3143" y="20359"/>
                    <a:pt x="5482" y="21600"/>
                    <a:pt x="7875" y="21600"/>
                  </a:cubicBezTo>
                  <a:cubicBezTo>
                    <a:pt x="9320" y="21600"/>
                    <a:pt x="10786" y="21148"/>
                    <a:pt x="12075" y="20202"/>
                  </a:cubicBezTo>
                  <a:lnTo>
                    <a:pt x="20571" y="13956"/>
                  </a:lnTo>
                  <a:lnTo>
                    <a:pt x="11738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50" name="Google Shape;283;p2"/>
            <p:cNvSpPr/>
            <p:nvPr/>
          </p:nvSpPr>
          <p:spPr>
            <a:xfrm>
              <a:off x="12791640" y="11228963"/>
              <a:ext cx="505516" cy="4919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2699" y="0"/>
                  </a:moveTo>
                  <a:cubicBezTo>
                    <a:pt x="11251" y="0"/>
                    <a:pt x="9785" y="452"/>
                    <a:pt x="8496" y="1398"/>
                  </a:cubicBezTo>
                  <a:lnTo>
                    <a:pt x="0" y="7646"/>
                  </a:lnTo>
                  <a:lnTo>
                    <a:pt x="8791" y="21600"/>
                  </a:lnTo>
                  <a:lnTo>
                    <a:pt x="17286" y="15353"/>
                  </a:lnTo>
                  <a:cubicBezTo>
                    <a:pt x="20712" y="12844"/>
                    <a:pt x="21600" y="7829"/>
                    <a:pt x="19275" y="4179"/>
                  </a:cubicBezTo>
                  <a:lnTo>
                    <a:pt x="18895" y="3543"/>
                  </a:lnTo>
                  <a:cubicBezTo>
                    <a:pt x="17446" y="1241"/>
                    <a:pt x="15092" y="0"/>
                    <a:pt x="1269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51" name="Google Shape;284;p2"/>
            <p:cNvSpPr/>
            <p:nvPr/>
          </p:nvSpPr>
          <p:spPr>
            <a:xfrm>
              <a:off x="12279274" y="12448668"/>
              <a:ext cx="932251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14" h="21600" extrusionOk="0">
                  <a:moveTo>
                    <a:pt x="10038" y="0"/>
                  </a:moveTo>
                  <a:cubicBezTo>
                    <a:pt x="9668" y="0"/>
                    <a:pt x="9372" y="273"/>
                    <a:pt x="9307" y="662"/>
                  </a:cubicBezTo>
                  <a:lnTo>
                    <a:pt x="8395" y="7696"/>
                  </a:lnTo>
                  <a:lnTo>
                    <a:pt x="1397" y="6756"/>
                  </a:lnTo>
                  <a:cubicBezTo>
                    <a:pt x="1366" y="6754"/>
                    <a:pt x="1336" y="6752"/>
                    <a:pt x="1306" y="6752"/>
                  </a:cubicBezTo>
                  <a:cubicBezTo>
                    <a:pt x="934" y="6752"/>
                    <a:pt x="601" y="7027"/>
                    <a:pt x="557" y="7407"/>
                  </a:cubicBezTo>
                  <a:lnTo>
                    <a:pt x="5" y="11405"/>
                  </a:lnTo>
                  <a:cubicBezTo>
                    <a:pt x="-43" y="11816"/>
                    <a:pt x="245" y="12200"/>
                    <a:pt x="652" y="12249"/>
                  </a:cubicBezTo>
                  <a:lnTo>
                    <a:pt x="7676" y="13187"/>
                  </a:lnTo>
                  <a:lnTo>
                    <a:pt x="6742" y="20222"/>
                  </a:lnTo>
                  <a:cubicBezTo>
                    <a:pt x="6694" y="20631"/>
                    <a:pt x="6982" y="21017"/>
                    <a:pt x="7389" y="21066"/>
                  </a:cubicBezTo>
                  <a:lnTo>
                    <a:pt x="11369" y="21596"/>
                  </a:lnTo>
                  <a:cubicBezTo>
                    <a:pt x="11397" y="21598"/>
                    <a:pt x="11427" y="21600"/>
                    <a:pt x="11458" y="21600"/>
                  </a:cubicBezTo>
                  <a:cubicBezTo>
                    <a:pt x="11830" y="21600"/>
                    <a:pt x="12162" y="21325"/>
                    <a:pt x="12207" y="20944"/>
                  </a:cubicBezTo>
                  <a:lnTo>
                    <a:pt x="13119" y="13912"/>
                  </a:lnTo>
                  <a:lnTo>
                    <a:pt x="20142" y="14826"/>
                  </a:lnTo>
                  <a:cubicBezTo>
                    <a:pt x="20182" y="14832"/>
                    <a:pt x="20222" y="14836"/>
                    <a:pt x="20260" y="14836"/>
                  </a:cubicBezTo>
                  <a:cubicBezTo>
                    <a:pt x="20621" y="14836"/>
                    <a:pt x="20937" y="14545"/>
                    <a:pt x="20981" y="14177"/>
                  </a:cubicBezTo>
                  <a:lnTo>
                    <a:pt x="21509" y="10201"/>
                  </a:lnTo>
                  <a:cubicBezTo>
                    <a:pt x="21557" y="9768"/>
                    <a:pt x="21269" y="9406"/>
                    <a:pt x="20860" y="9333"/>
                  </a:cubicBezTo>
                  <a:lnTo>
                    <a:pt x="13862" y="8419"/>
                  </a:lnTo>
                  <a:lnTo>
                    <a:pt x="14772" y="1384"/>
                  </a:lnTo>
                  <a:cubicBezTo>
                    <a:pt x="14820" y="975"/>
                    <a:pt x="14532" y="589"/>
                    <a:pt x="14125" y="518"/>
                  </a:cubicBezTo>
                  <a:lnTo>
                    <a:pt x="10169" y="12"/>
                  </a:lnTo>
                  <a:cubicBezTo>
                    <a:pt x="10125" y="4"/>
                    <a:pt x="10080" y="0"/>
                    <a:pt x="1003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52" name="Google Shape;285;p2"/>
            <p:cNvSpPr/>
            <p:nvPr/>
          </p:nvSpPr>
          <p:spPr>
            <a:xfrm>
              <a:off x="8315119" y="0"/>
              <a:ext cx="933674" cy="11799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87" h="21600" extrusionOk="0">
                  <a:moveTo>
                    <a:pt x="8126" y="695"/>
                  </a:moveTo>
                  <a:cubicBezTo>
                    <a:pt x="8699" y="695"/>
                    <a:pt x="9262" y="969"/>
                    <a:pt x="9365" y="1588"/>
                  </a:cubicBezTo>
                  <a:cubicBezTo>
                    <a:pt x="9435" y="1910"/>
                    <a:pt x="9317" y="2215"/>
                    <a:pt x="9057" y="2461"/>
                  </a:cubicBezTo>
                  <a:lnTo>
                    <a:pt x="7493" y="2690"/>
                  </a:lnTo>
                  <a:cubicBezTo>
                    <a:pt x="7139" y="2538"/>
                    <a:pt x="6900" y="2271"/>
                    <a:pt x="6831" y="1968"/>
                  </a:cubicBezTo>
                  <a:cubicBezTo>
                    <a:pt x="6602" y="1169"/>
                    <a:pt x="7372" y="695"/>
                    <a:pt x="8126" y="695"/>
                  </a:cubicBezTo>
                  <a:close/>
                  <a:moveTo>
                    <a:pt x="15472" y="4391"/>
                  </a:moveTo>
                  <a:cubicBezTo>
                    <a:pt x="16009" y="4391"/>
                    <a:pt x="16458" y="4680"/>
                    <a:pt x="16564" y="5124"/>
                  </a:cubicBezTo>
                  <a:lnTo>
                    <a:pt x="19311" y="17200"/>
                  </a:lnTo>
                  <a:cubicBezTo>
                    <a:pt x="19430" y="17655"/>
                    <a:pt x="19026" y="18112"/>
                    <a:pt x="18459" y="18208"/>
                  </a:cubicBezTo>
                  <a:lnTo>
                    <a:pt x="5977" y="20033"/>
                  </a:lnTo>
                  <a:cubicBezTo>
                    <a:pt x="5908" y="20044"/>
                    <a:pt x="5838" y="20049"/>
                    <a:pt x="5771" y="20049"/>
                  </a:cubicBezTo>
                  <a:cubicBezTo>
                    <a:pt x="5257" y="20049"/>
                    <a:pt x="4806" y="19749"/>
                    <a:pt x="4722" y="19329"/>
                  </a:cubicBezTo>
                  <a:lnTo>
                    <a:pt x="1975" y="7235"/>
                  </a:lnTo>
                  <a:cubicBezTo>
                    <a:pt x="1856" y="6759"/>
                    <a:pt x="2260" y="6322"/>
                    <a:pt x="2851" y="6227"/>
                  </a:cubicBezTo>
                  <a:lnTo>
                    <a:pt x="4344" y="6018"/>
                  </a:lnTo>
                  <a:cubicBezTo>
                    <a:pt x="4406" y="6352"/>
                    <a:pt x="4778" y="6583"/>
                    <a:pt x="5190" y="6583"/>
                  </a:cubicBezTo>
                  <a:cubicBezTo>
                    <a:pt x="5245" y="6583"/>
                    <a:pt x="5303" y="6579"/>
                    <a:pt x="5363" y="6569"/>
                  </a:cubicBezTo>
                  <a:lnTo>
                    <a:pt x="13130" y="5429"/>
                  </a:lnTo>
                  <a:cubicBezTo>
                    <a:pt x="13580" y="5371"/>
                    <a:pt x="13912" y="4991"/>
                    <a:pt x="13817" y="4630"/>
                  </a:cubicBezTo>
                  <a:lnTo>
                    <a:pt x="15285" y="4402"/>
                  </a:lnTo>
                  <a:cubicBezTo>
                    <a:pt x="15348" y="4394"/>
                    <a:pt x="15410" y="4391"/>
                    <a:pt x="15472" y="4391"/>
                  </a:cubicBezTo>
                  <a:close/>
                  <a:moveTo>
                    <a:pt x="8088" y="0"/>
                  </a:moveTo>
                  <a:cubicBezTo>
                    <a:pt x="7963" y="0"/>
                    <a:pt x="7835" y="10"/>
                    <a:pt x="7706" y="27"/>
                  </a:cubicBezTo>
                  <a:cubicBezTo>
                    <a:pt x="6523" y="217"/>
                    <a:pt x="5741" y="1131"/>
                    <a:pt x="5977" y="2081"/>
                  </a:cubicBezTo>
                  <a:cubicBezTo>
                    <a:pt x="6025" y="2367"/>
                    <a:pt x="6166" y="2615"/>
                    <a:pt x="6403" y="2841"/>
                  </a:cubicBezTo>
                  <a:lnTo>
                    <a:pt x="4866" y="3070"/>
                  </a:lnTo>
                  <a:cubicBezTo>
                    <a:pt x="4225" y="3166"/>
                    <a:pt x="3799" y="3659"/>
                    <a:pt x="3917" y="4154"/>
                  </a:cubicBezTo>
                  <a:lnTo>
                    <a:pt x="4012" y="4611"/>
                  </a:lnTo>
                  <a:lnTo>
                    <a:pt x="1454" y="4991"/>
                  </a:lnTo>
                  <a:cubicBezTo>
                    <a:pt x="484" y="5124"/>
                    <a:pt x="-157" y="5866"/>
                    <a:pt x="34" y="6646"/>
                  </a:cubicBezTo>
                  <a:lnTo>
                    <a:pt x="3159" y="20432"/>
                  </a:lnTo>
                  <a:cubicBezTo>
                    <a:pt x="3326" y="21119"/>
                    <a:pt x="4064" y="21600"/>
                    <a:pt x="4901" y="21600"/>
                  </a:cubicBezTo>
                  <a:cubicBezTo>
                    <a:pt x="5015" y="21600"/>
                    <a:pt x="5128" y="21590"/>
                    <a:pt x="5243" y="21573"/>
                  </a:cubicBezTo>
                  <a:lnTo>
                    <a:pt x="19832" y="19444"/>
                  </a:lnTo>
                  <a:cubicBezTo>
                    <a:pt x="20802" y="19291"/>
                    <a:pt x="21443" y="18549"/>
                    <a:pt x="21254" y="17770"/>
                  </a:cubicBezTo>
                  <a:lnTo>
                    <a:pt x="18127" y="4002"/>
                  </a:lnTo>
                  <a:cubicBezTo>
                    <a:pt x="17958" y="3305"/>
                    <a:pt x="17202" y="2821"/>
                    <a:pt x="16351" y="2821"/>
                  </a:cubicBezTo>
                  <a:cubicBezTo>
                    <a:pt x="16249" y="2821"/>
                    <a:pt x="16146" y="2829"/>
                    <a:pt x="16043" y="2841"/>
                  </a:cubicBezTo>
                  <a:lnTo>
                    <a:pt x="13508" y="3223"/>
                  </a:lnTo>
                  <a:lnTo>
                    <a:pt x="13415" y="2785"/>
                  </a:lnTo>
                  <a:cubicBezTo>
                    <a:pt x="13309" y="2329"/>
                    <a:pt x="12812" y="2009"/>
                    <a:pt x="12271" y="2009"/>
                  </a:cubicBezTo>
                  <a:cubicBezTo>
                    <a:pt x="12203" y="2009"/>
                    <a:pt x="12134" y="2014"/>
                    <a:pt x="12064" y="2025"/>
                  </a:cubicBezTo>
                  <a:lnTo>
                    <a:pt x="10171" y="2290"/>
                  </a:lnTo>
                  <a:cubicBezTo>
                    <a:pt x="10264" y="2025"/>
                    <a:pt x="10288" y="1739"/>
                    <a:pt x="10216" y="1473"/>
                  </a:cubicBezTo>
                  <a:cubicBezTo>
                    <a:pt x="10047" y="609"/>
                    <a:pt x="9126" y="0"/>
                    <a:pt x="808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53" name="Google Shape;286;p2"/>
            <p:cNvSpPr/>
            <p:nvPr/>
          </p:nvSpPr>
          <p:spPr>
            <a:xfrm>
              <a:off x="8497016" y="425151"/>
              <a:ext cx="135364" cy="1348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79" h="21600" extrusionOk="0">
                  <a:moveTo>
                    <a:pt x="9133" y="0"/>
                  </a:moveTo>
                  <a:cubicBezTo>
                    <a:pt x="8588" y="0"/>
                    <a:pt x="8043" y="56"/>
                    <a:pt x="7487" y="196"/>
                  </a:cubicBezTo>
                  <a:cubicBezTo>
                    <a:pt x="-509" y="1858"/>
                    <a:pt x="-2722" y="14167"/>
                    <a:pt x="3906" y="19658"/>
                  </a:cubicBezTo>
                  <a:cubicBezTo>
                    <a:pt x="5482" y="20999"/>
                    <a:pt x="7209" y="21600"/>
                    <a:pt x="8889" y="21600"/>
                  </a:cubicBezTo>
                  <a:cubicBezTo>
                    <a:pt x="14092" y="21600"/>
                    <a:pt x="18878" y="15886"/>
                    <a:pt x="17835" y="8844"/>
                  </a:cubicBezTo>
                  <a:cubicBezTo>
                    <a:pt x="16989" y="3702"/>
                    <a:pt x="13235" y="0"/>
                    <a:pt x="913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54" name="Google Shape;287;p2"/>
            <p:cNvSpPr/>
            <p:nvPr/>
          </p:nvSpPr>
          <p:spPr>
            <a:xfrm>
              <a:off x="8677445" y="385803"/>
              <a:ext cx="304397" cy="1180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34" h="21600" extrusionOk="0">
                  <a:moveTo>
                    <a:pt x="17211" y="0"/>
                  </a:moveTo>
                  <a:cubicBezTo>
                    <a:pt x="17009" y="0"/>
                    <a:pt x="16796" y="64"/>
                    <a:pt x="16572" y="208"/>
                  </a:cubicBezTo>
                  <a:lnTo>
                    <a:pt x="2038" y="7807"/>
                  </a:lnTo>
                  <a:cubicBezTo>
                    <a:pt x="-1058" y="9243"/>
                    <a:pt x="-381" y="21600"/>
                    <a:pt x="2419" y="21600"/>
                  </a:cubicBezTo>
                  <a:cubicBezTo>
                    <a:pt x="2576" y="21600"/>
                    <a:pt x="2738" y="21568"/>
                    <a:pt x="2906" y="21488"/>
                  </a:cubicBezTo>
                  <a:lnTo>
                    <a:pt x="17373" y="13889"/>
                  </a:lnTo>
                  <a:cubicBezTo>
                    <a:pt x="20542" y="12644"/>
                    <a:pt x="19999" y="0"/>
                    <a:pt x="1721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55" name="Google Shape;288;p2"/>
            <p:cNvSpPr/>
            <p:nvPr/>
          </p:nvSpPr>
          <p:spPr>
            <a:xfrm>
              <a:off x="8531607" y="613429"/>
              <a:ext cx="135068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39" h="21600" extrusionOk="0">
                  <a:moveTo>
                    <a:pt x="8987" y="0"/>
                  </a:moveTo>
                  <a:cubicBezTo>
                    <a:pt x="8477" y="0"/>
                    <a:pt x="7967" y="42"/>
                    <a:pt x="7446" y="154"/>
                  </a:cubicBezTo>
                  <a:cubicBezTo>
                    <a:pt x="-411" y="1819"/>
                    <a:pt x="-2763" y="14144"/>
                    <a:pt x="3865" y="19641"/>
                  </a:cubicBezTo>
                  <a:cubicBezTo>
                    <a:pt x="5464" y="20998"/>
                    <a:pt x="7203" y="21600"/>
                    <a:pt x="8906" y="21600"/>
                  </a:cubicBezTo>
                  <a:cubicBezTo>
                    <a:pt x="14086" y="21600"/>
                    <a:pt x="18837" y="15962"/>
                    <a:pt x="17794" y="8813"/>
                  </a:cubicBezTo>
                  <a:cubicBezTo>
                    <a:pt x="16937" y="3609"/>
                    <a:pt x="13205" y="0"/>
                    <a:pt x="898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56" name="Google Shape;289;p2"/>
            <p:cNvSpPr/>
            <p:nvPr/>
          </p:nvSpPr>
          <p:spPr>
            <a:xfrm>
              <a:off x="8714904" y="573732"/>
              <a:ext cx="296397" cy="117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00" h="21600" extrusionOk="0">
                  <a:moveTo>
                    <a:pt x="16983" y="0"/>
                  </a:moveTo>
                  <a:cubicBezTo>
                    <a:pt x="16914" y="0"/>
                    <a:pt x="16851" y="16"/>
                    <a:pt x="16782" y="32"/>
                  </a:cubicBezTo>
                  <a:lnTo>
                    <a:pt x="1881" y="7659"/>
                  </a:lnTo>
                  <a:cubicBezTo>
                    <a:pt x="-1058" y="9903"/>
                    <a:pt x="-340" y="21600"/>
                    <a:pt x="2564" y="21600"/>
                  </a:cubicBezTo>
                  <a:cubicBezTo>
                    <a:pt x="2633" y="21600"/>
                    <a:pt x="2702" y="21600"/>
                    <a:pt x="2771" y="21584"/>
                  </a:cubicBezTo>
                  <a:lnTo>
                    <a:pt x="17666" y="13957"/>
                  </a:lnTo>
                  <a:cubicBezTo>
                    <a:pt x="20542" y="11713"/>
                    <a:pt x="19824" y="0"/>
                    <a:pt x="1698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57" name="Google Shape;290;p2"/>
            <p:cNvSpPr/>
            <p:nvPr/>
          </p:nvSpPr>
          <p:spPr>
            <a:xfrm>
              <a:off x="8568397" y="813921"/>
              <a:ext cx="134866" cy="1356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2" h="21600" extrusionOk="0">
                  <a:moveTo>
                    <a:pt x="8936" y="0"/>
                  </a:moveTo>
                  <a:cubicBezTo>
                    <a:pt x="8437" y="0"/>
                    <a:pt x="7915" y="42"/>
                    <a:pt x="7404" y="153"/>
                  </a:cubicBezTo>
                  <a:cubicBezTo>
                    <a:pt x="-477" y="1806"/>
                    <a:pt x="-2682" y="14043"/>
                    <a:pt x="3806" y="19669"/>
                  </a:cubicBezTo>
                  <a:cubicBezTo>
                    <a:pt x="5431" y="21003"/>
                    <a:pt x="7184" y="21600"/>
                    <a:pt x="8878" y="21600"/>
                  </a:cubicBezTo>
                  <a:cubicBezTo>
                    <a:pt x="14148" y="21600"/>
                    <a:pt x="18918" y="15919"/>
                    <a:pt x="17769" y="8918"/>
                  </a:cubicBezTo>
                  <a:cubicBezTo>
                    <a:pt x="17026" y="3598"/>
                    <a:pt x="13196" y="0"/>
                    <a:pt x="893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58" name="Google Shape;291;p2"/>
            <p:cNvSpPr/>
            <p:nvPr/>
          </p:nvSpPr>
          <p:spPr>
            <a:xfrm>
              <a:off x="8750514" y="774050"/>
              <a:ext cx="299619" cy="1190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41" h="21600" extrusionOk="0">
                  <a:moveTo>
                    <a:pt x="17017" y="0"/>
                  </a:moveTo>
                  <a:cubicBezTo>
                    <a:pt x="16909" y="0"/>
                    <a:pt x="16795" y="16"/>
                    <a:pt x="16681" y="63"/>
                  </a:cubicBezTo>
                  <a:lnTo>
                    <a:pt x="1915" y="7601"/>
                  </a:lnTo>
                  <a:cubicBezTo>
                    <a:pt x="-1027" y="9596"/>
                    <a:pt x="-373" y="21600"/>
                    <a:pt x="2472" y="21600"/>
                  </a:cubicBezTo>
                  <a:cubicBezTo>
                    <a:pt x="2575" y="21600"/>
                    <a:pt x="2683" y="21584"/>
                    <a:pt x="2797" y="21552"/>
                  </a:cubicBezTo>
                  <a:lnTo>
                    <a:pt x="17631" y="14015"/>
                  </a:lnTo>
                  <a:cubicBezTo>
                    <a:pt x="20573" y="11829"/>
                    <a:pt x="19919" y="0"/>
                    <a:pt x="1701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59" name="Google Shape;292;p2"/>
            <p:cNvSpPr/>
            <p:nvPr/>
          </p:nvSpPr>
          <p:spPr>
            <a:xfrm>
              <a:off x="8429907" y="1649742"/>
              <a:ext cx="602280" cy="6069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08" h="21600" extrusionOk="0">
                  <a:moveTo>
                    <a:pt x="9717" y="0"/>
                  </a:moveTo>
                  <a:cubicBezTo>
                    <a:pt x="6851" y="0"/>
                    <a:pt x="4035" y="1441"/>
                    <a:pt x="2182" y="4151"/>
                  </a:cubicBezTo>
                  <a:lnTo>
                    <a:pt x="18150" y="15425"/>
                  </a:lnTo>
                  <a:cubicBezTo>
                    <a:pt x="20404" y="10547"/>
                    <a:pt x="18946" y="4558"/>
                    <a:pt x="14806" y="1636"/>
                  </a:cubicBezTo>
                  <a:cubicBezTo>
                    <a:pt x="13225" y="534"/>
                    <a:pt x="11461" y="0"/>
                    <a:pt x="9717" y="0"/>
                  </a:cubicBezTo>
                  <a:close/>
                  <a:moveTo>
                    <a:pt x="1055" y="6185"/>
                  </a:moveTo>
                  <a:cubicBezTo>
                    <a:pt x="-1196" y="11028"/>
                    <a:pt x="262" y="17014"/>
                    <a:pt x="4402" y="19973"/>
                  </a:cubicBezTo>
                  <a:cubicBezTo>
                    <a:pt x="5972" y="21072"/>
                    <a:pt x="7724" y="21600"/>
                    <a:pt x="9458" y="21600"/>
                  </a:cubicBezTo>
                  <a:cubicBezTo>
                    <a:pt x="12335" y="21600"/>
                    <a:pt x="15165" y="20144"/>
                    <a:pt x="17023" y="17421"/>
                  </a:cubicBezTo>
                  <a:lnTo>
                    <a:pt x="1055" y="6185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60" name="Google Shape;293;p2"/>
            <p:cNvSpPr/>
            <p:nvPr/>
          </p:nvSpPr>
          <p:spPr>
            <a:xfrm>
              <a:off x="9686997" y="346368"/>
              <a:ext cx="504526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63" y="0"/>
                  </a:moveTo>
                  <a:lnTo>
                    <a:pt x="3250" y="6246"/>
                  </a:lnTo>
                  <a:cubicBezTo>
                    <a:pt x="-140" y="8755"/>
                    <a:pt x="-1029" y="13772"/>
                    <a:pt x="1301" y="17464"/>
                  </a:cubicBezTo>
                  <a:lnTo>
                    <a:pt x="1682" y="18057"/>
                  </a:lnTo>
                  <a:cubicBezTo>
                    <a:pt x="3133" y="20359"/>
                    <a:pt x="5492" y="21600"/>
                    <a:pt x="7889" y="21600"/>
                  </a:cubicBezTo>
                  <a:cubicBezTo>
                    <a:pt x="9341" y="21600"/>
                    <a:pt x="10810" y="21144"/>
                    <a:pt x="12101" y="20202"/>
                  </a:cubicBezTo>
                  <a:lnTo>
                    <a:pt x="20571" y="13956"/>
                  </a:lnTo>
                  <a:lnTo>
                    <a:pt x="11763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61" name="Google Shape;294;p2"/>
            <p:cNvSpPr/>
            <p:nvPr/>
          </p:nvSpPr>
          <p:spPr>
            <a:xfrm>
              <a:off x="10020170" y="143171"/>
              <a:ext cx="505521" cy="4909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2699" y="0"/>
                  </a:moveTo>
                  <a:cubicBezTo>
                    <a:pt x="11251" y="0"/>
                    <a:pt x="9785" y="453"/>
                    <a:pt x="8496" y="1401"/>
                  </a:cubicBezTo>
                  <a:lnTo>
                    <a:pt x="0" y="7616"/>
                  </a:lnTo>
                  <a:lnTo>
                    <a:pt x="8791" y="21600"/>
                  </a:lnTo>
                  <a:lnTo>
                    <a:pt x="17290" y="15385"/>
                  </a:lnTo>
                  <a:cubicBezTo>
                    <a:pt x="20712" y="12871"/>
                    <a:pt x="21600" y="7842"/>
                    <a:pt x="19275" y="4142"/>
                  </a:cubicBezTo>
                  <a:lnTo>
                    <a:pt x="18895" y="3547"/>
                  </a:lnTo>
                  <a:cubicBezTo>
                    <a:pt x="17446" y="1240"/>
                    <a:pt x="15092" y="0"/>
                    <a:pt x="1269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62" name="Google Shape;295;p2"/>
            <p:cNvSpPr/>
            <p:nvPr/>
          </p:nvSpPr>
          <p:spPr>
            <a:xfrm>
              <a:off x="9507804" y="1362876"/>
              <a:ext cx="931204" cy="9303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14" h="21600" extrusionOk="0">
                  <a:moveTo>
                    <a:pt x="10031" y="0"/>
                  </a:moveTo>
                  <a:cubicBezTo>
                    <a:pt x="9673" y="0"/>
                    <a:pt x="9360" y="273"/>
                    <a:pt x="9318" y="662"/>
                  </a:cubicBezTo>
                  <a:lnTo>
                    <a:pt x="8405" y="7705"/>
                  </a:lnTo>
                  <a:lnTo>
                    <a:pt x="1374" y="6763"/>
                  </a:lnTo>
                  <a:cubicBezTo>
                    <a:pt x="1344" y="6759"/>
                    <a:pt x="1314" y="6759"/>
                    <a:pt x="1285" y="6759"/>
                  </a:cubicBezTo>
                  <a:cubicBezTo>
                    <a:pt x="910" y="6759"/>
                    <a:pt x="578" y="7035"/>
                    <a:pt x="533" y="7415"/>
                  </a:cubicBezTo>
                  <a:lnTo>
                    <a:pt x="5" y="11418"/>
                  </a:lnTo>
                  <a:cubicBezTo>
                    <a:pt x="-43" y="11827"/>
                    <a:pt x="245" y="12214"/>
                    <a:pt x="654" y="12262"/>
                  </a:cubicBezTo>
                  <a:lnTo>
                    <a:pt x="654" y="12238"/>
                  </a:lnTo>
                  <a:lnTo>
                    <a:pt x="7685" y="13178"/>
                  </a:lnTo>
                  <a:lnTo>
                    <a:pt x="6750" y="20221"/>
                  </a:lnTo>
                  <a:cubicBezTo>
                    <a:pt x="6677" y="20630"/>
                    <a:pt x="6966" y="21017"/>
                    <a:pt x="7397" y="21065"/>
                  </a:cubicBezTo>
                  <a:lnTo>
                    <a:pt x="11358" y="21596"/>
                  </a:lnTo>
                  <a:cubicBezTo>
                    <a:pt x="11388" y="21598"/>
                    <a:pt x="11416" y="21600"/>
                    <a:pt x="11446" y="21600"/>
                  </a:cubicBezTo>
                  <a:cubicBezTo>
                    <a:pt x="11819" y="21600"/>
                    <a:pt x="12152" y="21325"/>
                    <a:pt x="12196" y="20944"/>
                  </a:cubicBezTo>
                  <a:lnTo>
                    <a:pt x="13133" y="13901"/>
                  </a:lnTo>
                  <a:lnTo>
                    <a:pt x="20140" y="14843"/>
                  </a:lnTo>
                  <a:cubicBezTo>
                    <a:pt x="20170" y="14847"/>
                    <a:pt x="20200" y="14847"/>
                    <a:pt x="20231" y="14847"/>
                  </a:cubicBezTo>
                  <a:cubicBezTo>
                    <a:pt x="20604" y="14847"/>
                    <a:pt x="20936" y="14571"/>
                    <a:pt x="20981" y="14191"/>
                  </a:cubicBezTo>
                  <a:lnTo>
                    <a:pt x="21509" y="10188"/>
                  </a:lnTo>
                  <a:cubicBezTo>
                    <a:pt x="21557" y="9777"/>
                    <a:pt x="21269" y="9392"/>
                    <a:pt x="20862" y="9344"/>
                  </a:cubicBezTo>
                  <a:lnTo>
                    <a:pt x="13853" y="8404"/>
                  </a:lnTo>
                  <a:lnTo>
                    <a:pt x="14788" y="1361"/>
                  </a:lnTo>
                  <a:cubicBezTo>
                    <a:pt x="14837" y="952"/>
                    <a:pt x="14548" y="565"/>
                    <a:pt x="14141" y="517"/>
                  </a:cubicBezTo>
                  <a:lnTo>
                    <a:pt x="10156" y="10"/>
                  </a:lnTo>
                  <a:cubicBezTo>
                    <a:pt x="10116" y="4"/>
                    <a:pt x="10074" y="0"/>
                    <a:pt x="1003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63" name="Google Shape;296;p2"/>
            <p:cNvSpPr/>
            <p:nvPr/>
          </p:nvSpPr>
          <p:spPr>
            <a:xfrm>
              <a:off x="8315400" y="2772167"/>
              <a:ext cx="933392" cy="11799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04" h="21600" extrusionOk="0">
                  <a:moveTo>
                    <a:pt x="8120" y="685"/>
                  </a:moveTo>
                  <a:cubicBezTo>
                    <a:pt x="8696" y="685"/>
                    <a:pt x="9265" y="965"/>
                    <a:pt x="9369" y="1592"/>
                  </a:cubicBezTo>
                  <a:cubicBezTo>
                    <a:pt x="9438" y="1897"/>
                    <a:pt x="9321" y="2220"/>
                    <a:pt x="9060" y="2448"/>
                  </a:cubicBezTo>
                  <a:lnTo>
                    <a:pt x="7495" y="2696"/>
                  </a:lnTo>
                  <a:cubicBezTo>
                    <a:pt x="7140" y="2544"/>
                    <a:pt x="6901" y="2278"/>
                    <a:pt x="6832" y="1955"/>
                  </a:cubicBezTo>
                  <a:cubicBezTo>
                    <a:pt x="6603" y="1158"/>
                    <a:pt x="7367" y="685"/>
                    <a:pt x="8120" y="685"/>
                  </a:cubicBezTo>
                  <a:close/>
                  <a:moveTo>
                    <a:pt x="15478" y="4376"/>
                  </a:moveTo>
                  <a:cubicBezTo>
                    <a:pt x="16000" y="4376"/>
                    <a:pt x="16470" y="4665"/>
                    <a:pt x="16575" y="5092"/>
                  </a:cubicBezTo>
                  <a:lnTo>
                    <a:pt x="19325" y="17187"/>
                  </a:lnTo>
                  <a:cubicBezTo>
                    <a:pt x="19445" y="17661"/>
                    <a:pt x="19041" y="18118"/>
                    <a:pt x="18473" y="18195"/>
                  </a:cubicBezTo>
                  <a:lnTo>
                    <a:pt x="5977" y="20020"/>
                  </a:lnTo>
                  <a:cubicBezTo>
                    <a:pt x="5908" y="20032"/>
                    <a:pt x="5838" y="20036"/>
                    <a:pt x="5770" y="20036"/>
                  </a:cubicBezTo>
                  <a:cubicBezTo>
                    <a:pt x="5257" y="20036"/>
                    <a:pt x="4804" y="19736"/>
                    <a:pt x="4721" y="19316"/>
                  </a:cubicBezTo>
                  <a:lnTo>
                    <a:pt x="1971" y="7242"/>
                  </a:lnTo>
                  <a:cubicBezTo>
                    <a:pt x="1851" y="6766"/>
                    <a:pt x="2256" y="6309"/>
                    <a:pt x="2847" y="6234"/>
                  </a:cubicBezTo>
                  <a:lnTo>
                    <a:pt x="4342" y="6005"/>
                  </a:lnTo>
                  <a:cubicBezTo>
                    <a:pt x="4406" y="6349"/>
                    <a:pt x="4781" y="6583"/>
                    <a:pt x="5201" y="6583"/>
                  </a:cubicBezTo>
                  <a:cubicBezTo>
                    <a:pt x="5247" y="6583"/>
                    <a:pt x="5292" y="6580"/>
                    <a:pt x="5338" y="6576"/>
                  </a:cubicBezTo>
                  <a:lnTo>
                    <a:pt x="13138" y="5416"/>
                  </a:lnTo>
                  <a:cubicBezTo>
                    <a:pt x="13588" y="5358"/>
                    <a:pt x="13921" y="4998"/>
                    <a:pt x="13825" y="4616"/>
                  </a:cubicBezTo>
                  <a:lnTo>
                    <a:pt x="15295" y="4389"/>
                  </a:lnTo>
                  <a:cubicBezTo>
                    <a:pt x="15357" y="4381"/>
                    <a:pt x="15416" y="4376"/>
                    <a:pt x="15478" y="4376"/>
                  </a:cubicBezTo>
                  <a:close/>
                  <a:moveTo>
                    <a:pt x="8124" y="0"/>
                  </a:moveTo>
                  <a:cubicBezTo>
                    <a:pt x="7987" y="0"/>
                    <a:pt x="7847" y="11"/>
                    <a:pt x="7708" y="34"/>
                  </a:cubicBezTo>
                  <a:cubicBezTo>
                    <a:pt x="6523" y="204"/>
                    <a:pt x="5740" y="1118"/>
                    <a:pt x="5977" y="2087"/>
                  </a:cubicBezTo>
                  <a:cubicBezTo>
                    <a:pt x="6025" y="2354"/>
                    <a:pt x="6190" y="2619"/>
                    <a:pt x="6404" y="2848"/>
                  </a:cubicBezTo>
                  <a:lnTo>
                    <a:pt x="4864" y="3076"/>
                  </a:lnTo>
                  <a:cubicBezTo>
                    <a:pt x="4223" y="3172"/>
                    <a:pt x="3797" y="3665"/>
                    <a:pt x="3914" y="4180"/>
                  </a:cubicBezTo>
                  <a:lnTo>
                    <a:pt x="4010" y="4616"/>
                  </a:lnTo>
                  <a:lnTo>
                    <a:pt x="1449" y="4998"/>
                  </a:lnTo>
                  <a:cubicBezTo>
                    <a:pt x="477" y="5130"/>
                    <a:pt x="-140" y="5871"/>
                    <a:pt x="27" y="6651"/>
                  </a:cubicBezTo>
                  <a:lnTo>
                    <a:pt x="3156" y="20420"/>
                  </a:lnTo>
                  <a:cubicBezTo>
                    <a:pt x="3325" y="21116"/>
                    <a:pt x="4082" y="21600"/>
                    <a:pt x="4936" y="21600"/>
                  </a:cubicBezTo>
                  <a:cubicBezTo>
                    <a:pt x="5037" y="21600"/>
                    <a:pt x="5139" y="21594"/>
                    <a:pt x="5243" y="21579"/>
                  </a:cubicBezTo>
                  <a:lnTo>
                    <a:pt x="19847" y="19429"/>
                  </a:lnTo>
                  <a:cubicBezTo>
                    <a:pt x="20819" y="19297"/>
                    <a:pt x="21460" y="18556"/>
                    <a:pt x="21271" y="17776"/>
                  </a:cubicBezTo>
                  <a:lnTo>
                    <a:pt x="18140" y="3990"/>
                  </a:lnTo>
                  <a:cubicBezTo>
                    <a:pt x="17995" y="3301"/>
                    <a:pt x="17258" y="2821"/>
                    <a:pt x="16420" y="2821"/>
                  </a:cubicBezTo>
                  <a:cubicBezTo>
                    <a:pt x="16308" y="2821"/>
                    <a:pt x="16193" y="2830"/>
                    <a:pt x="16077" y="2848"/>
                  </a:cubicBezTo>
                  <a:lnTo>
                    <a:pt x="13517" y="3209"/>
                  </a:lnTo>
                  <a:lnTo>
                    <a:pt x="13399" y="2773"/>
                  </a:lnTo>
                  <a:cubicBezTo>
                    <a:pt x="13292" y="2309"/>
                    <a:pt x="12798" y="2000"/>
                    <a:pt x="12232" y="2000"/>
                  </a:cubicBezTo>
                  <a:cubicBezTo>
                    <a:pt x="12172" y="2000"/>
                    <a:pt x="12111" y="2004"/>
                    <a:pt x="12047" y="2011"/>
                  </a:cubicBezTo>
                  <a:lnTo>
                    <a:pt x="10175" y="2297"/>
                  </a:lnTo>
                  <a:cubicBezTo>
                    <a:pt x="10269" y="2011"/>
                    <a:pt x="10293" y="1727"/>
                    <a:pt x="10221" y="1460"/>
                  </a:cubicBezTo>
                  <a:cubicBezTo>
                    <a:pt x="10054" y="604"/>
                    <a:pt x="9150" y="0"/>
                    <a:pt x="812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64" name="Google Shape;297;p2"/>
            <p:cNvSpPr/>
            <p:nvPr/>
          </p:nvSpPr>
          <p:spPr>
            <a:xfrm>
              <a:off x="8497016" y="3196883"/>
              <a:ext cx="135371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0" h="21600" extrusionOk="0">
                  <a:moveTo>
                    <a:pt x="9028" y="0"/>
                  </a:moveTo>
                  <a:cubicBezTo>
                    <a:pt x="8518" y="0"/>
                    <a:pt x="8008" y="42"/>
                    <a:pt x="7487" y="154"/>
                  </a:cubicBezTo>
                  <a:cubicBezTo>
                    <a:pt x="-509" y="1819"/>
                    <a:pt x="-2722" y="14144"/>
                    <a:pt x="3906" y="19641"/>
                  </a:cubicBezTo>
                  <a:cubicBezTo>
                    <a:pt x="5505" y="20998"/>
                    <a:pt x="7244" y="21600"/>
                    <a:pt x="8947" y="21600"/>
                  </a:cubicBezTo>
                  <a:cubicBezTo>
                    <a:pt x="14127" y="21600"/>
                    <a:pt x="18878" y="15962"/>
                    <a:pt x="17835" y="8813"/>
                  </a:cubicBezTo>
                  <a:cubicBezTo>
                    <a:pt x="16978" y="3609"/>
                    <a:pt x="13246" y="0"/>
                    <a:pt x="902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65" name="Google Shape;298;p2"/>
            <p:cNvSpPr/>
            <p:nvPr/>
          </p:nvSpPr>
          <p:spPr>
            <a:xfrm>
              <a:off x="8675951" y="3156837"/>
              <a:ext cx="307305" cy="1190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63" h="21600" extrusionOk="0">
                  <a:moveTo>
                    <a:pt x="17257" y="0"/>
                  </a:moveTo>
                  <a:cubicBezTo>
                    <a:pt x="17029" y="0"/>
                    <a:pt x="16791" y="95"/>
                    <a:pt x="16535" y="269"/>
                  </a:cubicBezTo>
                  <a:lnTo>
                    <a:pt x="2117" y="7823"/>
                  </a:lnTo>
                  <a:cubicBezTo>
                    <a:pt x="-1027" y="9042"/>
                    <a:pt x="-433" y="21600"/>
                    <a:pt x="2344" y="21600"/>
                  </a:cubicBezTo>
                  <a:cubicBezTo>
                    <a:pt x="2544" y="21600"/>
                    <a:pt x="2755" y="21537"/>
                    <a:pt x="2978" y="21394"/>
                  </a:cubicBezTo>
                  <a:lnTo>
                    <a:pt x="17396" y="13856"/>
                  </a:lnTo>
                  <a:cubicBezTo>
                    <a:pt x="20573" y="12811"/>
                    <a:pt x="20023" y="0"/>
                    <a:pt x="1725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66" name="Google Shape;299;p2"/>
            <p:cNvSpPr/>
            <p:nvPr/>
          </p:nvSpPr>
          <p:spPr>
            <a:xfrm>
              <a:off x="8531607" y="3384899"/>
              <a:ext cx="135068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39" h="21600" extrusionOk="0">
                  <a:moveTo>
                    <a:pt x="8976" y="0"/>
                  </a:moveTo>
                  <a:cubicBezTo>
                    <a:pt x="8477" y="0"/>
                    <a:pt x="7967" y="42"/>
                    <a:pt x="7446" y="154"/>
                  </a:cubicBezTo>
                  <a:cubicBezTo>
                    <a:pt x="-411" y="1819"/>
                    <a:pt x="-2763" y="14144"/>
                    <a:pt x="3865" y="19641"/>
                  </a:cubicBezTo>
                  <a:cubicBezTo>
                    <a:pt x="5464" y="20998"/>
                    <a:pt x="7214" y="21600"/>
                    <a:pt x="8918" y="21600"/>
                  </a:cubicBezTo>
                  <a:cubicBezTo>
                    <a:pt x="14086" y="21600"/>
                    <a:pt x="18837" y="16004"/>
                    <a:pt x="17794" y="8981"/>
                  </a:cubicBezTo>
                  <a:cubicBezTo>
                    <a:pt x="16937" y="3623"/>
                    <a:pt x="13205" y="0"/>
                    <a:pt x="897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67" name="Google Shape;300;p2"/>
            <p:cNvSpPr/>
            <p:nvPr/>
          </p:nvSpPr>
          <p:spPr>
            <a:xfrm>
              <a:off x="8714901" y="3345202"/>
              <a:ext cx="296401" cy="1176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1" h="21600" extrusionOk="0">
                  <a:moveTo>
                    <a:pt x="17001" y="0"/>
                  </a:moveTo>
                  <a:cubicBezTo>
                    <a:pt x="16932" y="0"/>
                    <a:pt x="16869" y="16"/>
                    <a:pt x="16800" y="32"/>
                  </a:cubicBezTo>
                  <a:lnTo>
                    <a:pt x="1883" y="7654"/>
                  </a:lnTo>
                  <a:cubicBezTo>
                    <a:pt x="-1036" y="10055"/>
                    <a:pt x="-352" y="21600"/>
                    <a:pt x="2498" y="21600"/>
                  </a:cubicBezTo>
                  <a:cubicBezTo>
                    <a:pt x="2590" y="21600"/>
                    <a:pt x="2682" y="21584"/>
                    <a:pt x="2774" y="21568"/>
                  </a:cubicBezTo>
                  <a:lnTo>
                    <a:pt x="17685" y="14138"/>
                  </a:lnTo>
                  <a:cubicBezTo>
                    <a:pt x="20564" y="11705"/>
                    <a:pt x="19846" y="0"/>
                    <a:pt x="1700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68" name="Google Shape;301;p2"/>
            <p:cNvSpPr/>
            <p:nvPr/>
          </p:nvSpPr>
          <p:spPr>
            <a:xfrm>
              <a:off x="8568397" y="3586351"/>
              <a:ext cx="134673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03" h="21600" extrusionOk="0">
                  <a:moveTo>
                    <a:pt x="8991" y="0"/>
                  </a:moveTo>
                  <a:cubicBezTo>
                    <a:pt x="8478" y="0"/>
                    <a:pt x="7953" y="56"/>
                    <a:pt x="7440" y="168"/>
                  </a:cubicBezTo>
                  <a:cubicBezTo>
                    <a:pt x="-479" y="1831"/>
                    <a:pt x="-2695" y="14148"/>
                    <a:pt x="3825" y="19643"/>
                  </a:cubicBezTo>
                  <a:cubicBezTo>
                    <a:pt x="5469" y="20999"/>
                    <a:pt x="7242" y="21600"/>
                    <a:pt x="8956" y="21600"/>
                  </a:cubicBezTo>
                  <a:cubicBezTo>
                    <a:pt x="14193" y="21600"/>
                    <a:pt x="18905" y="15966"/>
                    <a:pt x="17855" y="8822"/>
                  </a:cubicBezTo>
                  <a:cubicBezTo>
                    <a:pt x="17109" y="3621"/>
                    <a:pt x="13260" y="0"/>
                    <a:pt x="899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69" name="Google Shape;302;p2"/>
            <p:cNvSpPr/>
            <p:nvPr/>
          </p:nvSpPr>
          <p:spPr>
            <a:xfrm>
              <a:off x="8751254" y="3545607"/>
              <a:ext cx="298098" cy="1188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9" h="21600" extrusionOk="0">
                  <a:moveTo>
                    <a:pt x="16982" y="0"/>
                  </a:moveTo>
                  <a:cubicBezTo>
                    <a:pt x="16896" y="0"/>
                    <a:pt x="16805" y="16"/>
                    <a:pt x="16708" y="32"/>
                  </a:cubicBezTo>
                  <a:lnTo>
                    <a:pt x="16708" y="222"/>
                  </a:lnTo>
                  <a:lnTo>
                    <a:pt x="1875" y="7596"/>
                  </a:lnTo>
                  <a:cubicBezTo>
                    <a:pt x="-1034" y="9785"/>
                    <a:pt x="-348" y="21600"/>
                    <a:pt x="2493" y="21600"/>
                  </a:cubicBezTo>
                  <a:cubicBezTo>
                    <a:pt x="2584" y="21600"/>
                    <a:pt x="2670" y="21584"/>
                    <a:pt x="2761" y="21568"/>
                  </a:cubicBezTo>
                  <a:lnTo>
                    <a:pt x="17662" y="14004"/>
                  </a:lnTo>
                  <a:cubicBezTo>
                    <a:pt x="20566" y="11625"/>
                    <a:pt x="19886" y="0"/>
                    <a:pt x="1698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70" name="Google Shape;303;p2"/>
            <p:cNvSpPr/>
            <p:nvPr/>
          </p:nvSpPr>
          <p:spPr>
            <a:xfrm>
              <a:off x="8429907" y="4422172"/>
              <a:ext cx="600951" cy="6060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55" h="21600" extrusionOk="0">
                  <a:moveTo>
                    <a:pt x="9824" y="0"/>
                  </a:moveTo>
                  <a:cubicBezTo>
                    <a:pt x="6939" y="0"/>
                    <a:pt x="4096" y="1443"/>
                    <a:pt x="2193" y="4161"/>
                  </a:cubicBezTo>
                  <a:lnTo>
                    <a:pt x="18235" y="15415"/>
                  </a:lnTo>
                  <a:cubicBezTo>
                    <a:pt x="20399" y="10567"/>
                    <a:pt x="19035" y="4568"/>
                    <a:pt x="14940" y="1642"/>
                  </a:cubicBezTo>
                  <a:cubicBezTo>
                    <a:pt x="13355" y="535"/>
                    <a:pt x="11582" y="0"/>
                    <a:pt x="9824" y="0"/>
                  </a:cubicBezTo>
                  <a:close/>
                  <a:moveTo>
                    <a:pt x="1060" y="6160"/>
                  </a:moveTo>
                  <a:cubicBezTo>
                    <a:pt x="-1201" y="11046"/>
                    <a:pt x="264" y="17044"/>
                    <a:pt x="4423" y="19971"/>
                  </a:cubicBezTo>
                  <a:cubicBezTo>
                    <a:pt x="6000" y="21068"/>
                    <a:pt x="7761" y="21600"/>
                    <a:pt x="9503" y="21600"/>
                  </a:cubicBezTo>
                  <a:cubicBezTo>
                    <a:pt x="12393" y="21600"/>
                    <a:pt x="15236" y="20142"/>
                    <a:pt x="17103" y="17414"/>
                  </a:cubicBezTo>
                  <a:lnTo>
                    <a:pt x="1060" y="616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71" name="Google Shape;304;p2"/>
            <p:cNvSpPr/>
            <p:nvPr/>
          </p:nvSpPr>
          <p:spPr>
            <a:xfrm>
              <a:off x="9686259" y="3118885"/>
              <a:ext cx="505264" cy="4910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61" h="21600" extrusionOk="0">
                  <a:moveTo>
                    <a:pt x="11770" y="0"/>
                  </a:moveTo>
                  <a:lnTo>
                    <a:pt x="3275" y="6214"/>
                  </a:lnTo>
                  <a:cubicBezTo>
                    <a:pt x="-151" y="8728"/>
                    <a:pt x="-1039" y="13755"/>
                    <a:pt x="1329" y="17455"/>
                  </a:cubicBezTo>
                  <a:lnTo>
                    <a:pt x="1709" y="18050"/>
                  </a:lnTo>
                  <a:cubicBezTo>
                    <a:pt x="3157" y="20357"/>
                    <a:pt x="5511" y="21600"/>
                    <a:pt x="7904" y="21600"/>
                  </a:cubicBezTo>
                  <a:cubicBezTo>
                    <a:pt x="9353" y="21600"/>
                    <a:pt x="10819" y="21143"/>
                    <a:pt x="12108" y="20199"/>
                  </a:cubicBezTo>
                  <a:lnTo>
                    <a:pt x="20561" y="13982"/>
                  </a:lnTo>
                  <a:lnTo>
                    <a:pt x="11770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72" name="Google Shape;305;p2"/>
            <p:cNvSpPr/>
            <p:nvPr/>
          </p:nvSpPr>
          <p:spPr>
            <a:xfrm>
              <a:off x="10020170" y="2915339"/>
              <a:ext cx="505521" cy="491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2738" y="0"/>
                  </a:moveTo>
                  <a:cubicBezTo>
                    <a:pt x="11276" y="0"/>
                    <a:pt x="9799" y="456"/>
                    <a:pt x="8496" y="1412"/>
                  </a:cubicBezTo>
                  <a:lnTo>
                    <a:pt x="0" y="7626"/>
                  </a:lnTo>
                  <a:lnTo>
                    <a:pt x="8791" y="21600"/>
                  </a:lnTo>
                  <a:lnTo>
                    <a:pt x="17290" y="15344"/>
                  </a:lnTo>
                  <a:cubicBezTo>
                    <a:pt x="20712" y="12831"/>
                    <a:pt x="21600" y="7806"/>
                    <a:pt x="19275" y="4108"/>
                  </a:cubicBezTo>
                  <a:lnTo>
                    <a:pt x="19275" y="4154"/>
                  </a:lnTo>
                  <a:lnTo>
                    <a:pt x="18895" y="3514"/>
                  </a:lnTo>
                  <a:cubicBezTo>
                    <a:pt x="17453" y="1220"/>
                    <a:pt x="15121" y="0"/>
                    <a:pt x="1273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73" name="Google Shape;306;p2"/>
            <p:cNvSpPr/>
            <p:nvPr/>
          </p:nvSpPr>
          <p:spPr>
            <a:xfrm>
              <a:off x="9507804" y="4134346"/>
              <a:ext cx="931204" cy="9306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14" h="21600" extrusionOk="0">
                  <a:moveTo>
                    <a:pt x="10031" y="0"/>
                  </a:moveTo>
                  <a:cubicBezTo>
                    <a:pt x="9673" y="0"/>
                    <a:pt x="9360" y="269"/>
                    <a:pt x="9318" y="638"/>
                  </a:cubicBezTo>
                  <a:lnTo>
                    <a:pt x="8405" y="7701"/>
                  </a:lnTo>
                  <a:lnTo>
                    <a:pt x="1374" y="6761"/>
                  </a:lnTo>
                  <a:cubicBezTo>
                    <a:pt x="1344" y="6757"/>
                    <a:pt x="1314" y="6755"/>
                    <a:pt x="1285" y="6755"/>
                  </a:cubicBezTo>
                  <a:cubicBezTo>
                    <a:pt x="910" y="6755"/>
                    <a:pt x="578" y="7033"/>
                    <a:pt x="533" y="7411"/>
                  </a:cubicBezTo>
                  <a:lnTo>
                    <a:pt x="5" y="11415"/>
                  </a:lnTo>
                  <a:cubicBezTo>
                    <a:pt x="-43" y="11824"/>
                    <a:pt x="245" y="12210"/>
                    <a:pt x="654" y="12259"/>
                  </a:cubicBezTo>
                  <a:lnTo>
                    <a:pt x="654" y="12235"/>
                  </a:lnTo>
                  <a:lnTo>
                    <a:pt x="7685" y="13174"/>
                  </a:lnTo>
                  <a:lnTo>
                    <a:pt x="6750" y="20215"/>
                  </a:lnTo>
                  <a:cubicBezTo>
                    <a:pt x="6677" y="20624"/>
                    <a:pt x="6966" y="21011"/>
                    <a:pt x="7397" y="21057"/>
                  </a:cubicBezTo>
                  <a:lnTo>
                    <a:pt x="11358" y="21588"/>
                  </a:lnTo>
                  <a:cubicBezTo>
                    <a:pt x="11400" y="21596"/>
                    <a:pt x="11440" y="21600"/>
                    <a:pt x="11483" y="21600"/>
                  </a:cubicBezTo>
                  <a:cubicBezTo>
                    <a:pt x="11841" y="21600"/>
                    <a:pt x="12154" y="21327"/>
                    <a:pt x="12196" y="20938"/>
                  </a:cubicBezTo>
                  <a:lnTo>
                    <a:pt x="13133" y="13897"/>
                  </a:lnTo>
                  <a:lnTo>
                    <a:pt x="20140" y="14839"/>
                  </a:lnTo>
                  <a:cubicBezTo>
                    <a:pt x="20170" y="14841"/>
                    <a:pt x="20200" y="14843"/>
                    <a:pt x="20231" y="14843"/>
                  </a:cubicBezTo>
                  <a:cubicBezTo>
                    <a:pt x="20604" y="14843"/>
                    <a:pt x="20936" y="14567"/>
                    <a:pt x="20981" y="14187"/>
                  </a:cubicBezTo>
                  <a:lnTo>
                    <a:pt x="21509" y="10185"/>
                  </a:lnTo>
                  <a:cubicBezTo>
                    <a:pt x="21557" y="9774"/>
                    <a:pt x="21269" y="9390"/>
                    <a:pt x="20862" y="9341"/>
                  </a:cubicBezTo>
                  <a:lnTo>
                    <a:pt x="13853" y="8401"/>
                  </a:lnTo>
                  <a:lnTo>
                    <a:pt x="14788" y="1385"/>
                  </a:lnTo>
                  <a:cubicBezTo>
                    <a:pt x="14837" y="952"/>
                    <a:pt x="14548" y="589"/>
                    <a:pt x="14141" y="516"/>
                  </a:cubicBezTo>
                  <a:lnTo>
                    <a:pt x="10156" y="10"/>
                  </a:lnTo>
                  <a:cubicBezTo>
                    <a:pt x="10114" y="4"/>
                    <a:pt x="10074" y="0"/>
                    <a:pt x="1003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74" name="Google Shape;307;p2"/>
            <p:cNvSpPr/>
            <p:nvPr/>
          </p:nvSpPr>
          <p:spPr>
            <a:xfrm>
              <a:off x="8315434" y="5543986"/>
              <a:ext cx="933359" cy="11787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03" h="21600" extrusionOk="0">
                  <a:moveTo>
                    <a:pt x="8113" y="687"/>
                  </a:moveTo>
                  <a:cubicBezTo>
                    <a:pt x="8693" y="687"/>
                    <a:pt x="9264" y="966"/>
                    <a:pt x="9368" y="1588"/>
                  </a:cubicBezTo>
                  <a:cubicBezTo>
                    <a:pt x="9437" y="1893"/>
                    <a:pt x="9320" y="2216"/>
                    <a:pt x="9059" y="2444"/>
                  </a:cubicBezTo>
                  <a:lnTo>
                    <a:pt x="7494" y="2692"/>
                  </a:lnTo>
                  <a:cubicBezTo>
                    <a:pt x="7161" y="2540"/>
                    <a:pt x="6900" y="2273"/>
                    <a:pt x="6831" y="1968"/>
                  </a:cubicBezTo>
                  <a:lnTo>
                    <a:pt x="6831" y="1949"/>
                  </a:lnTo>
                  <a:cubicBezTo>
                    <a:pt x="6604" y="1154"/>
                    <a:pt x="7364" y="687"/>
                    <a:pt x="8113" y="687"/>
                  </a:cubicBezTo>
                  <a:close/>
                  <a:moveTo>
                    <a:pt x="15511" y="4387"/>
                  </a:moveTo>
                  <a:cubicBezTo>
                    <a:pt x="16021" y="4387"/>
                    <a:pt x="16471" y="4673"/>
                    <a:pt x="16574" y="5090"/>
                  </a:cubicBezTo>
                  <a:lnTo>
                    <a:pt x="19324" y="17196"/>
                  </a:lnTo>
                  <a:cubicBezTo>
                    <a:pt x="19444" y="17672"/>
                    <a:pt x="19040" y="18129"/>
                    <a:pt x="18448" y="18204"/>
                  </a:cubicBezTo>
                  <a:lnTo>
                    <a:pt x="5976" y="20032"/>
                  </a:lnTo>
                  <a:cubicBezTo>
                    <a:pt x="5907" y="20043"/>
                    <a:pt x="5837" y="20049"/>
                    <a:pt x="5769" y="20049"/>
                  </a:cubicBezTo>
                  <a:cubicBezTo>
                    <a:pt x="5256" y="20049"/>
                    <a:pt x="4803" y="19747"/>
                    <a:pt x="4720" y="19328"/>
                  </a:cubicBezTo>
                  <a:lnTo>
                    <a:pt x="1970" y="7221"/>
                  </a:lnTo>
                  <a:cubicBezTo>
                    <a:pt x="1850" y="6747"/>
                    <a:pt x="2255" y="6289"/>
                    <a:pt x="2846" y="6213"/>
                  </a:cubicBezTo>
                  <a:lnTo>
                    <a:pt x="4341" y="5986"/>
                  </a:lnTo>
                  <a:cubicBezTo>
                    <a:pt x="4403" y="6321"/>
                    <a:pt x="4764" y="6569"/>
                    <a:pt x="5174" y="6569"/>
                  </a:cubicBezTo>
                  <a:cubicBezTo>
                    <a:pt x="5228" y="6569"/>
                    <a:pt x="5281" y="6564"/>
                    <a:pt x="5337" y="6556"/>
                  </a:cubicBezTo>
                  <a:lnTo>
                    <a:pt x="13137" y="5432"/>
                  </a:lnTo>
                  <a:cubicBezTo>
                    <a:pt x="13587" y="5357"/>
                    <a:pt x="13920" y="4994"/>
                    <a:pt x="13824" y="4614"/>
                  </a:cubicBezTo>
                  <a:lnTo>
                    <a:pt x="15294" y="4404"/>
                  </a:lnTo>
                  <a:cubicBezTo>
                    <a:pt x="15368" y="4393"/>
                    <a:pt x="15441" y="4387"/>
                    <a:pt x="15511" y="4387"/>
                  </a:cubicBezTo>
                  <a:close/>
                  <a:moveTo>
                    <a:pt x="8089" y="0"/>
                  </a:moveTo>
                  <a:cubicBezTo>
                    <a:pt x="7964" y="0"/>
                    <a:pt x="7836" y="8"/>
                    <a:pt x="7707" y="27"/>
                  </a:cubicBezTo>
                  <a:cubicBezTo>
                    <a:pt x="6522" y="198"/>
                    <a:pt x="5739" y="1130"/>
                    <a:pt x="5976" y="2083"/>
                  </a:cubicBezTo>
                  <a:cubicBezTo>
                    <a:pt x="6024" y="2348"/>
                    <a:pt x="6189" y="2615"/>
                    <a:pt x="6403" y="2844"/>
                  </a:cubicBezTo>
                  <a:lnTo>
                    <a:pt x="4863" y="3073"/>
                  </a:lnTo>
                  <a:cubicBezTo>
                    <a:pt x="4222" y="3167"/>
                    <a:pt x="3796" y="3643"/>
                    <a:pt x="3913" y="4158"/>
                  </a:cubicBezTo>
                  <a:lnTo>
                    <a:pt x="4009" y="4614"/>
                  </a:lnTo>
                  <a:lnTo>
                    <a:pt x="1448" y="4977"/>
                  </a:lnTo>
                  <a:cubicBezTo>
                    <a:pt x="500" y="5129"/>
                    <a:pt x="-141" y="5870"/>
                    <a:pt x="26" y="6631"/>
                  </a:cubicBezTo>
                  <a:lnTo>
                    <a:pt x="3155" y="20431"/>
                  </a:lnTo>
                  <a:cubicBezTo>
                    <a:pt x="3322" y="21120"/>
                    <a:pt x="4061" y="21600"/>
                    <a:pt x="4899" y="21600"/>
                  </a:cubicBezTo>
                  <a:cubicBezTo>
                    <a:pt x="5013" y="21600"/>
                    <a:pt x="5126" y="21592"/>
                    <a:pt x="5242" y="21574"/>
                  </a:cubicBezTo>
                  <a:lnTo>
                    <a:pt x="19846" y="19442"/>
                  </a:lnTo>
                  <a:cubicBezTo>
                    <a:pt x="20818" y="19290"/>
                    <a:pt x="21459" y="18548"/>
                    <a:pt x="21270" y="17766"/>
                  </a:cubicBezTo>
                  <a:lnTo>
                    <a:pt x="18139" y="3966"/>
                  </a:lnTo>
                  <a:cubicBezTo>
                    <a:pt x="17992" y="3273"/>
                    <a:pt x="17241" y="2804"/>
                    <a:pt x="16393" y="2804"/>
                  </a:cubicBezTo>
                  <a:cubicBezTo>
                    <a:pt x="16289" y="2804"/>
                    <a:pt x="16184" y="2811"/>
                    <a:pt x="16076" y="2825"/>
                  </a:cubicBezTo>
                  <a:lnTo>
                    <a:pt x="13516" y="3205"/>
                  </a:lnTo>
                  <a:lnTo>
                    <a:pt x="13398" y="2767"/>
                  </a:lnTo>
                  <a:cubicBezTo>
                    <a:pt x="13291" y="2304"/>
                    <a:pt x="12797" y="1995"/>
                    <a:pt x="12231" y="1995"/>
                  </a:cubicBezTo>
                  <a:cubicBezTo>
                    <a:pt x="12171" y="1995"/>
                    <a:pt x="12110" y="1998"/>
                    <a:pt x="12046" y="2006"/>
                  </a:cubicBezTo>
                  <a:lnTo>
                    <a:pt x="10174" y="2293"/>
                  </a:lnTo>
                  <a:cubicBezTo>
                    <a:pt x="10268" y="2026"/>
                    <a:pt x="10292" y="1739"/>
                    <a:pt x="10220" y="1455"/>
                  </a:cubicBezTo>
                  <a:cubicBezTo>
                    <a:pt x="10051" y="606"/>
                    <a:pt x="9129" y="0"/>
                    <a:pt x="808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75" name="Google Shape;308;p2"/>
            <p:cNvSpPr/>
            <p:nvPr/>
          </p:nvSpPr>
          <p:spPr>
            <a:xfrm>
              <a:off x="8497016" y="5969313"/>
              <a:ext cx="135371" cy="1347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0" h="21600" extrusionOk="0">
                  <a:moveTo>
                    <a:pt x="8993" y="0"/>
                  </a:moveTo>
                  <a:cubicBezTo>
                    <a:pt x="8495" y="0"/>
                    <a:pt x="7985" y="56"/>
                    <a:pt x="7487" y="168"/>
                  </a:cubicBezTo>
                  <a:cubicBezTo>
                    <a:pt x="-509" y="1831"/>
                    <a:pt x="-2722" y="14148"/>
                    <a:pt x="3906" y="19643"/>
                  </a:cubicBezTo>
                  <a:cubicBezTo>
                    <a:pt x="5505" y="20999"/>
                    <a:pt x="7244" y="21600"/>
                    <a:pt x="8947" y="21600"/>
                  </a:cubicBezTo>
                  <a:cubicBezTo>
                    <a:pt x="14127" y="21600"/>
                    <a:pt x="18878" y="15966"/>
                    <a:pt x="17835" y="8822"/>
                  </a:cubicBezTo>
                  <a:cubicBezTo>
                    <a:pt x="16978" y="3607"/>
                    <a:pt x="13142" y="0"/>
                    <a:pt x="899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76" name="Google Shape;309;p2"/>
            <p:cNvSpPr/>
            <p:nvPr/>
          </p:nvSpPr>
          <p:spPr>
            <a:xfrm>
              <a:off x="8677481" y="5928830"/>
              <a:ext cx="304362" cy="1181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36" h="21600" extrusionOk="0">
                  <a:moveTo>
                    <a:pt x="17168" y="0"/>
                  </a:moveTo>
                  <a:cubicBezTo>
                    <a:pt x="16978" y="0"/>
                    <a:pt x="16782" y="64"/>
                    <a:pt x="16575" y="175"/>
                  </a:cubicBezTo>
                  <a:lnTo>
                    <a:pt x="2037" y="7769"/>
                  </a:lnTo>
                  <a:cubicBezTo>
                    <a:pt x="-1038" y="9380"/>
                    <a:pt x="-388" y="21600"/>
                    <a:pt x="2367" y="21600"/>
                  </a:cubicBezTo>
                  <a:cubicBezTo>
                    <a:pt x="2535" y="21600"/>
                    <a:pt x="2714" y="21552"/>
                    <a:pt x="2905" y="21456"/>
                  </a:cubicBezTo>
                  <a:lnTo>
                    <a:pt x="17375" y="13847"/>
                  </a:lnTo>
                  <a:cubicBezTo>
                    <a:pt x="20562" y="12603"/>
                    <a:pt x="19996" y="0"/>
                    <a:pt x="1716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77" name="Google Shape;310;p2"/>
            <p:cNvSpPr/>
            <p:nvPr/>
          </p:nvSpPr>
          <p:spPr>
            <a:xfrm>
              <a:off x="8531607" y="6157067"/>
              <a:ext cx="135068" cy="1350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39" h="21600" extrusionOk="0">
                  <a:moveTo>
                    <a:pt x="9126" y="0"/>
                  </a:moveTo>
                  <a:cubicBezTo>
                    <a:pt x="8582" y="0"/>
                    <a:pt x="8014" y="70"/>
                    <a:pt x="7446" y="209"/>
                  </a:cubicBezTo>
                  <a:cubicBezTo>
                    <a:pt x="-411" y="1702"/>
                    <a:pt x="-2763" y="14163"/>
                    <a:pt x="3865" y="19647"/>
                  </a:cubicBezTo>
                  <a:cubicBezTo>
                    <a:pt x="5464" y="21000"/>
                    <a:pt x="7203" y="21600"/>
                    <a:pt x="8906" y="21600"/>
                  </a:cubicBezTo>
                  <a:cubicBezTo>
                    <a:pt x="14086" y="21600"/>
                    <a:pt x="18837" y="15977"/>
                    <a:pt x="17794" y="8847"/>
                  </a:cubicBezTo>
                  <a:cubicBezTo>
                    <a:pt x="16948" y="3712"/>
                    <a:pt x="13298" y="0"/>
                    <a:pt x="912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78" name="Google Shape;311;p2"/>
            <p:cNvSpPr/>
            <p:nvPr/>
          </p:nvSpPr>
          <p:spPr>
            <a:xfrm>
              <a:off x="8714901" y="6116671"/>
              <a:ext cx="296401" cy="117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1" h="21600" extrusionOk="0">
                  <a:moveTo>
                    <a:pt x="17001" y="0"/>
                  </a:moveTo>
                  <a:cubicBezTo>
                    <a:pt x="16932" y="0"/>
                    <a:pt x="16869" y="16"/>
                    <a:pt x="16800" y="16"/>
                  </a:cubicBezTo>
                  <a:lnTo>
                    <a:pt x="1883" y="7654"/>
                  </a:lnTo>
                  <a:cubicBezTo>
                    <a:pt x="-1036" y="10055"/>
                    <a:pt x="-352" y="21600"/>
                    <a:pt x="2498" y="21600"/>
                  </a:cubicBezTo>
                  <a:cubicBezTo>
                    <a:pt x="2590" y="21600"/>
                    <a:pt x="2682" y="21584"/>
                    <a:pt x="2774" y="21568"/>
                  </a:cubicBezTo>
                  <a:lnTo>
                    <a:pt x="17685" y="14122"/>
                  </a:lnTo>
                  <a:cubicBezTo>
                    <a:pt x="20564" y="11705"/>
                    <a:pt x="19846" y="0"/>
                    <a:pt x="1700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79" name="Google Shape;312;p2"/>
            <p:cNvSpPr/>
            <p:nvPr/>
          </p:nvSpPr>
          <p:spPr>
            <a:xfrm>
              <a:off x="8568397" y="6357821"/>
              <a:ext cx="134852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9" h="21600" extrusionOk="0">
                  <a:moveTo>
                    <a:pt x="8953" y="0"/>
                  </a:moveTo>
                  <a:cubicBezTo>
                    <a:pt x="8442" y="0"/>
                    <a:pt x="7920" y="56"/>
                    <a:pt x="7409" y="154"/>
                  </a:cubicBezTo>
                  <a:cubicBezTo>
                    <a:pt x="-477" y="1831"/>
                    <a:pt x="-2683" y="14148"/>
                    <a:pt x="3809" y="19629"/>
                  </a:cubicBezTo>
                  <a:cubicBezTo>
                    <a:pt x="5446" y="20985"/>
                    <a:pt x="7223" y="21600"/>
                    <a:pt x="8942" y="21600"/>
                  </a:cubicBezTo>
                  <a:cubicBezTo>
                    <a:pt x="14191" y="21600"/>
                    <a:pt x="18917" y="15966"/>
                    <a:pt x="17779" y="8822"/>
                  </a:cubicBezTo>
                  <a:cubicBezTo>
                    <a:pt x="17036" y="3607"/>
                    <a:pt x="13203" y="0"/>
                    <a:pt x="895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80" name="Google Shape;313;p2"/>
            <p:cNvSpPr/>
            <p:nvPr/>
          </p:nvSpPr>
          <p:spPr>
            <a:xfrm>
              <a:off x="8750506" y="6317949"/>
              <a:ext cx="299620" cy="1180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62" h="21600" extrusionOk="0">
                  <a:moveTo>
                    <a:pt x="17092" y="0"/>
                  </a:moveTo>
                  <a:cubicBezTo>
                    <a:pt x="16966" y="0"/>
                    <a:pt x="16835" y="16"/>
                    <a:pt x="16699" y="64"/>
                  </a:cubicBezTo>
                  <a:lnTo>
                    <a:pt x="1917" y="7471"/>
                  </a:lnTo>
                  <a:cubicBezTo>
                    <a:pt x="-1028" y="9675"/>
                    <a:pt x="-373" y="21600"/>
                    <a:pt x="2469" y="21600"/>
                  </a:cubicBezTo>
                  <a:cubicBezTo>
                    <a:pt x="2578" y="21600"/>
                    <a:pt x="2686" y="21584"/>
                    <a:pt x="2800" y="21552"/>
                  </a:cubicBezTo>
                  <a:lnTo>
                    <a:pt x="17650" y="13937"/>
                  </a:lnTo>
                  <a:cubicBezTo>
                    <a:pt x="20572" y="11941"/>
                    <a:pt x="19951" y="0"/>
                    <a:pt x="1709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81" name="Google Shape;314;p2"/>
            <p:cNvSpPr/>
            <p:nvPr/>
          </p:nvSpPr>
          <p:spPr>
            <a:xfrm>
              <a:off x="8429907" y="7192681"/>
              <a:ext cx="602280" cy="60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08" h="21600" extrusionOk="0">
                  <a:moveTo>
                    <a:pt x="9725" y="0"/>
                  </a:moveTo>
                  <a:cubicBezTo>
                    <a:pt x="6856" y="0"/>
                    <a:pt x="4038" y="1449"/>
                    <a:pt x="2182" y="4187"/>
                  </a:cubicBezTo>
                  <a:lnTo>
                    <a:pt x="18150" y="15418"/>
                  </a:lnTo>
                  <a:cubicBezTo>
                    <a:pt x="20404" y="10539"/>
                    <a:pt x="18946" y="4556"/>
                    <a:pt x="14806" y="1636"/>
                  </a:cubicBezTo>
                  <a:cubicBezTo>
                    <a:pt x="13228" y="534"/>
                    <a:pt x="11467" y="0"/>
                    <a:pt x="9725" y="0"/>
                  </a:cubicBezTo>
                  <a:close/>
                  <a:moveTo>
                    <a:pt x="1055" y="6182"/>
                  </a:moveTo>
                  <a:cubicBezTo>
                    <a:pt x="-1196" y="11058"/>
                    <a:pt x="262" y="17044"/>
                    <a:pt x="4402" y="19964"/>
                  </a:cubicBezTo>
                  <a:cubicBezTo>
                    <a:pt x="5983" y="21066"/>
                    <a:pt x="7747" y="21600"/>
                    <a:pt x="9491" y="21600"/>
                  </a:cubicBezTo>
                  <a:cubicBezTo>
                    <a:pt x="12357" y="21600"/>
                    <a:pt x="15170" y="20160"/>
                    <a:pt x="17023" y="17451"/>
                  </a:cubicBezTo>
                  <a:lnTo>
                    <a:pt x="1055" y="6182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82" name="Google Shape;315;p2"/>
            <p:cNvSpPr/>
            <p:nvPr/>
          </p:nvSpPr>
          <p:spPr>
            <a:xfrm>
              <a:off x="9686997" y="5890355"/>
              <a:ext cx="504526" cy="4910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63" y="0"/>
                  </a:moveTo>
                  <a:lnTo>
                    <a:pt x="3250" y="6214"/>
                  </a:lnTo>
                  <a:cubicBezTo>
                    <a:pt x="-140" y="8728"/>
                    <a:pt x="-1029" y="13755"/>
                    <a:pt x="1301" y="17455"/>
                  </a:cubicBezTo>
                  <a:lnTo>
                    <a:pt x="1682" y="18096"/>
                  </a:lnTo>
                  <a:cubicBezTo>
                    <a:pt x="3133" y="20368"/>
                    <a:pt x="5484" y="21600"/>
                    <a:pt x="7879" y="21600"/>
                  </a:cubicBezTo>
                  <a:cubicBezTo>
                    <a:pt x="9333" y="21600"/>
                    <a:pt x="10806" y="21147"/>
                    <a:pt x="12101" y="20195"/>
                  </a:cubicBezTo>
                  <a:lnTo>
                    <a:pt x="20571" y="13982"/>
                  </a:lnTo>
                  <a:lnTo>
                    <a:pt x="11763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83" name="Google Shape;316;p2"/>
            <p:cNvSpPr/>
            <p:nvPr/>
          </p:nvSpPr>
          <p:spPr>
            <a:xfrm>
              <a:off x="10020170" y="5686023"/>
              <a:ext cx="505521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2699" y="0"/>
                  </a:moveTo>
                  <a:cubicBezTo>
                    <a:pt x="11251" y="0"/>
                    <a:pt x="9785" y="456"/>
                    <a:pt x="8496" y="1398"/>
                  </a:cubicBezTo>
                  <a:lnTo>
                    <a:pt x="0" y="7644"/>
                  </a:lnTo>
                  <a:lnTo>
                    <a:pt x="8791" y="21600"/>
                  </a:lnTo>
                  <a:lnTo>
                    <a:pt x="17290" y="15354"/>
                  </a:lnTo>
                  <a:cubicBezTo>
                    <a:pt x="20712" y="12845"/>
                    <a:pt x="21600" y="7828"/>
                    <a:pt x="19275" y="4136"/>
                  </a:cubicBezTo>
                  <a:lnTo>
                    <a:pt x="18895" y="3543"/>
                  </a:lnTo>
                  <a:cubicBezTo>
                    <a:pt x="17446" y="1241"/>
                    <a:pt x="15092" y="0"/>
                    <a:pt x="1269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84" name="Google Shape;317;p2"/>
            <p:cNvSpPr/>
            <p:nvPr/>
          </p:nvSpPr>
          <p:spPr>
            <a:xfrm>
              <a:off x="9507804" y="6905031"/>
              <a:ext cx="932251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14" h="21600" extrusionOk="0">
                  <a:moveTo>
                    <a:pt x="10056" y="0"/>
                  </a:moveTo>
                  <a:cubicBezTo>
                    <a:pt x="9684" y="0"/>
                    <a:pt x="9352" y="275"/>
                    <a:pt x="9307" y="656"/>
                  </a:cubicBezTo>
                  <a:lnTo>
                    <a:pt x="8395" y="7688"/>
                  </a:lnTo>
                  <a:lnTo>
                    <a:pt x="1372" y="6774"/>
                  </a:lnTo>
                  <a:cubicBezTo>
                    <a:pt x="1330" y="6766"/>
                    <a:pt x="1288" y="6762"/>
                    <a:pt x="1248" y="6762"/>
                  </a:cubicBezTo>
                  <a:cubicBezTo>
                    <a:pt x="889" y="6762"/>
                    <a:pt x="575" y="7035"/>
                    <a:pt x="533" y="7423"/>
                  </a:cubicBezTo>
                  <a:lnTo>
                    <a:pt x="5" y="11399"/>
                  </a:lnTo>
                  <a:cubicBezTo>
                    <a:pt x="-43" y="11808"/>
                    <a:pt x="245" y="12194"/>
                    <a:pt x="654" y="12243"/>
                  </a:cubicBezTo>
                  <a:lnTo>
                    <a:pt x="654" y="12265"/>
                  </a:lnTo>
                  <a:lnTo>
                    <a:pt x="7676" y="13181"/>
                  </a:lnTo>
                  <a:lnTo>
                    <a:pt x="6742" y="20238"/>
                  </a:lnTo>
                  <a:cubicBezTo>
                    <a:pt x="6670" y="20649"/>
                    <a:pt x="6958" y="21009"/>
                    <a:pt x="7389" y="21082"/>
                  </a:cubicBezTo>
                  <a:lnTo>
                    <a:pt x="11345" y="21588"/>
                  </a:lnTo>
                  <a:cubicBezTo>
                    <a:pt x="11387" y="21596"/>
                    <a:pt x="11429" y="21600"/>
                    <a:pt x="11470" y="21600"/>
                  </a:cubicBezTo>
                  <a:cubicBezTo>
                    <a:pt x="11828" y="21600"/>
                    <a:pt x="12140" y="21329"/>
                    <a:pt x="12183" y="20963"/>
                  </a:cubicBezTo>
                  <a:lnTo>
                    <a:pt x="13119" y="13904"/>
                  </a:lnTo>
                  <a:lnTo>
                    <a:pt x="20142" y="14842"/>
                  </a:lnTo>
                  <a:cubicBezTo>
                    <a:pt x="20172" y="14846"/>
                    <a:pt x="20202" y="14848"/>
                    <a:pt x="20230" y="14848"/>
                  </a:cubicBezTo>
                  <a:cubicBezTo>
                    <a:pt x="20601" y="14848"/>
                    <a:pt x="20915" y="14573"/>
                    <a:pt x="20981" y="14193"/>
                  </a:cubicBezTo>
                  <a:lnTo>
                    <a:pt x="21509" y="10193"/>
                  </a:lnTo>
                  <a:cubicBezTo>
                    <a:pt x="21557" y="9784"/>
                    <a:pt x="21269" y="9400"/>
                    <a:pt x="20862" y="9351"/>
                  </a:cubicBezTo>
                  <a:lnTo>
                    <a:pt x="13838" y="8411"/>
                  </a:lnTo>
                  <a:lnTo>
                    <a:pt x="14772" y="1378"/>
                  </a:lnTo>
                  <a:cubicBezTo>
                    <a:pt x="14820" y="967"/>
                    <a:pt x="14532" y="583"/>
                    <a:pt x="14125" y="534"/>
                  </a:cubicBezTo>
                  <a:lnTo>
                    <a:pt x="10145" y="4"/>
                  </a:lnTo>
                  <a:cubicBezTo>
                    <a:pt x="10117" y="0"/>
                    <a:pt x="10087" y="0"/>
                    <a:pt x="1005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85" name="Google Shape;318;p2"/>
            <p:cNvSpPr/>
            <p:nvPr/>
          </p:nvSpPr>
          <p:spPr>
            <a:xfrm>
              <a:off x="8315400" y="8315369"/>
              <a:ext cx="933392" cy="11799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04" h="21600" extrusionOk="0">
                  <a:moveTo>
                    <a:pt x="8128" y="695"/>
                  </a:moveTo>
                  <a:cubicBezTo>
                    <a:pt x="8702" y="695"/>
                    <a:pt x="9265" y="971"/>
                    <a:pt x="9369" y="1588"/>
                  </a:cubicBezTo>
                  <a:cubicBezTo>
                    <a:pt x="9438" y="1910"/>
                    <a:pt x="9321" y="2215"/>
                    <a:pt x="9060" y="2463"/>
                  </a:cubicBezTo>
                  <a:lnTo>
                    <a:pt x="7495" y="2691"/>
                  </a:lnTo>
                  <a:cubicBezTo>
                    <a:pt x="7140" y="2538"/>
                    <a:pt x="6901" y="2273"/>
                    <a:pt x="6832" y="1968"/>
                  </a:cubicBezTo>
                  <a:cubicBezTo>
                    <a:pt x="6603" y="1169"/>
                    <a:pt x="7373" y="695"/>
                    <a:pt x="8128" y="695"/>
                  </a:cubicBezTo>
                  <a:close/>
                  <a:moveTo>
                    <a:pt x="15504" y="4386"/>
                  </a:moveTo>
                  <a:cubicBezTo>
                    <a:pt x="16016" y="4386"/>
                    <a:pt x="16472" y="4686"/>
                    <a:pt x="16575" y="5106"/>
                  </a:cubicBezTo>
                  <a:lnTo>
                    <a:pt x="19325" y="17200"/>
                  </a:lnTo>
                  <a:cubicBezTo>
                    <a:pt x="19421" y="17657"/>
                    <a:pt x="19041" y="18113"/>
                    <a:pt x="18473" y="18208"/>
                  </a:cubicBezTo>
                  <a:lnTo>
                    <a:pt x="5977" y="20033"/>
                  </a:lnTo>
                  <a:cubicBezTo>
                    <a:pt x="5920" y="20041"/>
                    <a:pt x="5862" y="20044"/>
                    <a:pt x="5804" y="20044"/>
                  </a:cubicBezTo>
                  <a:cubicBezTo>
                    <a:pt x="5278" y="20044"/>
                    <a:pt x="4806" y="19739"/>
                    <a:pt x="4721" y="19311"/>
                  </a:cubicBezTo>
                  <a:lnTo>
                    <a:pt x="1971" y="7216"/>
                  </a:lnTo>
                  <a:cubicBezTo>
                    <a:pt x="1851" y="6742"/>
                    <a:pt x="2256" y="6285"/>
                    <a:pt x="2847" y="6208"/>
                  </a:cubicBezTo>
                  <a:lnTo>
                    <a:pt x="4342" y="5999"/>
                  </a:lnTo>
                  <a:cubicBezTo>
                    <a:pt x="4404" y="6318"/>
                    <a:pt x="4783" y="6564"/>
                    <a:pt x="5197" y="6564"/>
                  </a:cubicBezTo>
                  <a:cubicBezTo>
                    <a:pt x="5251" y="6564"/>
                    <a:pt x="5306" y="6560"/>
                    <a:pt x="5362" y="6552"/>
                  </a:cubicBezTo>
                  <a:lnTo>
                    <a:pt x="13138" y="5429"/>
                  </a:lnTo>
                  <a:cubicBezTo>
                    <a:pt x="13588" y="5352"/>
                    <a:pt x="13921" y="4991"/>
                    <a:pt x="13825" y="4611"/>
                  </a:cubicBezTo>
                  <a:lnTo>
                    <a:pt x="15295" y="4402"/>
                  </a:lnTo>
                  <a:cubicBezTo>
                    <a:pt x="15365" y="4391"/>
                    <a:pt x="15434" y="4386"/>
                    <a:pt x="15504" y="4386"/>
                  </a:cubicBezTo>
                  <a:close/>
                  <a:moveTo>
                    <a:pt x="8090" y="0"/>
                  </a:moveTo>
                  <a:cubicBezTo>
                    <a:pt x="7965" y="0"/>
                    <a:pt x="7837" y="10"/>
                    <a:pt x="7708" y="29"/>
                  </a:cubicBezTo>
                  <a:cubicBezTo>
                    <a:pt x="6523" y="200"/>
                    <a:pt x="5740" y="1131"/>
                    <a:pt x="5977" y="2083"/>
                  </a:cubicBezTo>
                  <a:cubicBezTo>
                    <a:pt x="6025" y="2348"/>
                    <a:pt x="6190" y="2615"/>
                    <a:pt x="6404" y="2843"/>
                  </a:cubicBezTo>
                  <a:lnTo>
                    <a:pt x="4864" y="3071"/>
                  </a:lnTo>
                  <a:cubicBezTo>
                    <a:pt x="4223" y="3185"/>
                    <a:pt x="3797" y="3661"/>
                    <a:pt x="3914" y="4173"/>
                  </a:cubicBezTo>
                  <a:lnTo>
                    <a:pt x="4010" y="4611"/>
                  </a:lnTo>
                  <a:lnTo>
                    <a:pt x="1449" y="4991"/>
                  </a:lnTo>
                  <a:cubicBezTo>
                    <a:pt x="477" y="5143"/>
                    <a:pt x="-140" y="5886"/>
                    <a:pt x="27" y="6665"/>
                  </a:cubicBezTo>
                  <a:lnTo>
                    <a:pt x="3156" y="20432"/>
                  </a:lnTo>
                  <a:cubicBezTo>
                    <a:pt x="3323" y="21119"/>
                    <a:pt x="4062" y="21600"/>
                    <a:pt x="4900" y="21600"/>
                  </a:cubicBezTo>
                  <a:cubicBezTo>
                    <a:pt x="5014" y="21600"/>
                    <a:pt x="5127" y="21592"/>
                    <a:pt x="5243" y="21573"/>
                  </a:cubicBezTo>
                  <a:lnTo>
                    <a:pt x="19847" y="19444"/>
                  </a:lnTo>
                  <a:cubicBezTo>
                    <a:pt x="20819" y="19292"/>
                    <a:pt x="21460" y="18549"/>
                    <a:pt x="21271" y="17770"/>
                  </a:cubicBezTo>
                  <a:lnTo>
                    <a:pt x="18140" y="3983"/>
                  </a:lnTo>
                  <a:cubicBezTo>
                    <a:pt x="17995" y="3297"/>
                    <a:pt x="17258" y="2816"/>
                    <a:pt x="16420" y="2816"/>
                  </a:cubicBezTo>
                  <a:cubicBezTo>
                    <a:pt x="16308" y="2816"/>
                    <a:pt x="16193" y="2825"/>
                    <a:pt x="16077" y="2843"/>
                  </a:cubicBezTo>
                  <a:lnTo>
                    <a:pt x="13517" y="3223"/>
                  </a:lnTo>
                  <a:lnTo>
                    <a:pt x="13399" y="2785"/>
                  </a:lnTo>
                  <a:cubicBezTo>
                    <a:pt x="13294" y="2330"/>
                    <a:pt x="12816" y="2009"/>
                    <a:pt x="12260" y="2009"/>
                  </a:cubicBezTo>
                  <a:cubicBezTo>
                    <a:pt x="12190" y="2009"/>
                    <a:pt x="12119" y="2014"/>
                    <a:pt x="12047" y="2025"/>
                  </a:cubicBezTo>
                  <a:lnTo>
                    <a:pt x="10175" y="2292"/>
                  </a:lnTo>
                  <a:cubicBezTo>
                    <a:pt x="10269" y="2025"/>
                    <a:pt x="10293" y="1739"/>
                    <a:pt x="10221" y="1455"/>
                  </a:cubicBezTo>
                  <a:cubicBezTo>
                    <a:pt x="10052" y="607"/>
                    <a:pt x="9130" y="0"/>
                    <a:pt x="809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86" name="Google Shape;319;p2"/>
            <p:cNvSpPr/>
            <p:nvPr/>
          </p:nvSpPr>
          <p:spPr>
            <a:xfrm>
              <a:off x="8497016" y="8740782"/>
              <a:ext cx="135371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0" h="21600" extrusionOk="0">
                  <a:moveTo>
                    <a:pt x="9028" y="0"/>
                  </a:moveTo>
                  <a:cubicBezTo>
                    <a:pt x="8518" y="0"/>
                    <a:pt x="8008" y="56"/>
                    <a:pt x="7487" y="154"/>
                  </a:cubicBezTo>
                  <a:cubicBezTo>
                    <a:pt x="-509" y="1817"/>
                    <a:pt x="-2722" y="14134"/>
                    <a:pt x="3906" y="19629"/>
                  </a:cubicBezTo>
                  <a:cubicBezTo>
                    <a:pt x="5505" y="20985"/>
                    <a:pt x="7244" y="21600"/>
                    <a:pt x="8947" y="21600"/>
                  </a:cubicBezTo>
                  <a:cubicBezTo>
                    <a:pt x="14127" y="21600"/>
                    <a:pt x="18878" y="15966"/>
                    <a:pt x="17835" y="8808"/>
                  </a:cubicBezTo>
                  <a:cubicBezTo>
                    <a:pt x="16978" y="3607"/>
                    <a:pt x="13246" y="0"/>
                    <a:pt x="902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87" name="Google Shape;320;p2"/>
            <p:cNvSpPr/>
            <p:nvPr/>
          </p:nvSpPr>
          <p:spPr>
            <a:xfrm>
              <a:off x="8675951" y="8700998"/>
              <a:ext cx="307296" cy="1176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47" h="21600" extrusionOk="0">
                  <a:moveTo>
                    <a:pt x="17194" y="0"/>
                  </a:moveTo>
                  <a:cubicBezTo>
                    <a:pt x="16983" y="0"/>
                    <a:pt x="16761" y="80"/>
                    <a:pt x="16523" y="240"/>
                  </a:cubicBezTo>
                  <a:lnTo>
                    <a:pt x="16523" y="48"/>
                  </a:lnTo>
                  <a:lnTo>
                    <a:pt x="2115" y="7670"/>
                  </a:lnTo>
                  <a:cubicBezTo>
                    <a:pt x="-1026" y="8919"/>
                    <a:pt x="-432" y="21600"/>
                    <a:pt x="2343" y="21600"/>
                  </a:cubicBezTo>
                  <a:cubicBezTo>
                    <a:pt x="2543" y="21600"/>
                    <a:pt x="2753" y="21536"/>
                    <a:pt x="2975" y="21408"/>
                  </a:cubicBezTo>
                  <a:lnTo>
                    <a:pt x="17383" y="13962"/>
                  </a:lnTo>
                  <a:cubicBezTo>
                    <a:pt x="20574" y="13082"/>
                    <a:pt x="20002" y="0"/>
                    <a:pt x="1719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88" name="Google Shape;321;p2"/>
            <p:cNvSpPr/>
            <p:nvPr/>
          </p:nvSpPr>
          <p:spPr>
            <a:xfrm>
              <a:off x="8531607" y="8928537"/>
              <a:ext cx="135068" cy="135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39" h="21600" extrusionOk="0">
                  <a:moveTo>
                    <a:pt x="9126" y="0"/>
                  </a:moveTo>
                  <a:cubicBezTo>
                    <a:pt x="8582" y="0"/>
                    <a:pt x="8014" y="70"/>
                    <a:pt x="7446" y="195"/>
                  </a:cubicBezTo>
                  <a:cubicBezTo>
                    <a:pt x="-411" y="1856"/>
                    <a:pt x="-2763" y="14149"/>
                    <a:pt x="3865" y="19633"/>
                  </a:cubicBezTo>
                  <a:cubicBezTo>
                    <a:pt x="5464" y="20986"/>
                    <a:pt x="7203" y="21600"/>
                    <a:pt x="8906" y="21600"/>
                  </a:cubicBezTo>
                  <a:cubicBezTo>
                    <a:pt x="14086" y="21600"/>
                    <a:pt x="18837" y="15977"/>
                    <a:pt x="17794" y="8847"/>
                  </a:cubicBezTo>
                  <a:cubicBezTo>
                    <a:pt x="16948" y="3712"/>
                    <a:pt x="13298" y="0"/>
                    <a:pt x="912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89" name="Google Shape;322;p2"/>
            <p:cNvSpPr/>
            <p:nvPr/>
          </p:nvSpPr>
          <p:spPr>
            <a:xfrm>
              <a:off x="8714904" y="8889101"/>
              <a:ext cx="296392" cy="117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1" h="21600" extrusionOk="0">
                  <a:moveTo>
                    <a:pt x="17065" y="0"/>
                  </a:moveTo>
                  <a:cubicBezTo>
                    <a:pt x="16978" y="0"/>
                    <a:pt x="16886" y="16"/>
                    <a:pt x="16800" y="32"/>
                  </a:cubicBezTo>
                  <a:lnTo>
                    <a:pt x="1883" y="7462"/>
                  </a:lnTo>
                  <a:cubicBezTo>
                    <a:pt x="-1059" y="9895"/>
                    <a:pt x="-341" y="21600"/>
                    <a:pt x="2567" y="21600"/>
                  </a:cubicBezTo>
                  <a:cubicBezTo>
                    <a:pt x="2636" y="21600"/>
                    <a:pt x="2705" y="21584"/>
                    <a:pt x="2774" y="21568"/>
                  </a:cubicBezTo>
                  <a:lnTo>
                    <a:pt x="17685" y="13946"/>
                  </a:lnTo>
                  <a:cubicBezTo>
                    <a:pt x="20541" y="11545"/>
                    <a:pt x="19857" y="0"/>
                    <a:pt x="17065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90" name="Google Shape;323;p2"/>
            <p:cNvSpPr/>
            <p:nvPr/>
          </p:nvSpPr>
          <p:spPr>
            <a:xfrm>
              <a:off x="8568397" y="9129290"/>
              <a:ext cx="134655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10" h="21600" extrusionOk="0">
                  <a:moveTo>
                    <a:pt x="8984" y="0"/>
                  </a:moveTo>
                  <a:cubicBezTo>
                    <a:pt x="8482" y="0"/>
                    <a:pt x="7957" y="56"/>
                    <a:pt x="7444" y="154"/>
                  </a:cubicBezTo>
                  <a:cubicBezTo>
                    <a:pt x="-480" y="1817"/>
                    <a:pt x="-2697" y="14134"/>
                    <a:pt x="3826" y="19629"/>
                  </a:cubicBezTo>
                  <a:cubicBezTo>
                    <a:pt x="5483" y="20985"/>
                    <a:pt x="7257" y="21600"/>
                    <a:pt x="8972" y="21600"/>
                  </a:cubicBezTo>
                  <a:cubicBezTo>
                    <a:pt x="14212" y="21600"/>
                    <a:pt x="18903" y="15994"/>
                    <a:pt x="17864" y="8976"/>
                  </a:cubicBezTo>
                  <a:cubicBezTo>
                    <a:pt x="17118" y="3621"/>
                    <a:pt x="13267" y="0"/>
                    <a:pt x="898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91" name="Google Shape;324;p2"/>
            <p:cNvSpPr/>
            <p:nvPr/>
          </p:nvSpPr>
          <p:spPr>
            <a:xfrm>
              <a:off x="8751289" y="9089768"/>
              <a:ext cx="298096" cy="117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0" h="21600" extrusionOk="0">
                  <a:moveTo>
                    <a:pt x="16723" y="0"/>
                  </a:moveTo>
                  <a:lnTo>
                    <a:pt x="1875" y="7633"/>
                  </a:lnTo>
                  <a:cubicBezTo>
                    <a:pt x="-1032" y="9862"/>
                    <a:pt x="-351" y="21600"/>
                    <a:pt x="2493" y="21600"/>
                  </a:cubicBezTo>
                  <a:cubicBezTo>
                    <a:pt x="2578" y="21600"/>
                    <a:pt x="2670" y="21600"/>
                    <a:pt x="2762" y="21568"/>
                  </a:cubicBezTo>
                  <a:lnTo>
                    <a:pt x="17678" y="14127"/>
                  </a:lnTo>
                  <a:cubicBezTo>
                    <a:pt x="20568" y="11914"/>
                    <a:pt x="19916" y="144"/>
                    <a:pt x="17061" y="144"/>
                  </a:cubicBezTo>
                  <a:cubicBezTo>
                    <a:pt x="16952" y="144"/>
                    <a:pt x="16837" y="160"/>
                    <a:pt x="16723" y="192"/>
                  </a:cubicBezTo>
                  <a:lnTo>
                    <a:pt x="16723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92" name="Google Shape;325;p2"/>
            <p:cNvSpPr/>
            <p:nvPr/>
          </p:nvSpPr>
          <p:spPr>
            <a:xfrm>
              <a:off x="8429907" y="9965635"/>
              <a:ext cx="600951" cy="6061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55" h="21600" extrusionOk="0">
                  <a:moveTo>
                    <a:pt x="9821" y="0"/>
                  </a:moveTo>
                  <a:cubicBezTo>
                    <a:pt x="6936" y="0"/>
                    <a:pt x="4096" y="1449"/>
                    <a:pt x="2193" y="4138"/>
                  </a:cubicBezTo>
                  <a:lnTo>
                    <a:pt x="18235" y="15429"/>
                  </a:lnTo>
                  <a:cubicBezTo>
                    <a:pt x="20399" y="10542"/>
                    <a:pt x="19035" y="4582"/>
                    <a:pt x="14940" y="1660"/>
                  </a:cubicBezTo>
                  <a:cubicBezTo>
                    <a:pt x="13352" y="538"/>
                    <a:pt x="11580" y="0"/>
                    <a:pt x="9821" y="0"/>
                  </a:cubicBezTo>
                  <a:close/>
                  <a:moveTo>
                    <a:pt x="1060" y="6137"/>
                  </a:moveTo>
                  <a:cubicBezTo>
                    <a:pt x="-1201" y="11024"/>
                    <a:pt x="264" y="17021"/>
                    <a:pt x="4423" y="19943"/>
                  </a:cubicBezTo>
                  <a:cubicBezTo>
                    <a:pt x="6008" y="21062"/>
                    <a:pt x="7778" y="21600"/>
                    <a:pt x="9528" y="21600"/>
                  </a:cubicBezTo>
                  <a:cubicBezTo>
                    <a:pt x="12410" y="21600"/>
                    <a:pt x="15242" y="20145"/>
                    <a:pt x="17103" y="17428"/>
                  </a:cubicBezTo>
                  <a:lnTo>
                    <a:pt x="1060" y="6137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93" name="Google Shape;326;p2"/>
            <p:cNvSpPr/>
            <p:nvPr/>
          </p:nvSpPr>
          <p:spPr>
            <a:xfrm>
              <a:off x="9686259" y="8660777"/>
              <a:ext cx="505264" cy="4923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61" h="21600" extrusionOk="0">
                  <a:moveTo>
                    <a:pt x="11770" y="0"/>
                  </a:moveTo>
                  <a:lnTo>
                    <a:pt x="3275" y="6243"/>
                  </a:lnTo>
                  <a:cubicBezTo>
                    <a:pt x="-151" y="8750"/>
                    <a:pt x="-1039" y="13761"/>
                    <a:pt x="1329" y="17455"/>
                  </a:cubicBezTo>
                  <a:lnTo>
                    <a:pt x="1709" y="18090"/>
                  </a:lnTo>
                  <a:cubicBezTo>
                    <a:pt x="3165" y="20371"/>
                    <a:pt x="5525" y="21600"/>
                    <a:pt x="7925" y="21600"/>
                  </a:cubicBezTo>
                  <a:cubicBezTo>
                    <a:pt x="9367" y="21600"/>
                    <a:pt x="10826" y="21156"/>
                    <a:pt x="12108" y="20233"/>
                  </a:cubicBezTo>
                  <a:lnTo>
                    <a:pt x="20561" y="13990"/>
                  </a:lnTo>
                  <a:lnTo>
                    <a:pt x="11770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94" name="Google Shape;327;p2"/>
            <p:cNvSpPr/>
            <p:nvPr/>
          </p:nvSpPr>
          <p:spPr>
            <a:xfrm>
              <a:off x="10020170" y="8457493"/>
              <a:ext cx="505521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2699" y="0"/>
                  </a:moveTo>
                  <a:cubicBezTo>
                    <a:pt x="11251" y="0"/>
                    <a:pt x="9785" y="452"/>
                    <a:pt x="8496" y="1398"/>
                  </a:cubicBezTo>
                  <a:lnTo>
                    <a:pt x="0" y="7644"/>
                  </a:lnTo>
                  <a:lnTo>
                    <a:pt x="8791" y="21600"/>
                  </a:lnTo>
                  <a:lnTo>
                    <a:pt x="17290" y="15350"/>
                  </a:lnTo>
                  <a:cubicBezTo>
                    <a:pt x="20712" y="12845"/>
                    <a:pt x="21600" y="7828"/>
                    <a:pt x="19275" y="4178"/>
                  </a:cubicBezTo>
                  <a:lnTo>
                    <a:pt x="18895" y="3543"/>
                  </a:lnTo>
                  <a:cubicBezTo>
                    <a:pt x="17446" y="1241"/>
                    <a:pt x="15092" y="0"/>
                    <a:pt x="1269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95" name="Google Shape;328;p2"/>
            <p:cNvSpPr/>
            <p:nvPr/>
          </p:nvSpPr>
          <p:spPr>
            <a:xfrm>
              <a:off x="9507804" y="9676413"/>
              <a:ext cx="932251" cy="9322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14" h="21600" extrusionOk="0">
                  <a:moveTo>
                    <a:pt x="10056" y="0"/>
                  </a:moveTo>
                  <a:cubicBezTo>
                    <a:pt x="9684" y="0"/>
                    <a:pt x="9352" y="277"/>
                    <a:pt x="9307" y="655"/>
                  </a:cubicBezTo>
                  <a:lnTo>
                    <a:pt x="8395" y="7708"/>
                  </a:lnTo>
                  <a:lnTo>
                    <a:pt x="1372" y="6770"/>
                  </a:lnTo>
                  <a:cubicBezTo>
                    <a:pt x="1342" y="6766"/>
                    <a:pt x="1312" y="6764"/>
                    <a:pt x="1284" y="6764"/>
                  </a:cubicBezTo>
                  <a:cubicBezTo>
                    <a:pt x="909" y="6764"/>
                    <a:pt x="577" y="7039"/>
                    <a:pt x="533" y="7419"/>
                  </a:cubicBezTo>
                  <a:lnTo>
                    <a:pt x="5" y="11416"/>
                  </a:lnTo>
                  <a:cubicBezTo>
                    <a:pt x="-43" y="11824"/>
                    <a:pt x="245" y="12186"/>
                    <a:pt x="654" y="12257"/>
                  </a:cubicBezTo>
                  <a:lnTo>
                    <a:pt x="7676" y="13197"/>
                  </a:lnTo>
                  <a:lnTo>
                    <a:pt x="6742" y="20223"/>
                  </a:lnTo>
                  <a:cubicBezTo>
                    <a:pt x="6670" y="20634"/>
                    <a:pt x="6958" y="21018"/>
                    <a:pt x="7389" y="21066"/>
                  </a:cubicBezTo>
                  <a:lnTo>
                    <a:pt x="11369" y="21596"/>
                  </a:lnTo>
                  <a:cubicBezTo>
                    <a:pt x="11397" y="21600"/>
                    <a:pt x="11427" y="21600"/>
                    <a:pt x="11458" y="21600"/>
                  </a:cubicBezTo>
                  <a:cubicBezTo>
                    <a:pt x="11826" y="21600"/>
                    <a:pt x="12140" y="21325"/>
                    <a:pt x="12207" y="20945"/>
                  </a:cubicBezTo>
                  <a:lnTo>
                    <a:pt x="13119" y="13894"/>
                  </a:lnTo>
                  <a:lnTo>
                    <a:pt x="20142" y="14832"/>
                  </a:lnTo>
                  <a:cubicBezTo>
                    <a:pt x="20172" y="14836"/>
                    <a:pt x="20202" y="14838"/>
                    <a:pt x="20230" y="14838"/>
                  </a:cubicBezTo>
                  <a:cubicBezTo>
                    <a:pt x="20601" y="14838"/>
                    <a:pt x="20915" y="14561"/>
                    <a:pt x="20981" y="14183"/>
                  </a:cubicBezTo>
                  <a:lnTo>
                    <a:pt x="21509" y="10186"/>
                  </a:lnTo>
                  <a:cubicBezTo>
                    <a:pt x="21557" y="9778"/>
                    <a:pt x="21269" y="9392"/>
                    <a:pt x="20862" y="9346"/>
                  </a:cubicBezTo>
                  <a:lnTo>
                    <a:pt x="13838" y="8430"/>
                  </a:lnTo>
                  <a:lnTo>
                    <a:pt x="14772" y="1379"/>
                  </a:lnTo>
                  <a:cubicBezTo>
                    <a:pt x="14820" y="968"/>
                    <a:pt x="14532" y="584"/>
                    <a:pt x="14125" y="536"/>
                  </a:cubicBezTo>
                  <a:lnTo>
                    <a:pt x="10145" y="6"/>
                  </a:lnTo>
                  <a:cubicBezTo>
                    <a:pt x="10117" y="2"/>
                    <a:pt x="10087" y="0"/>
                    <a:pt x="1005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96" name="Google Shape;329;p2"/>
            <p:cNvSpPr/>
            <p:nvPr/>
          </p:nvSpPr>
          <p:spPr>
            <a:xfrm>
              <a:off x="8315434" y="11086838"/>
              <a:ext cx="933359" cy="11795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03" h="21600" extrusionOk="0">
                  <a:moveTo>
                    <a:pt x="8127" y="695"/>
                  </a:moveTo>
                  <a:cubicBezTo>
                    <a:pt x="8701" y="695"/>
                    <a:pt x="9264" y="971"/>
                    <a:pt x="9368" y="1588"/>
                  </a:cubicBezTo>
                  <a:cubicBezTo>
                    <a:pt x="9437" y="1892"/>
                    <a:pt x="9320" y="2216"/>
                    <a:pt x="9059" y="2464"/>
                  </a:cubicBezTo>
                  <a:lnTo>
                    <a:pt x="7494" y="2690"/>
                  </a:lnTo>
                  <a:cubicBezTo>
                    <a:pt x="7161" y="2539"/>
                    <a:pt x="6900" y="2291"/>
                    <a:pt x="6831" y="1987"/>
                  </a:cubicBezTo>
                  <a:lnTo>
                    <a:pt x="6831" y="1968"/>
                  </a:lnTo>
                  <a:cubicBezTo>
                    <a:pt x="6602" y="1169"/>
                    <a:pt x="7372" y="695"/>
                    <a:pt x="8127" y="695"/>
                  </a:cubicBezTo>
                  <a:close/>
                  <a:moveTo>
                    <a:pt x="15527" y="4387"/>
                  </a:moveTo>
                  <a:cubicBezTo>
                    <a:pt x="16039" y="4387"/>
                    <a:pt x="16491" y="4687"/>
                    <a:pt x="16574" y="5106"/>
                  </a:cubicBezTo>
                  <a:lnTo>
                    <a:pt x="19324" y="17186"/>
                  </a:lnTo>
                  <a:cubicBezTo>
                    <a:pt x="19444" y="17662"/>
                    <a:pt x="19040" y="18117"/>
                    <a:pt x="18448" y="18213"/>
                  </a:cubicBezTo>
                  <a:lnTo>
                    <a:pt x="5976" y="20039"/>
                  </a:lnTo>
                  <a:cubicBezTo>
                    <a:pt x="5915" y="20047"/>
                    <a:pt x="5855" y="20050"/>
                    <a:pt x="5795" y="20050"/>
                  </a:cubicBezTo>
                  <a:cubicBezTo>
                    <a:pt x="5271" y="20050"/>
                    <a:pt x="4805" y="19761"/>
                    <a:pt x="4720" y="19335"/>
                  </a:cubicBezTo>
                  <a:lnTo>
                    <a:pt x="1970" y="7237"/>
                  </a:lnTo>
                  <a:cubicBezTo>
                    <a:pt x="1850" y="6761"/>
                    <a:pt x="2255" y="6306"/>
                    <a:pt x="2846" y="6229"/>
                  </a:cubicBezTo>
                  <a:lnTo>
                    <a:pt x="4341" y="6020"/>
                  </a:lnTo>
                  <a:cubicBezTo>
                    <a:pt x="4403" y="6339"/>
                    <a:pt x="4764" y="6584"/>
                    <a:pt x="5174" y="6584"/>
                  </a:cubicBezTo>
                  <a:cubicBezTo>
                    <a:pt x="5228" y="6584"/>
                    <a:pt x="5281" y="6581"/>
                    <a:pt x="5337" y="6571"/>
                  </a:cubicBezTo>
                  <a:lnTo>
                    <a:pt x="13137" y="5430"/>
                  </a:lnTo>
                  <a:cubicBezTo>
                    <a:pt x="13611" y="5354"/>
                    <a:pt x="13920" y="4993"/>
                    <a:pt x="13824" y="4612"/>
                  </a:cubicBezTo>
                  <a:lnTo>
                    <a:pt x="15318" y="4403"/>
                  </a:lnTo>
                  <a:cubicBezTo>
                    <a:pt x="15387" y="4392"/>
                    <a:pt x="15457" y="4387"/>
                    <a:pt x="15527" y="4387"/>
                  </a:cubicBezTo>
                  <a:close/>
                  <a:moveTo>
                    <a:pt x="8089" y="0"/>
                  </a:moveTo>
                  <a:cubicBezTo>
                    <a:pt x="7964" y="0"/>
                    <a:pt x="7836" y="10"/>
                    <a:pt x="7707" y="29"/>
                  </a:cubicBezTo>
                  <a:cubicBezTo>
                    <a:pt x="6522" y="200"/>
                    <a:pt x="5739" y="1131"/>
                    <a:pt x="5976" y="2082"/>
                  </a:cubicBezTo>
                  <a:cubicBezTo>
                    <a:pt x="6024" y="2368"/>
                    <a:pt x="6189" y="2615"/>
                    <a:pt x="6403" y="2844"/>
                  </a:cubicBezTo>
                  <a:lnTo>
                    <a:pt x="4863" y="3072"/>
                  </a:lnTo>
                  <a:cubicBezTo>
                    <a:pt x="4222" y="3167"/>
                    <a:pt x="3796" y="3662"/>
                    <a:pt x="3913" y="4155"/>
                  </a:cubicBezTo>
                  <a:lnTo>
                    <a:pt x="4009" y="4612"/>
                  </a:lnTo>
                  <a:lnTo>
                    <a:pt x="1448" y="4993"/>
                  </a:lnTo>
                  <a:cubicBezTo>
                    <a:pt x="500" y="5125"/>
                    <a:pt x="-141" y="5868"/>
                    <a:pt x="26" y="6648"/>
                  </a:cubicBezTo>
                  <a:lnTo>
                    <a:pt x="3155" y="20439"/>
                  </a:lnTo>
                  <a:cubicBezTo>
                    <a:pt x="3324" y="21118"/>
                    <a:pt x="4081" y="21600"/>
                    <a:pt x="4933" y="21600"/>
                  </a:cubicBezTo>
                  <a:cubicBezTo>
                    <a:pt x="5034" y="21600"/>
                    <a:pt x="5138" y="21594"/>
                    <a:pt x="5242" y="21579"/>
                  </a:cubicBezTo>
                  <a:lnTo>
                    <a:pt x="19846" y="19430"/>
                  </a:lnTo>
                  <a:cubicBezTo>
                    <a:pt x="20818" y="19298"/>
                    <a:pt x="21459" y="18536"/>
                    <a:pt x="21270" y="17775"/>
                  </a:cubicBezTo>
                  <a:lnTo>
                    <a:pt x="18139" y="3984"/>
                  </a:lnTo>
                  <a:cubicBezTo>
                    <a:pt x="17994" y="3298"/>
                    <a:pt x="17257" y="2817"/>
                    <a:pt x="16419" y="2817"/>
                  </a:cubicBezTo>
                  <a:cubicBezTo>
                    <a:pt x="16307" y="2817"/>
                    <a:pt x="16192" y="2825"/>
                    <a:pt x="16076" y="2844"/>
                  </a:cubicBezTo>
                  <a:lnTo>
                    <a:pt x="13516" y="3224"/>
                  </a:lnTo>
                  <a:lnTo>
                    <a:pt x="13398" y="2767"/>
                  </a:lnTo>
                  <a:cubicBezTo>
                    <a:pt x="13291" y="2318"/>
                    <a:pt x="12793" y="1995"/>
                    <a:pt x="12225" y="1995"/>
                  </a:cubicBezTo>
                  <a:cubicBezTo>
                    <a:pt x="12165" y="1995"/>
                    <a:pt x="12106" y="1999"/>
                    <a:pt x="12046" y="2007"/>
                  </a:cubicBezTo>
                  <a:lnTo>
                    <a:pt x="10174" y="2291"/>
                  </a:lnTo>
                  <a:cubicBezTo>
                    <a:pt x="10268" y="2026"/>
                    <a:pt x="10292" y="1740"/>
                    <a:pt x="10220" y="1454"/>
                  </a:cubicBezTo>
                  <a:cubicBezTo>
                    <a:pt x="10051" y="607"/>
                    <a:pt x="9129" y="0"/>
                    <a:pt x="808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97" name="Google Shape;330;p2"/>
            <p:cNvSpPr/>
            <p:nvPr/>
          </p:nvSpPr>
          <p:spPr>
            <a:xfrm>
              <a:off x="8497016" y="11512252"/>
              <a:ext cx="135371" cy="1347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0" h="21600" extrusionOk="0">
                  <a:moveTo>
                    <a:pt x="8993" y="0"/>
                  </a:moveTo>
                  <a:cubicBezTo>
                    <a:pt x="8495" y="0"/>
                    <a:pt x="7985" y="56"/>
                    <a:pt x="7487" y="154"/>
                  </a:cubicBezTo>
                  <a:cubicBezTo>
                    <a:pt x="-509" y="1819"/>
                    <a:pt x="-2722" y="14144"/>
                    <a:pt x="3906" y="19641"/>
                  </a:cubicBezTo>
                  <a:cubicBezTo>
                    <a:pt x="5505" y="20998"/>
                    <a:pt x="7244" y="21600"/>
                    <a:pt x="8947" y="21600"/>
                  </a:cubicBezTo>
                  <a:cubicBezTo>
                    <a:pt x="14127" y="21600"/>
                    <a:pt x="18878" y="15962"/>
                    <a:pt x="17835" y="8813"/>
                  </a:cubicBezTo>
                  <a:cubicBezTo>
                    <a:pt x="16978" y="3609"/>
                    <a:pt x="13142" y="0"/>
                    <a:pt x="899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98" name="Google Shape;331;p2"/>
            <p:cNvSpPr/>
            <p:nvPr/>
          </p:nvSpPr>
          <p:spPr>
            <a:xfrm>
              <a:off x="8677481" y="11472643"/>
              <a:ext cx="304361" cy="1172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2" h="21600" extrusionOk="0">
                  <a:moveTo>
                    <a:pt x="17226" y="0"/>
                  </a:moveTo>
                  <a:cubicBezTo>
                    <a:pt x="17025" y="0"/>
                    <a:pt x="16812" y="64"/>
                    <a:pt x="16587" y="209"/>
                  </a:cubicBezTo>
                  <a:lnTo>
                    <a:pt x="2038" y="7666"/>
                  </a:lnTo>
                  <a:cubicBezTo>
                    <a:pt x="-1039" y="9289"/>
                    <a:pt x="-389" y="21600"/>
                    <a:pt x="2369" y="21600"/>
                  </a:cubicBezTo>
                  <a:cubicBezTo>
                    <a:pt x="2537" y="21600"/>
                    <a:pt x="2716" y="21552"/>
                    <a:pt x="2907" y="21439"/>
                  </a:cubicBezTo>
                  <a:lnTo>
                    <a:pt x="17389" y="13982"/>
                  </a:lnTo>
                  <a:cubicBezTo>
                    <a:pt x="20561" y="12729"/>
                    <a:pt x="20017" y="0"/>
                    <a:pt x="1722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099" name="Google Shape;332;p2"/>
            <p:cNvSpPr/>
            <p:nvPr/>
          </p:nvSpPr>
          <p:spPr>
            <a:xfrm>
              <a:off x="8531607" y="11700268"/>
              <a:ext cx="135068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39" h="21600" extrusionOk="0">
                  <a:moveTo>
                    <a:pt x="8987" y="0"/>
                  </a:moveTo>
                  <a:cubicBezTo>
                    <a:pt x="8477" y="0"/>
                    <a:pt x="7967" y="56"/>
                    <a:pt x="7446" y="154"/>
                  </a:cubicBezTo>
                  <a:cubicBezTo>
                    <a:pt x="-411" y="1817"/>
                    <a:pt x="-2763" y="14134"/>
                    <a:pt x="3865" y="19629"/>
                  </a:cubicBezTo>
                  <a:cubicBezTo>
                    <a:pt x="5464" y="20985"/>
                    <a:pt x="7203" y="21600"/>
                    <a:pt x="8906" y="21600"/>
                  </a:cubicBezTo>
                  <a:cubicBezTo>
                    <a:pt x="14086" y="21600"/>
                    <a:pt x="18837" y="15952"/>
                    <a:pt x="17794" y="8808"/>
                  </a:cubicBezTo>
                  <a:cubicBezTo>
                    <a:pt x="16937" y="3607"/>
                    <a:pt x="13205" y="0"/>
                    <a:pt x="898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00" name="Google Shape;333;p2"/>
            <p:cNvSpPr/>
            <p:nvPr/>
          </p:nvSpPr>
          <p:spPr>
            <a:xfrm>
              <a:off x="8714904" y="11660571"/>
              <a:ext cx="296392" cy="117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1" h="21600" extrusionOk="0">
                  <a:moveTo>
                    <a:pt x="17065" y="0"/>
                  </a:moveTo>
                  <a:cubicBezTo>
                    <a:pt x="16978" y="0"/>
                    <a:pt x="16886" y="0"/>
                    <a:pt x="16800" y="32"/>
                  </a:cubicBezTo>
                  <a:lnTo>
                    <a:pt x="1883" y="7467"/>
                  </a:lnTo>
                  <a:cubicBezTo>
                    <a:pt x="-1059" y="9887"/>
                    <a:pt x="-341" y="21600"/>
                    <a:pt x="2567" y="21600"/>
                  </a:cubicBezTo>
                  <a:cubicBezTo>
                    <a:pt x="2636" y="21600"/>
                    <a:pt x="2705" y="21600"/>
                    <a:pt x="2774" y="21584"/>
                  </a:cubicBezTo>
                  <a:lnTo>
                    <a:pt x="17685" y="13957"/>
                  </a:lnTo>
                  <a:cubicBezTo>
                    <a:pt x="20541" y="11553"/>
                    <a:pt x="19857" y="0"/>
                    <a:pt x="17065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01" name="Google Shape;334;p2"/>
            <p:cNvSpPr/>
            <p:nvPr/>
          </p:nvSpPr>
          <p:spPr>
            <a:xfrm>
              <a:off x="8568397" y="11900761"/>
              <a:ext cx="134673" cy="1357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03" h="21600" extrusionOk="0">
                  <a:moveTo>
                    <a:pt x="8933" y="0"/>
                  </a:moveTo>
                  <a:cubicBezTo>
                    <a:pt x="8443" y="0"/>
                    <a:pt x="7942" y="56"/>
                    <a:pt x="7440" y="153"/>
                  </a:cubicBezTo>
                  <a:cubicBezTo>
                    <a:pt x="-479" y="1805"/>
                    <a:pt x="-2695" y="14034"/>
                    <a:pt x="3825" y="19657"/>
                  </a:cubicBezTo>
                  <a:cubicBezTo>
                    <a:pt x="5469" y="21003"/>
                    <a:pt x="7242" y="21600"/>
                    <a:pt x="8956" y="21600"/>
                  </a:cubicBezTo>
                  <a:cubicBezTo>
                    <a:pt x="14193" y="21600"/>
                    <a:pt x="18905" y="16006"/>
                    <a:pt x="17855" y="8912"/>
                  </a:cubicBezTo>
                  <a:cubicBezTo>
                    <a:pt x="17109" y="3720"/>
                    <a:pt x="13237" y="0"/>
                    <a:pt x="893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02" name="Google Shape;335;p2"/>
            <p:cNvSpPr/>
            <p:nvPr/>
          </p:nvSpPr>
          <p:spPr>
            <a:xfrm>
              <a:off x="8750519" y="11860977"/>
              <a:ext cx="299613" cy="1180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61" h="21600" extrusionOk="0">
                  <a:moveTo>
                    <a:pt x="17034" y="0"/>
                  </a:moveTo>
                  <a:cubicBezTo>
                    <a:pt x="16926" y="0"/>
                    <a:pt x="16812" y="16"/>
                    <a:pt x="16698" y="48"/>
                  </a:cubicBezTo>
                  <a:lnTo>
                    <a:pt x="1916" y="7647"/>
                  </a:lnTo>
                  <a:cubicBezTo>
                    <a:pt x="-1006" y="9643"/>
                    <a:pt x="-385" y="21600"/>
                    <a:pt x="2417" y="21600"/>
                  </a:cubicBezTo>
                  <a:cubicBezTo>
                    <a:pt x="2537" y="21600"/>
                    <a:pt x="2668" y="21568"/>
                    <a:pt x="2799" y="21520"/>
                  </a:cubicBezTo>
                  <a:lnTo>
                    <a:pt x="17649" y="14113"/>
                  </a:lnTo>
                  <a:cubicBezTo>
                    <a:pt x="20594" y="11910"/>
                    <a:pt x="19939" y="0"/>
                    <a:pt x="1703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03" name="Google Shape;336;p2"/>
            <p:cNvSpPr/>
            <p:nvPr/>
          </p:nvSpPr>
          <p:spPr>
            <a:xfrm>
              <a:off x="8429907" y="12736145"/>
              <a:ext cx="602280" cy="6071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08" h="21600" extrusionOk="0">
                  <a:moveTo>
                    <a:pt x="9722" y="0"/>
                  </a:moveTo>
                  <a:cubicBezTo>
                    <a:pt x="6854" y="0"/>
                    <a:pt x="4038" y="1453"/>
                    <a:pt x="2182" y="4165"/>
                  </a:cubicBezTo>
                  <a:lnTo>
                    <a:pt x="18150" y="15439"/>
                  </a:lnTo>
                  <a:cubicBezTo>
                    <a:pt x="20404" y="10559"/>
                    <a:pt x="18946" y="4572"/>
                    <a:pt x="14806" y="1654"/>
                  </a:cubicBezTo>
                  <a:cubicBezTo>
                    <a:pt x="13228" y="537"/>
                    <a:pt x="11464" y="0"/>
                    <a:pt x="9722" y="0"/>
                  </a:cubicBezTo>
                  <a:close/>
                  <a:moveTo>
                    <a:pt x="1055" y="6161"/>
                  </a:moveTo>
                  <a:cubicBezTo>
                    <a:pt x="-1196" y="11041"/>
                    <a:pt x="262" y="17028"/>
                    <a:pt x="4402" y="19946"/>
                  </a:cubicBezTo>
                  <a:cubicBezTo>
                    <a:pt x="5980" y="21063"/>
                    <a:pt x="7741" y="21600"/>
                    <a:pt x="9483" y="21600"/>
                  </a:cubicBezTo>
                  <a:cubicBezTo>
                    <a:pt x="12352" y="21600"/>
                    <a:pt x="15170" y="20147"/>
                    <a:pt x="17023" y="17435"/>
                  </a:cubicBezTo>
                  <a:lnTo>
                    <a:pt x="1055" y="6161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04" name="Google Shape;337;p2"/>
            <p:cNvSpPr/>
            <p:nvPr/>
          </p:nvSpPr>
          <p:spPr>
            <a:xfrm>
              <a:off x="9686997" y="11433207"/>
              <a:ext cx="504526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63" y="0"/>
                  </a:moveTo>
                  <a:lnTo>
                    <a:pt x="3250" y="6250"/>
                  </a:lnTo>
                  <a:cubicBezTo>
                    <a:pt x="-140" y="8755"/>
                    <a:pt x="-1029" y="13772"/>
                    <a:pt x="1301" y="17464"/>
                  </a:cubicBezTo>
                  <a:lnTo>
                    <a:pt x="1682" y="18057"/>
                  </a:lnTo>
                  <a:cubicBezTo>
                    <a:pt x="3133" y="20359"/>
                    <a:pt x="5492" y="21600"/>
                    <a:pt x="7889" y="21600"/>
                  </a:cubicBezTo>
                  <a:cubicBezTo>
                    <a:pt x="9341" y="21600"/>
                    <a:pt x="10810" y="21148"/>
                    <a:pt x="12101" y="20202"/>
                  </a:cubicBezTo>
                  <a:lnTo>
                    <a:pt x="20571" y="13956"/>
                  </a:lnTo>
                  <a:lnTo>
                    <a:pt x="11763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05" name="Google Shape;338;p2"/>
            <p:cNvSpPr/>
            <p:nvPr/>
          </p:nvSpPr>
          <p:spPr>
            <a:xfrm>
              <a:off x="10020170" y="11228963"/>
              <a:ext cx="505521" cy="4919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2699" y="0"/>
                  </a:moveTo>
                  <a:cubicBezTo>
                    <a:pt x="11251" y="0"/>
                    <a:pt x="9785" y="452"/>
                    <a:pt x="8496" y="1398"/>
                  </a:cubicBezTo>
                  <a:lnTo>
                    <a:pt x="0" y="7646"/>
                  </a:lnTo>
                  <a:lnTo>
                    <a:pt x="8791" y="21600"/>
                  </a:lnTo>
                  <a:lnTo>
                    <a:pt x="17290" y="15353"/>
                  </a:lnTo>
                  <a:cubicBezTo>
                    <a:pt x="20712" y="12844"/>
                    <a:pt x="21600" y="7829"/>
                    <a:pt x="19275" y="4179"/>
                  </a:cubicBezTo>
                  <a:lnTo>
                    <a:pt x="18895" y="3543"/>
                  </a:lnTo>
                  <a:cubicBezTo>
                    <a:pt x="17446" y="1241"/>
                    <a:pt x="15092" y="0"/>
                    <a:pt x="1269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06" name="Google Shape;339;p2"/>
            <p:cNvSpPr/>
            <p:nvPr/>
          </p:nvSpPr>
          <p:spPr>
            <a:xfrm>
              <a:off x="9507804" y="12448668"/>
              <a:ext cx="931204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14" h="21600" extrusionOk="0">
                  <a:moveTo>
                    <a:pt x="10031" y="0"/>
                  </a:moveTo>
                  <a:cubicBezTo>
                    <a:pt x="9673" y="0"/>
                    <a:pt x="9360" y="273"/>
                    <a:pt x="9318" y="662"/>
                  </a:cubicBezTo>
                  <a:lnTo>
                    <a:pt x="8381" y="7696"/>
                  </a:lnTo>
                  <a:lnTo>
                    <a:pt x="1374" y="6756"/>
                  </a:lnTo>
                  <a:cubicBezTo>
                    <a:pt x="1344" y="6754"/>
                    <a:pt x="1314" y="6752"/>
                    <a:pt x="1285" y="6752"/>
                  </a:cubicBezTo>
                  <a:cubicBezTo>
                    <a:pt x="910" y="6752"/>
                    <a:pt x="578" y="7027"/>
                    <a:pt x="533" y="7407"/>
                  </a:cubicBezTo>
                  <a:lnTo>
                    <a:pt x="5" y="11405"/>
                  </a:lnTo>
                  <a:cubicBezTo>
                    <a:pt x="-43" y="11816"/>
                    <a:pt x="245" y="12200"/>
                    <a:pt x="654" y="12249"/>
                  </a:cubicBezTo>
                  <a:lnTo>
                    <a:pt x="7685" y="13187"/>
                  </a:lnTo>
                  <a:lnTo>
                    <a:pt x="6750" y="20222"/>
                  </a:lnTo>
                  <a:cubicBezTo>
                    <a:pt x="6677" y="20631"/>
                    <a:pt x="6966" y="21017"/>
                    <a:pt x="7397" y="21066"/>
                  </a:cubicBezTo>
                  <a:lnTo>
                    <a:pt x="11358" y="21596"/>
                  </a:lnTo>
                  <a:cubicBezTo>
                    <a:pt x="11388" y="21598"/>
                    <a:pt x="11416" y="21600"/>
                    <a:pt x="11446" y="21600"/>
                  </a:cubicBezTo>
                  <a:cubicBezTo>
                    <a:pt x="11819" y="21600"/>
                    <a:pt x="12152" y="21325"/>
                    <a:pt x="12196" y="20944"/>
                  </a:cubicBezTo>
                  <a:lnTo>
                    <a:pt x="13133" y="13912"/>
                  </a:lnTo>
                  <a:lnTo>
                    <a:pt x="20140" y="14826"/>
                  </a:lnTo>
                  <a:cubicBezTo>
                    <a:pt x="20180" y="14832"/>
                    <a:pt x="20221" y="14836"/>
                    <a:pt x="20259" y="14836"/>
                  </a:cubicBezTo>
                  <a:cubicBezTo>
                    <a:pt x="20620" y="14836"/>
                    <a:pt x="20938" y="14545"/>
                    <a:pt x="20981" y="14177"/>
                  </a:cubicBezTo>
                  <a:lnTo>
                    <a:pt x="21509" y="10201"/>
                  </a:lnTo>
                  <a:cubicBezTo>
                    <a:pt x="21557" y="9768"/>
                    <a:pt x="21269" y="9406"/>
                    <a:pt x="20862" y="9333"/>
                  </a:cubicBezTo>
                  <a:lnTo>
                    <a:pt x="13853" y="8419"/>
                  </a:lnTo>
                  <a:lnTo>
                    <a:pt x="14788" y="1384"/>
                  </a:lnTo>
                  <a:cubicBezTo>
                    <a:pt x="14837" y="951"/>
                    <a:pt x="14548" y="589"/>
                    <a:pt x="14141" y="518"/>
                  </a:cubicBezTo>
                  <a:lnTo>
                    <a:pt x="10156" y="12"/>
                  </a:lnTo>
                  <a:cubicBezTo>
                    <a:pt x="10116" y="4"/>
                    <a:pt x="10074" y="0"/>
                    <a:pt x="1003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07" name="Google Shape;340;p2"/>
            <p:cNvSpPr/>
            <p:nvPr/>
          </p:nvSpPr>
          <p:spPr>
            <a:xfrm>
              <a:off x="5543931" y="2093"/>
              <a:ext cx="933081" cy="11774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0" h="21600" extrusionOk="0">
                  <a:moveTo>
                    <a:pt x="8127" y="658"/>
                  </a:moveTo>
                  <a:cubicBezTo>
                    <a:pt x="8699" y="658"/>
                    <a:pt x="9266" y="933"/>
                    <a:pt x="9379" y="1552"/>
                  </a:cubicBezTo>
                  <a:cubicBezTo>
                    <a:pt x="9427" y="1876"/>
                    <a:pt x="9331" y="2181"/>
                    <a:pt x="9070" y="2428"/>
                  </a:cubicBezTo>
                  <a:lnTo>
                    <a:pt x="7503" y="2657"/>
                  </a:lnTo>
                  <a:cubicBezTo>
                    <a:pt x="7148" y="2505"/>
                    <a:pt x="6911" y="2237"/>
                    <a:pt x="6839" y="1933"/>
                  </a:cubicBezTo>
                  <a:cubicBezTo>
                    <a:pt x="6610" y="1133"/>
                    <a:pt x="7376" y="658"/>
                    <a:pt x="8127" y="658"/>
                  </a:cubicBezTo>
                  <a:close/>
                  <a:moveTo>
                    <a:pt x="15493" y="4361"/>
                  </a:moveTo>
                  <a:cubicBezTo>
                    <a:pt x="16018" y="4361"/>
                    <a:pt x="16486" y="4651"/>
                    <a:pt x="16570" y="5096"/>
                  </a:cubicBezTo>
                  <a:lnTo>
                    <a:pt x="19347" y="17197"/>
                  </a:lnTo>
                  <a:cubicBezTo>
                    <a:pt x="19443" y="17672"/>
                    <a:pt x="19064" y="18130"/>
                    <a:pt x="18446" y="18207"/>
                  </a:cubicBezTo>
                  <a:lnTo>
                    <a:pt x="5960" y="20036"/>
                  </a:lnTo>
                  <a:cubicBezTo>
                    <a:pt x="5890" y="20048"/>
                    <a:pt x="5821" y="20052"/>
                    <a:pt x="5753" y="20052"/>
                  </a:cubicBezTo>
                  <a:cubicBezTo>
                    <a:pt x="5241" y="20052"/>
                    <a:pt x="4786" y="19751"/>
                    <a:pt x="4702" y="19331"/>
                  </a:cubicBezTo>
                  <a:lnTo>
                    <a:pt x="1949" y="7212"/>
                  </a:lnTo>
                  <a:cubicBezTo>
                    <a:pt x="1832" y="6735"/>
                    <a:pt x="2234" y="6296"/>
                    <a:pt x="2828" y="6202"/>
                  </a:cubicBezTo>
                  <a:lnTo>
                    <a:pt x="4324" y="5992"/>
                  </a:lnTo>
                  <a:cubicBezTo>
                    <a:pt x="4385" y="6327"/>
                    <a:pt x="4740" y="6559"/>
                    <a:pt x="5149" y="6559"/>
                  </a:cubicBezTo>
                  <a:cubicBezTo>
                    <a:pt x="5205" y="6559"/>
                    <a:pt x="5262" y="6554"/>
                    <a:pt x="5320" y="6544"/>
                  </a:cubicBezTo>
                  <a:lnTo>
                    <a:pt x="13129" y="5402"/>
                  </a:lnTo>
                  <a:cubicBezTo>
                    <a:pt x="13603" y="5344"/>
                    <a:pt x="13912" y="4982"/>
                    <a:pt x="13817" y="4601"/>
                  </a:cubicBezTo>
                  <a:lnTo>
                    <a:pt x="15312" y="4372"/>
                  </a:lnTo>
                  <a:cubicBezTo>
                    <a:pt x="15374" y="4364"/>
                    <a:pt x="15434" y="4361"/>
                    <a:pt x="15493" y="4361"/>
                  </a:cubicBezTo>
                  <a:close/>
                  <a:moveTo>
                    <a:pt x="8101" y="0"/>
                  </a:moveTo>
                  <a:cubicBezTo>
                    <a:pt x="7976" y="0"/>
                    <a:pt x="7846" y="8"/>
                    <a:pt x="7717" y="27"/>
                  </a:cubicBezTo>
                  <a:cubicBezTo>
                    <a:pt x="6530" y="198"/>
                    <a:pt x="5747" y="1114"/>
                    <a:pt x="5984" y="2047"/>
                  </a:cubicBezTo>
                  <a:cubicBezTo>
                    <a:pt x="6032" y="2333"/>
                    <a:pt x="6174" y="2582"/>
                    <a:pt x="6389" y="2809"/>
                  </a:cubicBezTo>
                  <a:lnTo>
                    <a:pt x="4846" y="3038"/>
                  </a:lnTo>
                  <a:cubicBezTo>
                    <a:pt x="4228" y="3134"/>
                    <a:pt x="3801" y="3628"/>
                    <a:pt x="3919" y="4124"/>
                  </a:cubicBezTo>
                  <a:lnTo>
                    <a:pt x="4015" y="4582"/>
                  </a:lnTo>
                  <a:lnTo>
                    <a:pt x="1451" y="4963"/>
                  </a:lnTo>
                  <a:cubicBezTo>
                    <a:pt x="478" y="5096"/>
                    <a:pt x="-140" y="5840"/>
                    <a:pt x="27" y="6602"/>
                  </a:cubicBezTo>
                  <a:lnTo>
                    <a:pt x="3159" y="20417"/>
                  </a:lnTo>
                  <a:cubicBezTo>
                    <a:pt x="3331" y="21115"/>
                    <a:pt x="4068" y="21600"/>
                    <a:pt x="4918" y="21600"/>
                  </a:cubicBezTo>
                  <a:cubicBezTo>
                    <a:pt x="5019" y="21600"/>
                    <a:pt x="5121" y="21594"/>
                    <a:pt x="5225" y="21579"/>
                  </a:cubicBezTo>
                  <a:lnTo>
                    <a:pt x="19845" y="19427"/>
                  </a:lnTo>
                  <a:cubicBezTo>
                    <a:pt x="20820" y="19292"/>
                    <a:pt x="21460" y="18530"/>
                    <a:pt x="21295" y="17768"/>
                  </a:cubicBezTo>
                  <a:lnTo>
                    <a:pt x="18137" y="3972"/>
                  </a:lnTo>
                  <a:cubicBezTo>
                    <a:pt x="17989" y="3273"/>
                    <a:pt x="17234" y="2788"/>
                    <a:pt x="16380" y="2788"/>
                  </a:cubicBezTo>
                  <a:cubicBezTo>
                    <a:pt x="16279" y="2788"/>
                    <a:pt x="16175" y="2796"/>
                    <a:pt x="16071" y="2809"/>
                  </a:cubicBezTo>
                  <a:lnTo>
                    <a:pt x="13510" y="3191"/>
                  </a:lnTo>
                  <a:lnTo>
                    <a:pt x="13414" y="2753"/>
                  </a:lnTo>
                  <a:cubicBezTo>
                    <a:pt x="13308" y="2295"/>
                    <a:pt x="12830" y="1975"/>
                    <a:pt x="12276" y="1975"/>
                  </a:cubicBezTo>
                  <a:cubicBezTo>
                    <a:pt x="12204" y="1975"/>
                    <a:pt x="12132" y="1980"/>
                    <a:pt x="12060" y="1991"/>
                  </a:cubicBezTo>
                  <a:lnTo>
                    <a:pt x="10163" y="2257"/>
                  </a:lnTo>
                  <a:cubicBezTo>
                    <a:pt x="10280" y="1991"/>
                    <a:pt x="10304" y="1705"/>
                    <a:pt x="10232" y="1437"/>
                  </a:cubicBezTo>
                  <a:cubicBezTo>
                    <a:pt x="10043" y="591"/>
                    <a:pt x="9122" y="0"/>
                    <a:pt x="810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08" name="Google Shape;341;p2"/>
            <p:cNvSpPr/>
            <p:nvPr/>
          </p:nvSpPr>
          <p:spPr>
            <a:xfrm>
              <a:off x="5725477" y="425151"/>
              <a:ext cx="134600" cy="1348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06" h="21600" extrusionOk="0">
                  <a:moveTo>
                    <a:pt x="9063" y="0"/>
                  </a:moveTo>
                  <a:cubicBezTo>
                    <a:pt x="8506" y="0"/>
                    <a:pt x="7937" y="56"/>
                    <a:pt x="7368" y="196"/>
                  </a:cubicBezTo>
                  <a:cubicBezTo>
                    <a:pt x="-501" y="1858"/>
                    <a:pt x="-2718" y="14167"/>
                    <a:pt x="3921" y="19658"/>
                  </a:cubicBezTo>
                  <a:cubicBezTo>
                    <a:pt x="5511" y="20999"/>
                    <a:pt x="7229" y="21600"/>
                    <a:pt x="8912" y="21600"/>
                  </a:cubicBezTo>
                  <a:cubicBezTo>
                    <a:pt x="14112" y="21600"/>
                    <a:pt x="18882" y="15886"/>
                    <a:pt x="17733" y="8844"/>
                  </a:cubicBezTo>
                  <a:cubicBezTo>
                    <a:pt x="17002" y="3702"/>
                    <a:pt x="13264" y="0"/>
                    <a:pt x="906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09" name="Google Shape;342;p2"/>
            <p:cNvSpPr/>
            <p:nvPr/>
          </p:nvSpPr>
          <p:spPr>
            <a:xfrm>
              <a:off x="5906019" y="385803"/>
              <a:ext cx="303618" cy="1180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44" h="21600" extrusionOk="0">
                  <a:moveTo>
                    <a:pt x="17251" y="0"/>
                  </a:moveTo>
                  <a:cubicBezTo>
                    <a:pt x="17049" y="0"/>
                    <a:pt x="16841" y="64"/>
                    <a:pt x="16622" y="208"/>
                  </a:cubicBezTo>
                  <a:lnTo>
                    <a:pt x="2042" y="7807"/>
                  </a:lnTo>
                  <a:cubicBezTo>
                    <a:pt x="-1058" y="9243"/>
                    <a:pt x="-384" y="21600"/>
                    <a:pt x="2430" y="21600"/>
                  </a:cubicBezTo>
                  <a:cubicBezTo>
                    <a:pt x="2581" y="21600"/>
                    <a:pt x="2744" y="21568"/>
                    <a:pt x="2913" y="21488"/>
                  </a:cubicBezTo>
                  <a:lnTo>
                    <a:pt x="17425" y="13889"/>
                  </a:lnTo>
                  <a:cubicBezTo>
                    <a:pt x="20542" y="12644"/>
                    <a:pt x="19997" y="0"/>
                    <a:pt x="1725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10" name="Google Shape;343;p2"/>
            <p:cNvSpPr/>
            <p:nvPr/>
          </p:nvSpPr>
          <p:spPr>
            <a:xfrm>
              <a:off x="5759834" y="613429"/>
              <a:ext cx="135371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0" h="21600" extrusionOk="0">
                  <a:moveTo>
                    <a:pt x="9028" y="0"/>
                  </a:moveTo>
                  <a:cubicBezTo>
                    <a:pt x="8518" y="0"/>
                    <a:pt x="8008" y="42"/>
                    <a:pt x="7487" y="154"/>
                  </a:cubicBezTo>
                  <a:cubicBezTo>
                    <a:pt x="-509" y="1819"/>
                    <a:pt x="-2722" y="14144"/>
                    <a:pt x="3906" y="19641"/>
                  </a:cubicBezTo>
                  <a:cubicBezTo>
                    <a:pt x="5505" y="20998"/>
                    <a:pt x="7244" y="21600"/>
                    <a:pt x="8947" y="21600"/>
                  </a:cubicBezTo>
                  <a:cubicBezTo>
                    <a:pt x="14127" y="21600"/>
                    <a:pt x="18878" y="15962"/>
                    <a:pt x="17835" y="8813"/>
                  </a:cubicBezTo>
                  <a:cubicBezTo>
                    <a:pt x="16978" y="3609"/>
                    <a:pt x="13246" y="0"/>
                    <a:pt x="902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11" name="Google Shape;344;p2"/>
            <p:cNvSpPr/>
            <p:nvPr/>
          </p:nvSpPr>
          <p:spPr>
            <a:xfrm>
              <a:off x="5943250" y="573732"/>
              <a:ext cx="296516" cy="117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08" h="21600" extrusionOk="0">
                  <a:moveTo>
                    <a:pt x="16932" y="0"/>
                  </a:moveTo>
                  <a:cubicBezTo>
                    <a:pt x="16863" y="0"/>
                    <a:pt x="16794" y="16"/>
                    <a:pt x="16725" y="32"/>
                  </a:cubicBezTo>
                  <a:lnTo>
                    <a:pt x="1824" y="7659"/>
                  </a:lnTo>
                  <a:cubicBezTo>
                    <a:pt x="-1046" y="9903"/>
                    <a:pt x="-328" y="21600"/>
                    <a:pt x="2576" y="21600"/>
                  </a:cubicBezTo>
                  <a:cubicBezTo>
                    <a:pt x="2645" y="21600"/>
                    <a:pt x="2714" y="21600"/>
                    <a:pt x="2783" y="21584"/>
                  </a:cubicBezTo>
                  <a:lnTo>
                    <a:pt x="17684" y="13957"/>
                  </a:lnTo>
                  <a:cubicBezTo>
                    <a:pt x="20554" y="11713"/>
                    <a:pt x="19836" y="0"/>
                    <a:pt x="1693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12" name="Google Shape;345;p2"/>
            <p:cNvSpPr/>
            <p:nvPr/>
          </p:nvSpPr>
          <p:spPr>
            <a:xfrm>
              <a:off x="5796171" y="813921"/>
              <a:ext cx="135409" cy="1356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5" h="21600" extrusionOk="0">
                  <a:moveTo>
                    <a:pt x="9023" y="0"/>
                  </a:moveTo>
                  <a:cubicBezTo>
                    <a:pt x="8524" y="0"/>
                    <a:pt x="8003" y="42"/>
                    <a:pt x="7493" y="153"/>
                  </a:cubicBezTo>
                  <a:cubicBezTo>
                    <a:pt x="-514" y="1806"/>
                    <a:pt x="-2716" y="14043"/>
                    <a:pt x="3901" y="19669"/>
                  </a:cubicBezTo>
                  <a:cubicBezTo>
                    <a:pt x="5488" y="21003"/>
                    <a:pt x="7215" y="21600"/>
                    <a:pt x="8895" y="21600"/>
                  </a:cubicBezTo>
                  <a:cubicBezTo>
                    <a:pt x="14098" y="21600"/>
                    <a:pt x="18884" y="15919"/>
                    <a:pt x="17841" y="8918"/>
                  </a:cubicBezTo>
                  <a:cubicBezTo>
                    <a:pt x="16984" y="3598"/>
                    <a:pt x="13252" y="0"/>
                    <a:pt x="902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13" name="Google Shape;346;p2"/>
            <p:cNvSpPr/>
            <p:nvPr/>
          </p:nvSpPr>
          <p:spPr>
            <a:xfrm>
              <a:off x="5978296" y="774050"/>
              <a:ext cx="299313" cy="1190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6" h="21600" extrusionOk="0">
                  <a:moveTo>
                    <a:pt x="16996" y="0"/>
                  </a:moveTo>
                  <a:cubicBezTo>
                    <a:pt x="16894" y="0"/>
                    <a:pt x="16780" y="16"/>
                    <a:pt x="16672" y="63"/>
                  </a:cubicBezTo>
                  <a:lnTo>
                    <a:pt x="16740" y="63"/>
                  </a:lnTo>
                  <a:lnTo>
                    <a:pt x="1964" y="7601"/>
                  </a:lnTo>
                  <a:cubicBezTo>
                    <a:pt x="-1041" y="9596"/>
                    <a:pt x="-392" y="21600"/>
                    <a:pt x="2516" y="21600"/>
                  </a:cubicBezTo>
                  <a:cubicBezTo>
                    <a:pt x="2624" y="21600"/>
                    <a:pt x="2733" y="21584"/>
                    <a:pt x="2846" y="21552"/>
                  </a:cubicBezTo>
                  <a:lnTo>
                    <a:pt x="17616" y="14015"/>
                  </a:lnTo>
                  <a:cubicBezTo>
                    <a:pt x="20559" y="12004"/>
                    <a:pt x="19904" y="0"/>
                    <a:pt x="1699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14" name="Google Shape;347;p2"/>
            <p:cNvSpPr/>
            <p:nvPr/>
          </p:nvSpPr>
          <p:spPr>
            <a:xfrm>
              <a:off x="5657783" y="1649742"/>
              <a:ext cx="602934" cy="6076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199" h="21600" extrusionOk="0">
                  <a:moveTo>
                    <a:pt x="9723" y="0"/>
                  </a:moveTo>
                  <a:cubicBezTo>
                    <a:pt x="6862" y="0"/>
                    <a:pt x="4053" y="1439"/>
                    <a:pt x="2200" y="4146"/>
                  </a:cubicBezTo>
                  <a:lnTo>
                    <a:pt x="18144" y="15407"/>
                  </a:lnTo>
                  <a:cubicBezTo>
                    <a:pt x="20394" y="10535"/>
                    <a:pt x="18938" y="4553"/>
                    <a:pt x="14804" y="1634"/>
                  </a:cubicBezTo>
                  <a:cubicBezTo>
                    <a:pt x="13226" y="533"/>
                    <a:pt x="11465" y="0"/>
                    <a:pt x="9723" y="0"/>
                  </a:cubicBezTo>
                  <a:close/>
                  <a:moveTo>
                    <a:pt x="1078" y="6178"/>
                  </a:moveTo>
                  <a:cubicBezTo>
                    <a:pt x="-1206" y="11016"/>
                    <a:pt x="250" y="17032"/>
                    <a:pt x="4417" y="19950"/>
                  </a:cubicBezTo>
                  <a:cubicBezTo>
                    <a:pt x="5989" y="21063"/>
                    <a:pt x="7745" y="21600"/>
                    <a:pt x="9481" y="21600"/>
                  </a:cubicBezTo>
                  <a:cubicBezTo>
                    <a:pt x="12349" y="21600"/>
                    <a:pt x="15166" y="20139"/>
                    <a:pt x="17019" y="17401"/>
                  </a:cubicBezTo>
                  <a:lnTo>
                    <a:pt x="1078" y="6178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15" name="Google Shape;348;p2"/>
            <p:cNvSpPr/>
            <p:nvPr/>
          </p:nvSpPr>
          <p:spPr>
            <a:xfrm>
              <a:off x="6914537" y="346368"/>
              <a:ext cx="505603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78" y="0"/>
                  </a:moveTo>
                  <a:lnTo>
                    <a:pt x="3284" y="6246"/>
                  </a:lnTo>
                  <a:cubicBezTo>
                    <a:pt x="-142" y="8755"/>
                    <a:pt x="-1029" y="13772"/>
                    <a:pt x="1296" y="17464"/>
                  </a:cubicBezTo>
                  <a:lnTo>
                    <a:pt x="1676" y="18057"/>
                  </a:lnTo>
                  <a:cubicBezTo>
                    <a:pt x="3128" y="20359"/>
                    <a:pt x="5478" y="21600"/>
                    <a:pt x="7874" y="21600"/>
                  </a:cubicBezTo>
                  <a:cubicBezTo>
                    <a:pt x="9322" y="21600"/>
                    <a:pt x="10784" y="21144"/>
                    <a:pt x="12073" y="20202"/>
                  </a:cubicBezTo>
                  <a:lnTo>
                    <a:pt x="20571" y="13956"/>
                  </a:lnTo>
                  <a:lnTo>
                    <a:pt x="11778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16" name="Google Shape;349;p2"/>
            <p:cNvSpPr/>
            <p:nvPr/>
          </p:nvSpPr>
          <p:spPr>
            <a:xfrm>
              <a:off x="7248700" y="143171"/>
              <a:ext cx="505521" cy="4909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2678" y="0"/>
                  </a:moveTo>
                  <a:cubicBezTo>
                    <a:pt x="11230" y="0"/>
                    <a:pt x="9770" y="453"/>
                    <a:pt x="8496" y="1401"/>
                  </a:cubicBezTo>
                  <a:lnTo>
                    <a:pt x="0" y="7616"/>
                  </a:lnTo>
                  <a:lnTo>
                    <a:pt x="8794" y="21600"/>
                  </a:lnTo>
                  <a:lnTo>
                    <a:pt x="17290" y="15385"/>
                  </a:lnTo>
                  <a:cubicBezTo>
                    <a:pt x="20712" y="12871"/>
                    <a:pt x="21600" y="7842"/>
                    <a:pt x="19275" y="4142"/>
                  </a:cubicBezTo>
                  <a:lnTo>
                    <a:pt x="18852" y="3547"/>
                  </a:lnTo>
                  <a:cubicBezTo>
                    <a:pt x="17432" y="1240"/>
                    <a:pt x="15071" y="0"/>
                    <a:pt x="1267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17" name="Google Shape;350;p2"/>
            <p:cNvSpPr/>
            <p:nvPr/>
          </p:nvSpPr>
          <p:spPr>
            <a:xfrm>
              <a:off x="6737125" y="1362876"/>
              <a:ext cx="931461" cy="9303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6" h="21600" extrusionOk="0">
                  <a:moveTo>
                    <a:pt x="10020" y="0"/>
                  </a:moveTo>
                  <a:cubicBezTo>
                    <a:pt x="9650" y="0"/>
                    <a:pt x="9354" y="273"/>
                    <a:pt x="9289" y="662"/>
                  </a:cubicBezTo>
                  <a:lnTo>
                    <a:pt x="8377" y="7705"/>
                  </a:lnTo>
                  <a:lnTo>
                    <a:pt x="1379" y="6763"/>
                  </a:lnTo>
                  <a:cubicBezTo>
                    <a:pt x="1346" y="6759"/>
                    <a:pt x="1316" y="6759"/>
                    <a:pt x="1284" y="6759"/>
                  </a:cubicBezTo>
                  <a:cubicBezTo>
                    <a:pt x="895" y="6759"/>
                    <a:pt x="581" y="7035"/>
                    <a:pt x="515" y="7415"/>
                  </a:cubicBezTo>
                  <a:lnTo>
                    <a:pt x="11" y="11418"/>
                  </a:lnTo>
                  <a:cubicBezTo>
                    <a:pt x="-61" y="11827"/>
                    <a:pt x="227" y="12214"/>
                    <a:pt x="636" y="12262"/>
                  </a:cubicBezTo>
                  <a:lnTo>
                    <a:pt x="636" y="12238"/>
                  </a:lnTo>
                  <a:lnTo>
                    <a:pt x="7634" y="13178"/>
                  </a:lnTo>
                  <a:lnTo>
                    <a:pt x="6724" y="20221"/>
                  </a:lnTo>
                  <a:cubicBezTo>
                    <a:pt x="6652" y="20630"/>
                    <a:pt x="6964" y="21017"/>
                    <a:pt x="7371" y="21065"/>
                  </a:cubicBezTo>
                  <a:lnTo>
                    <a:pt x="11351" y="21596"/>
                  </a:lnTo>
                  <a:cubicBezTo>
                    <a:pt x="11381" y="21598"/>
                    <a:pt x="11409" y="21600"/>
                    <a:pt x="11440" y="21600"/>
                  </a:cubicBezTo>
                  <a:cubicBezTo>
                    <a:pt x="11810" y="21600"/>
                    <a:pt x="12122" y="21325"/>
                    <a:pt x="12191" y="20944"/>
                  </a:cubicBezTo>
                  <a:lnTo>
                    <a:pt x="13101" y="13901"/>
                  </a:lnTo>
                  <a:lnTo>
                    <a:pt x="20124" y="14843"/>
                  </a:lnTo>
                  <a:cubicBezTo>
                    <a:pt x="20154" y="14847"/>
                    <a:pt x="20184" y="14847"/>
                    <a:pt x="20212" y="14847"/>
                  </a:cubicBezTo>
                  <a:cubicBezTo>
                    <a:pt x="20583" y="14847"/>
                    <a:pt x="20897" y="14571"/>
                    <a:pt x="20963" y="14191"/>
                  </a:cubicBezTo>
                  <a:lnTo>
                    <a:pt x="21491" y="10188"/>
                  </a:lnTo>
                  <a:cubicBezTo>
                    <a:pt x="21539" y="9777"/>
                    <a:pt x="21251" y="9392"/>
                    <a:pt x="20844" y="9344"/>
                  </a:cubicBezTo>
                  <a:lnTo>
                    <a:pt x="13820" y="8404"/>
                  </a:lnTo>
                  <a:lnTo>
                    <a:pt x="14754" y="1361"/>
                  </a:lnTo>
                  <a:cubicBezTo>
                    <a:pt x="14802" y="952"/>
                    <a:pt x="14514" y="565"/>
                    <a:pt x="14107" y="517"/>
                  </a:cubicBezTo>
                  <a:lnTo>
                    <a:pt x="10151" y="10"/>
                  </a:lnTo>
                  <a:cubicBezTo>
                    <a:pt x="10107" y="4"/>
                    <a:pt x="10065" y="0"/>
                    <a:pt x="1002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18" name="Google Shape;351;p2"/>
            <p:cNvSpPr/>
            <p:nvPr/>
          </p:nvSpPr>
          <p:spPr>
            <a:xfrm>
              <a:off x="5543673" y="2773476"/>
              <a:ext cx="933339" cy="11786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05" h="21600" extrusionOk="0">
                  <a:moveTo>
                    <a:pt x="8117" y="662"/>
                  </a:moveTo>
                  <a:cubicBezTo>
                    <a:pt x="8692" y="662"/>
                    <a:pt x="9262" y="942"/>
                    <a:pt x="9375" y="1570"/>
                  </a:cubicBezTo>
                  <a:cubicBezTo>
                    <a:pt x="9423" y="1876"/>
                    <a:pt x="9328" y="2199"/>
                    <a:pt x="9067" y="2427"/>
                  </a:cubicBezTo>
                  <a:lnTo>
                    <a:pt x="7501" y="2675"/>
                  </a:lnTo>
                  <a:cubicBezTo>
                    <a:pt x="7147" y="2523"/>
                    <a:pt x="6910" y="2256"/>
                    <a:pt x="6838" y="1933"/>
                  </a:cubicBezTo>
                  <a:cubicBezTo>
                    <a:pt x="6609" y="1135"/>
                    <a:pt x="7368" y="662"/>
                    <a:pt x="8117" y="662"/>
                  </a:cubicBezTo>
                  <a:close/>
                  <a:moveTo>
                    <a:pt x="15519" y="4371"/>
                  </a:moveTo>
                  <a:cubicBezTo>
                    <a:pt x="16029" y="4371"/>
                    <a:pt x="16479" y="4659"/>
                    <a:pt x="16583" y="5093"/>
                  </a:cubicBezTo>
                  <a:lnTo>
                    <a:pt x="19333" y="17182"/>
                  </a:lnTo>
                  <a:cubicBezTo>
                    <a:pt x="19429" y="17657"/>
                    <a:pt x="19050" y="18114"/>
                    <a:pt x="18433" y="18191"/>
                  </a:cubicBezTo>
                  <a:lnTo>
                    <a:pt x="5960" y="20019"/>
                  </a:lnTo>
                  <a:cubicBezTo>
                    <a:pt x="5890" y="20030"/>
                    <a:pt x="5821" y="20035"/>
                    <a:pt x="5753" y="20035"/>
                  </a:cubicBezTo>
                  <a:cubicBezTo>
                    <a:pt x="5241" y="20035"/>
                    <a:pt x="4787" y="19734"/>
                    <a:pt x="4703" y="19314"/>
                  </a:cubicBezTo>
                  <a:lnTo>
                    <a:pt x="1953" y="7226"/>
                  </a:lnTo>
                  <a:cubicBezTo>
                    <a:pt x="1859" y="6749"/>
                    <a:pt x="2262" y="6292"/>
                    <a:pt x="2855" y="6217"/>
                  </a:cubicBezTo>
                  <a:lnTo>
                    <a:pt x="4325" y="5988"/>
                  </a:lnTo>
                  <a:cubicBezTo>
                    <a:pt x="4411" y="6332"/>
                    <a:pt x="4787" y="6567"/>
                    <a:pt x="5207" y="6567"/>
                  </a:cubicBezTo>
                  <a:cubicBezTo>
                    <a:pt x="5253" y="6567"/>
                    <a:pt x="5299" y="6564"/>
                    <a:pt x="5345" y="6559"/>
                  </a:cubicBezTo>
                  <a:lnTo>
                    <a:pt x="13121" y="5416"/>
                  </a:lnTo>
                  <a:cubicBezTo>
                    <a:pt x="13595" y="5340"/>
                    <a:pt x="13904" y="4979"/>
                    <a:pt x="13832" y="4597"/>
                  </a:cubicBezTo>
                  <a:lnTo>
                    <a:pt x="15302" y="4389"/>
                  </a:lnTo>
                  <a:cubicBezTo>
                    <a:pt x="15376" y="4376"/>
                    <a:pt x="15448" y="4371"/>
                    <a:pt x="15519" y="4371"/>
                  </a:cubicBezTo>
                  <a:close/>
                  <a:moveTo>
                    <a:pt x="8099" y="0"/>
                  </a:moveTo>
                  <a:cubicBezTo>
                    <a:pt x="7973" y="0"/>
                    <a:pt x="7844" y="10"/>
                    <a:pt x="7714" y="29"/>
                  </a:cubicBezTo>
                  <a:cubicBezTo>
                    <a:pt x="6530" y="200"/>
                    <a:pt x="5747" y="1114"/>
                    <a:pt x="5984" y="2066"/>
                  </a:cubicBezTo>
                  <a:cubicBezTo>
                    <a:pt x="6032" y="2333"/>
                    <a:pt x="6173" y="2598"/>
                    <a:pt x="6388" y="2827"/>
                  </a:cubicBezTo>
                  <a:lnTo>
                    <a:pt x="4847" y="3056"/>
                  </a:lnTo>
                  <a:cubicBezTo>
                    <a:pt x="4229" y="3151"/>
                    <a:pt x="3803" y="3646"/>
                    <a:pt x="3921" y="4160"/>
                  </a:cubicBezTo>
                  <a:lnTo>
                    <a:pt x="4016" y="4597"/>
                  </a:lnTo>
                  <a:lnTo>
                    <a:pt x="1455" y="4979"/>
                  </a:lnTo>
                  <a:cubicBezTo>
                    <a:pt x="483" y="5112"/>
                    <a:pt x="-156" y="5854"/>
                    <a:pt x="33" y="6634"/>
                  </a:cubicBezTo>
                  <a:lnTo>
                    <a:pt x="3162" y="20418"/>
                  </a:lnTo>
                  <a:cubicBezTo>
                    <a:pt x="3311" y="21116"/>
                    <a:pt x="4066" y="21600"/>
                    <a:pt x="4918" y="21600"/>
                  </a:cubicBezTo>
                  <a:cubicBezTo>
                    <a:pt x="5020" y="21600"/>
                    <a:pt x="5122" y="21594"/>
                    <a:pt x="5225" y="21579"/>
                  </a:cubicBezTo>
                  <a:lnTo>
                    <a:pt x="19831" y="19427"/>
                  </a:lnTo>
                  <a:cubicBezTo>
                    <a:pt x="20805" y="19294"/>
                    <a:pt x="21444" y="18552"/>
                    <a:pt x="21279" y="17772"/>
                  </a:cubicBezTo>
                  <a:lnTo>
                    <a:pt x="18124" y="3970"/>
                  </a:lnTo>
                  <a:cubicBezTo>
                    <a:pt x="17979" y="3281"/>
                    <a:pt x="17242" y="2800"/>
                    <a:pt x="16403" y="2800"/>
                  </a:cubicBezTo>
                  <a:cubicBezTo>
                    <a:pt x="16292" y="2800"/>
                    <a:pt x="16176" y="2809"/>
                    <a:pt x="16061" y="2827"/>
                  </a:cubicBezTo>
                  <a:lnTo>
                    <a:pt x="13502" y="3188"/>
                  </a:lnTo>
                  <a:lnTo>
                    <a:pt x="13406" y="2752"/>
                  </a:lnTo>
                  <a:cubicBezTo>
                    <a:pt x="13299" y="2288"/>
                    <a:pt x="12807" y="1978"/>
                    <a:pt x="12241" y="1978"/>
                  </a:cubicBezTo>
                  <a:cubicBezTo>
                    <a:pt x="12179" y="1978"/>
                    <a:pt x="12118" y="1983"/>
                    <a:pt x="12054" y="1989"/>
                  </a:cubicBezTo>
                  <a:lnTo>
                    <a:pt x="10158" y="2275"/>
                  </a:lnTo>
                  <a:cubicBezTo>
                    <a:pt x="10276" y="1989"/>
                    <a:pt x="10299" y="1704"/>
                    <a:pt x="10228" y="1437"/>
                  </a:cubicBezTo>
                  <a:cubicBezTo>
                    <a:pt x="10039" y="592"/>
                    <a:pt x="9118" y="0"/>
                    <a:pt x="809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19" name="Google Shape;352;p2"/>
            <p:cNvSpPr/>
            <p:nvPr/>
          </p:nvSpPr>
          <p:spPr>
            <a:xfrm>
              <a:off x="5725477" y="3196883"/>
              <a:ext cx="134608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07" h="21600" extrusionOk="0">
                  <a:moveTo>
                    <a:pt x="8912" y="0"/>
                  </a:moveTo>
                  <a:cubicBezTo>
                    <a:pt x="8401" y="0"/>
                    <a:pt x="7890" y="42"/>
                    <a:pt x="7368" y="154"/>
                  </a:cubicBezTo>
                  <a:cubicBezTo>
                    <a:pt x="-501" y="1819"/>
                    <a:pt x="-2718" y="14144"/>
                    <a:pt x="3921" y="19641"/>
                  </a:cubicBezTo>
                  <a:cubicBezTo>
                    <a:pt x="5523" y="20998"/>
                    <a:pt x="7264" y="21600"/>
                    <a:pt x="8970" y="21600"/>
                  </a:cubicBezTo>
                  <a:cubicBezTo>
                    <a:pt x="14146" y="21600"/>
                    <a:pt x="18882" y="15962"/>
                    <a:pt x="17733" y="8813"/>
                  </a:cubicBezTo>
                  <a:cubicBezTo>
                    <a:pt x="17002" y="3609"/>
                    <a:pt x="13172" y="0"/>
                    <a:pt x="891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20" name="Google Shape;353;p2"/>
            <p:cNvSpPr/>
            <p:nvPr/>
          </p:nvSpPr>
          <p:spPr>
            <a:xfrm>
              <a:off x="5905244" y="3157011"/>
              <a:ext cx="304311" cy="1188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89" h="21600" extrusionOk="0">
                  <a:moveTo>
                    <a:pt x="17295" y="0"/>
                  </a:moveTo>
                  <a:cubicBezTo>
                    <a:pt x="17076" y="0"/>
                    <a:pt x="16846" y="79"/>
                    <a:pt x="16604" y="238"/>
                  </a:cubicBezTo>
                  <a:lnTo>
                    <a:pt x="16672" y="238"/>
                  </a:lnTo>
                  <a:lnTo>
                    <a:pt x="2092" y="7803"/>
                  </a:lnTo>
                  <a:cubicBezTo>
                    <a:pt x="-1025" y="9024"/>
                    <a:pt x="-418" y="21600"/>
                    <a:pt x="2334" y="21600"/>
                  </a:cubicBezTo>
                  <a:cubicBezTo>
                    <a:pt x="2530" y="21600"/>
                    <a:pt x="2743" y="21537"/>
                    <a:pt x="2963" y="21394"/>
                  </a:cubicBezTo>
                  <a:lnTo>
                    <a:pt x="17475" y="13845"/>
                  </a:lnTo>
                  <a:cubicBezTo>
                    <a:pt x="20575" y="12433"/>
                    <a:pt x="20053" y="0"/>
                    <a:pt x="17295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21" name="Google Shape;354;p2"/>
            <p:cNvSpPr/>
            <p:nvPr/>
          </p:nvSpPr>
          <p:spPr>
            <a:xfrm>
              <a:off x="5759834" y="3384899"/>
              <a:ext cx="135371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0" h="21600" extrusionOk="0">
                  <a:moveTo>
                    <a:pt x="9017" y="0"/>
                  </a:moveTo>
                  <a:cubicBezTo>
                    <a:pt x="8518" y="0"/>
                    <a:pt x="8008" y="42"/>
                    <a:pt x="7487" y="154"/>
                  </a:cubicBezTo>
                  <a:cubicBezTo>
                    <a:pt x="-509" y="1819"/>
                    <a:pt x="-2722" y="14144"/>
                    <a:pt x="3906" y="19641"/>
                  </a:cubicBezTo>
                  <a:cubicBezTo>
                    <a:pt x="5505" y="20998"/>
                    <a:pt x="7255" y="21600"/>
                    <a:pt x="8959" y="21600"/>
                  </a:cubicBezTo>
                  <a:cubicBezTo>
                    <a:pt x="14127" y="21600"/>
                    <a:pt x="18878" y="16004"/>
                    <a:pt x="17835" y="8981"/>
                  </a:cubicBezTo>
                  <a:cubicBezTo>
                    <a:pt x="16978" y="3623"/>
                    <a:pt x="13246" y="0"/>
                    <a:pt x="901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22" name="Google Shape;355;p2"/>
            <p:cNvSpPr/>
            <p:nvPr/>
          </p:nvSpPr>
          <p:spPr>
            <a:xfrm>
              <a:off x="5943257" y="3345202"/>
              <a:ext cx="296509" cy="1176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9" h="21600" extrusionOk="0">
                  <a:moveTo>
                    <a:pt x="16950" y="0"/>
                  </a:moveTo>
                  <a:cubicBezTo>
                    <a:pt x="16881" y="0"/>
                    <a:pt x="16812" y="16"/>
                    <a:pt x="16743" y="32"/>
                  </a:cubicBezTo>
                  <a:lnTo>
                    <a:pt x="1826" y="7654"/>
                  </a:lnTo>
                  <a:cubicBezTo>
                    <a:pt x="-1024" y="10055"/>
                    <a:pt x="-340" y="21600"/>
                    <a:pt x="2516" y="21600"/>
                  </a:cubicBezTo>
                  <a:cubicBezTo>
                    <a:pt x="2602" y="21600"/>
                    <a:pt x="2694" y="21584"/>
                    <a:pt x="2786" y="21568"/>
                  </a:cubicBezTo>
                  <a:lnTo>
                    <a:pt x="17703" y="14138"/>
                  </a:lnTo>
                  <a:cubicBezTo>
                    <a:pt x="20576" y="11705"/>
                    <a:pt x="19858" y="0"/>
                    <a:pt x="1695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23" name="Google Shape;356;p2"/>
            <p:cNvSpPr/>
            <p:nvPr/>
          </p:nvSpPr>
          <p:spPr>
            <a:xfrm>
              <a:off x="5796171" y="3586351"/>
              <a:ext cx="135415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6" h="21600" extrusionOk="0">
                  <a:moveTo>
                    <a:pt x="9023" y="0"/>
                  </a:moveTo>
                  <a:cubicBezTo>
                    <a:pt x="8524" y="0"/>
                    <a:pt x="8014" y="56"/>
                    <a:pt x="7493" y="168"/>
                  </a:cubicBezTo>
                  <a:cubicBezTo>
                    <a:pt x="-514" y="1831"/>
                    <a:pt x="-2716" y="14148"/>
                    <a:pt x="3901" y="19643"/>
                  </a:cubicBezTo>
                  <a:cubicBezTo>
                    <a:pt x="5511" y="20999"/>
                    <a:pt x="7250" y="21600"/>
                    <a:pt x="8953" y="21600"/>
                  </a:cubicBezTo>
                  <a:cubicBezTo>
                    <a:pt x="14133" y="21600"/>
                    <a:pt x="18884" y="15966"/>
                    <a:pt x="17841" y="8822"/>
                  </a:cubicBezTo>
                  <a:cubicBezTo>
                    <a:pt x="16984" y="3621"/>
                    <a:pt x="13252" y="0"/>
                    <a:pt x="902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24" name="Google Shape;357;p2"/>
            <p:cNvSpPr/>
            <p:nvPr/>
          </p:nvSpPr>
          <p:spPr>
            <a:xfrm>
              <a:off x="5979044" y="3545607"/>
              <a:ext cx="297911" cy="1188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17" h="21600" extrusionOk="0">
                  <a:moveTo>
                    <a:pt x="17024" y="0"/>
                  </a:moveTo>
                  <a:cubicBezTo>
                    <a:pt x="16939" y="0"/>
                    <a:pt x="16847" y="16"/>
                    <a:pt x="16761" y="32"/>
                  </a:cubicBezTo>
                  <a:lnTo>
                    <a:pt x="16761" y="222"/>
                  </a:lnTo>
                  <a:lnTo>
                    <a:pt x="1923" y="7596"/>
                  </a:lnTo>
                  <a:cubicBezTo>
                    <a:pt x="-1049" y="9785"/>
                    <a:pt x="-369" y="21600"/>
                    <a:pt x="2541" y="21600"/>
                  </a:cubicBezTo>
                  <a:cubicBezTo>
                    <a:pt x="2626" y="21600"/>
                    <a:pt x="2718" y="21584"/>
                    <a:pt x="2809" y="21568"/>
                  </a:cubicBezTo>
                  <a:lnTo>
                    <a:pt x="17642" y="14004"/>
                  </a:lnTo>
                  <a:cubicBezTo>
                    <a:pt x="20551" y="11625"/>
                    <a:pt x="19865" y="0"/>
                    <a:pt x="1702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25" name="Google Shape;358;p2"/>
            <p:cNvSpPr/>
            <p:nvPr/>
          </p:nvSpPr>
          <p:spPr>
            <a:xfrm>
              <a:off x="5659791" y="4421473"/>
              <a:ext cx="600927" cy="60592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54" h="21600" extrusionOk="0">
                  <a:moveTo>
                    <a:pt x="9752" y="0"/>
                  </a:moveTo>
                  <a:cubicBezTo>
                    <a:pt x="6859" y="0"/>
                    <a:pt x="4019" y="1459"/>
                    <a:pt x="2149" y="4186"/>
                  </a:cubicBezTo>
                  <a:lnTo>
                    <a:pt x="18192" y="15442"/>
                  </a:lnTo>
                  <a:cubicBezTo>
                    <a:pt x="20456" y="10556"/>
                    <a:pt x="18991" y="4556"/>
                    <a:pt x="14832" y="1630"/>
                  </a:cubicBezTo>
                  <a:cubicBezTo>
                    <a:pt x="13255" y="532"/>
                    <a:pt x="11494" y="0"/>
                    <a:pt x="9752" y="0"/>
                  </a:cubicBezTo>
                  <a:close/>
                  <a:moveTo>
                    <a:pt x="1020" y="6186"/>
                  </a:moveTo>
                  <a:cubicBezTo>
                    <a:pt x="-1144" y="11035"/>
                    <a:pt x="220" y="17034"/>
                    <a:pt x="4313" y="19961"/>
                  </a:cubicBezTo>
                  <a:cubicBezTo>
                    <a:pt x="5900" y="21068"/>
                    <a:pt x="7678" y="21600"/>
                    <a:pt x="9437" y="21600"/>
                  </a:cubicBezTo>
                  <a:cubicBezTo>
                    <a:pt x="12330" y="21600"/>
                    <a:pt x="15178" y="20160"/>
                    <a:pt x="17060" y="17442"/>
                  </a:cubicBezTo>
                  <a:lnTo>
                    <a:pt x="1020" y="6186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26" name="Google Shape;359;p2"/>
            <p:cNvSpPr/>
            <p:nvPr/>
          </p:nvSpPr>
          <p:spPr>
            <a:xfrm>
              <a:off x="6914537" y="3118885"/>
              <a:ext cx="505603" cy="4910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78" y="0"/>
                  </a:moveTo>
                  <a:lnTo>
                    <a:pt x="3284" y="6214"/>
                  </a:lnTo>
                  <a:cubicBezTo>
                    <a:pt x="-142" y="8728"/>
                    <a:pt x="-1029" y="13755"/>
                    <a:pt x="1296" y="17455"/>
                  </a:cubicBezTo>
                  <a:lnTo>
                    <a:pt x="1676" y="18050"/>
                  </a:lnTo>
                  <a:cubicBezTo>
                    <a:pt x="3128" y="20357"/>
                    <a:pt x="5478" y="21600"/>
                    <a:pt x="7874" y="21600"/>
                  </a:cubicBezTo>
                  <a:cubicBezTo>
                    <a:pt x="9322" y="21600"/>
                    <a:pt x="10784" y="21143"/>
                    <a:pt x="12073" y="20199"/>
                  </a:cubicBezTo>
                  <a:lnTo>
                    <a:pt x="20571" y="13982"/>
                  </a:lnTo>
                  <a:lnTo>
                    <a:pt x="11778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27" name="Google Shape;360;p2"/>
            <p:cNvSpPr/>
            <p:nvPr/>
          </p:nvSpPr>
          <p:spPr>
            <a:xfrm>
              <a:off x="7248700" y="2915339"/>
              <a:ext cx="504784" cy="491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82" h="21600" extrusionOk="0">
                  <a:moveTo>
                    <a:pt x="12732" y="0"/>
                  </a:moveTo>
                  <a:cubicBezTo>
                    <a:pt x="11273" y="0"/>
                    <a:pt x="9800" y="456"/>
                    <a:pt x="8513" y="1412"/>
                  </a:cubicBezTo>
                  <a:lnTo>
                    <a:pt x="0" y="7626"/>
                  </a:lnTo>
                  <a:lnTo>
                    <a:pt x="8811" y="21600"/>
                  </a:lnTo>
                  <a:lnTo>
                    <a:pt x="17324" y="15344"/>
                  </a:lnTo>
                  <a:cubicBezTo>
                    <a:pt x="20711" y="12831"/>
                    <a:pt x="21600" y="7806"/>
                    <a:pt x="19313" y="4108"/>
                  </a:cubicBezTo>
                  <a:lnTo>
                    <a:pt x="19313" y="4154"/>
                  </a:lnTo>
                  <a:lnTo>
                    <a:pt x="18889" y="3514"/>
                  </a:lnTo>
                  <a:cubicBezTo>
                    <a:pt x="17445" y="1220"/>
                    <a:pt x="15108" y="0"/>
                    <a:pt x="1273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28" name="Google Shape;361;p2"/>
            <p:cNvSpPr/>
            <p:nvPr/>
          </p:nvSpPr>
          <p:spPr>
            <a:xfrm>
              <a:off x="6736334" y="4133560"/>
              <a:ext cx="931459" cy="9311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6" h="21600" extrusionOk="0">
                  <a:moveTo>
                    <a:pt x="10076" y="0"/>
                  </a:moveTo>
                  <a:cubicBezTo>
                    <a:pt x="9688" y="0"/>
                    <a:pt x="9374" y="275"/>
                    <a:pt x="9307" y="656"/>
                  </a:cubicBezTo>
                  <a:lnTo>
                    <a:pt x="8373" y="7715"/>
                  </a:lnTo>
                  <a:lnTo>
                    <a:pt x="1372" y="6776"/>
                  </a:lnTo>
                  <a:cubicBezTo>
                    <a:pt x="1342" y="6772"/>
                    <a:pt x="1312" y="6770"/>
                    <a:pt x="1284" y="6770"/>
                  </a:cubicBezTo>
                  <a:cubicBezTo>
                    <a:pt x="909" y="6770"/>
                    <a:pt x="577" y="7047"/>
                    <a:pt x="533" y="7425"/>
                  </a:cubicBezTo>
                  <a:lnTo>
                    <a:pt x="5" y="11426"/>
                  </a:lnTo>
                  <a:cubicBezTo>
                    <a:pt x="-43" y="11835"/>
                    <a:pt x="245" y="12222"/>
                    <a:pt x="654" y="12270"/>
                  </a:cubicBezTo>
                  <a:lnTo>
                    <a:pt x="654" y="12246"/>
                  </a:lnTo>
                  <a:lnTo>
                    <a:pt x="7652" y="13185"/>
                  </a:lnTo>
                  <a:lnTo>
                    <a:pt x="6742" y="20222"/>
                  </a:lnTo>
                  <a:cubicBezTo>
                    <a:pt x="6670" y="20631"/>
                    <a:pt x="6982" y="21017"/>
                    <a:pt x="7389" y="21064"/>
                  </a:cubicBezTo>
                  <a:lnTo>
                    <a:pt x="11369" y="21594"/>
                  </a:lnTo>
                  <a:cubicBezTo>
                    <a:pt x="11399" y="21598"/>
                    <a:pt x="11429" y="21600"/>
                    <a:pt x="11460" y="21600"/>
                  </a:cubicBezTo>
                  <a:cubicBezTo>
                    <a:pt x="11810" y="21600"/>
                    <a:pt x="12140" y="21345"/>
                    <a:pt x="12185" y="20969"/>
                  </a:cubicBezTo>
                  <a:lnTo>
                    <a:pt x="13119" y="13932"/>
                  </a:lnTo>
                  <a:lnTo>
                    <a:pt x="20119" y="14849"/>
                  </a:lnTo>
                  <a:cubicBezTo>
                    <a:pt x="20160" y="14855"/>
                    <a:pt x="20202" y="14859"/>
                    <a:pt x="20244" y="14859"/>
                  </a:cubicBezTo>
                  <a:cubicBezTo>
                    <a:pt x="20603" y="14859"/>
                    <a:pt x="20917" y="14586"/>
                    <a:pt x="20981" y="14197"/>
                  </a:cubicBezTo>
                  <a:lnTo>
                    <a:pt x="21485" y="10222"/>
                  </a:lnTo>
                  <a:cubicBezTo>
                    <a:pt x="21557" y="9811"/>
                    <a:pt x="21269" y="9427"/>
                    <a:pt x="20838" y="9378"/>
                  </a:cubicBezTo>
                  <a:lnTo>
                    <a:pt x="13838" y="8439"/>
                  </a:lnTo>
                  <a:lnTo>
                    <a:pt x="14772" y="1402"/>
                  </a:lnTo>
                  <a:cubicBezTo>
                    <a:pt x="14820" y="969"/>
                    <a:pt x="14532" y="607"/>
                    <a:pt x="14125" y="534"/>
                  </a:cubicBezTo>
                  <a:lnTo>
                    <a:pt x="10169" y="4"/>
                  </a:lnTo>
                  <a:cubicBezTo>
                    <a:pt x="10139" y="2"/>
                    <a:pt x="10107" y="0"/>
                    <a:pt x="1007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29" name="Google Shape;362;p2"/>
            <p:cNvSpPr/>
            <p:nvPr/>
          </p:nvSpPr>
          <p:spPr>
            <a:xfrm>
              <a:off x="5543931" y="5545993"/>
              <a:ext cx="933081" cy="11765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0" h="21600" extrusionOk="0">
                  <a:moveTo>
                    <a:pt x="8113" y="652"/>
                  </a:moveTo>
                  <a:cubicBezTo>
                    <a:pt x="8691" y="652"/>
                    <a:pt x="9266" y="931"/>
                    <a:pt x="9379" y="1554"/>
                  </a:cubicBezTo>
                  <a:cubicBezTo>
                    <a:pt x="9427" y="1860"/>
                    <a:pt x="9331" y="2183"/>
                    <a:pt x="9070" y="2412"/>
                  </a:cubicBezTo>
                  <a:lnTo>
                    <a:pt x="7503" y="2661"/>
                  </a:lnTo>
                  <a:cubicBezTo>
                    <a:pt x="7148" y="2508"/>
                    <a:pt x="6911" y="2241"/>
                    <a:pt x="6839" y="1935"/>
                  </a:cubicBezTo>
                  <a:lnTo>
                    <a:pt x="6839" y="1916"/>
                  </a:lnTo>
                  <a:cubicBezTo>
                    <a:pt x="6612" y="1120"/>
                    <a:pt x="7366" y="652"/>
                    <a:pt x="8113" y="652"/>
                  </a:cubicBezTo>
                  <a:close/>
                  <a:moveTo>
                    <a:pt x="15521" y="4341"/>
                  </a:moveTo>
                  <a:cubicBezTo>
                    <a:pt x="16034" y="4341"/>
                    <a:pt x="16486" y="4642"/>
                    <a:pt x="16570" y="5063"/>
                  </a:cubicBezTo>
                  <a:lnTo>
                    <a:pt x="19347" y="17192"/>
                  </a:lnTo>
                  <a:cubicBezTo>
                    <a:pt x="19443" y="17669"/>
                    <a:pt x="19064" y="18127"/>
                    <a:pt x="18446" y="18203"/>
                  </a:cubicBezTo>
                  <a:lnTo>
                    <a:pt x="5960" y="20033"/>
                  </a:lnTo>
                  <a:cubicBezTo>
                    <a:pt x="5890" y="20045"/>
                    <a:pt x="5821" y="20051"/>
                    <a:pt x="5753" y="20051"/>
                  </a:cubicBezTo>
                  <a:cubicBezTo>
                    <a:pt x="5241" y="20051"/>
                    <a:pt x="4786" y="19748"/>
                    <a:pt x="4702" y="19329"/>
                  </a:cubicBezTo>
                  <a:lnTo>
                    <a:pt x="1949" y="7198"/>
                  </a:lnTo>
                  <a:cubicBezTo>
                    <a:pt x="1832" y="6723"/>
                    <a:pt x="2234" y="6265"/>
                    <a:pt x="2828" y="6188"/>
                  </a:cubicBezTo>
                  <a:lnTo>
                    <a:pt x="4324" y="5960"/>
                  </a:lnTo>
                  <a:cubicBezTo>
                    <a:pt x="4385" y="6297"/>
                    <a:pt x="4746" y="6545"/>
                    <a:pt x="5157" y="6545"/>
                  </a:cubicBezTo>
                  <a:cubicBezTo>
                    <a:pt x="5211" y="6545"/>
                    <a:pt x="5264" y="6540"/>
                    <a:pt x="5320" y="6532"/>
                  </a:cubicBezTo>
                  <a:lnTo>
                    <a:pt x="13129" y="5387"/>
                  </a:lnTo>
                  <a:cubicBezTo>
                    <a:pt x="13603" y="5312"/>
                    <a:pt x="13912" y="4949"/>
                    <a:pt x="13817" y="4567"/>
                  </a:cubicBezTo>
                  <a:lnTo>
                    <a:pt x="15312" y="4357"/>
                  </a:lnTo>
                  <a:cubicBezTo>
                    <a:pt x="15384" y="4346"/>
                    <a:pt x="15453" y="4341"/>
                    <a:pt x="15521" y="4341"/>
                  </a:cubicBezTo>
                  <a:close/>
                  <a:moveTo>
                    <a:pt x="8111" y="0"/>
                  </a:moveTo>
                  <a:cubicBezTo>
                    <a:pt x="7980" y="0"/>
                    <a:pt x="7850" y="10"/>
                    <a:pt x="7717" y="29"/>
                  </a:cubicBezTo>
                  <a:cubicBezTo>
                    <a:pt x="6530" y="200"/>
                    <a:pt x="5747" y="1096"/>
                    <a:pt x="5984" y="2050"/>
                  </a:cubicBezTo>
                  <a:cubicBezTo>
                    <a:pt x="6032" y="2316"/>
                    <a:pt x="6174" y="2584"/>
                    <a:pt x="6389" y="2813"/>
                  </a:cubicBezTo>
                  <a:lnTo>
                    <a:pt x="4846" y="3042"/>
                  </a:lnTo>
                  <a:cubicBezTo>
                    <a:pt x="4228" y="3136"/>
                    <a:pt x="3801" y="3614"/>
                    <a:pt x="3919" y="4129"/>
                  </a:cubicBezTo>
                  <a:lnTo>
                    <a:pt x="4015" y="4586"/>
                  </a:lnTo>
                  <a:lnTo>
                    <a:pt x="1451" y="4949"/>
                  </a:lnTo>
                  <a:cubicBezTo>
                    <a:pt x="478" y="5102"/>
                    <a:pt x="-140" y="5845"/>
                    <a:pt x="27" y="6607"/>
                  </a:cubicBezTo>
                  <a:lnTo>
                    <a:pt x="3159" y="20434"/>
                  </a:lnTo>
                  <a:cubicBezTo>
                    <a:pt x="3329" y="21131"/>
                    <a:pt x="4062" y="21600"/>
                    <a:pt x="4910" y="21600"/>
                  </a:cubicBezTo>
                  <a:cubicBezTo>
                    <a:pt x="5013" y="21600"/>
                    <a:pt x="5119" y="21594"/>
                    <a:pt x="5225" y="21579"/>
                  </a:cubicBezTo>
                  <a:lnTo>
                    <a:pt x="19845" y="19442"/>
                  </a:lnTo>
                  <a:cubicBezTo>
                    <a:pt x="20820" y="19290"/>
                    <a:pt x="21460" y="18547"/>
                    <a:pt x="21295" y="17764"/>
                  </a:cubicBezTo>
                  <a:lnTo>
                    <a:pt x="18137" y="3937"/>
                  </a:lnTo>
                  <a:cubicBezTo>
                    <a:pt x="17989" y="3242"/>
                    <a:pt x="17240" y="2773"/>
                    <a:pt x="16388" y="2773"/>
                  </a:cubicBezTo>
                  <a:cubicBezTo>
                    <a:pt x="16285" y="2773"/>
                    <a:pt x="16179" y="2779"/>
                    <a:pt x="16071" y="2794"/>
                  </a:cubicBezTo>
                  <a:lnTo>
                    <a:pt x="13510" y="3175"/>
                  </a:lnTo>
                  <a:lnTo>
                    <a:pt x="13414" y="2736"/>
                  </a:lnTo>
                  <a:cubicBezTo>
                    <a:pt x="13306" y="2271"/>
                    <a:pt x="12814" y="1962"/>
                    <a:pt x="12248" y="1962"/>
                  </a:cubicBezTo>
                  <a:cubicBezTo>
                    <a:pt x="12186" y="1962"/>
                    <a:pt x="12124" y="1965"/>
                    <a:pt x="12060" y="1973"/>
                  </a:cubicBezTo>
                  <a:lnTo>
                    <a:pt x="10163" y="2260"/>
                  </a:lnTo>
                  <a:cubicBezTo>
                    <a:pt x="10280" y="1993"/>
                    <a:pt x="10304" y="1706"/>
                    <a:pt x="10232" y="1421"/>
                  </a:cubicBezTo>
                  <a:cubicBezTo>
                    <a:pt x="10043" y="575"/>
                    <a:pt x="9126" y="0"/>
                    <a:pt x="811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30" name="Google Shape;363;p2"/>
            <p:cNvSpPr/>
            <p:nvPr/>
          </p:nvSpPr>
          <p:spPr>
            <a:xfrm>
              <a:off x="5725477" y="5969313"/>
              <a:ext cx="134608" cy="1347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07" h="21600" extrusionOk="0">
                  <a:moveTo>
                    <a:pt x="8912" y="0"/>
                  </a:moveTo>
                  <a:cubicBezTo>
                    <a:pt x="8401" y="0"/>
                    <a:pt x="7890" y="56"/>
                    <a:pt x="7368" y="168"/>
                  </a:cubicBezTo>
                  <a:cubicBezTo>
                    <a:pt x="-501" y="1831"/>
                    <a:pt x="-2718" y="14148"/>
                    <a:pt x="3921" y="19643"/>
                  </a:cubicBezTo>
                  <a:cubicBezTo>
                    <a:pt x="5523" y="20999"/>
                    <a:pt x="7264" y="21600"/>
                    <a:pt x="8970" y="21600"/>
                  </a:cubicBezTo>
                  <a:cubicBezTo>
                    <a:pt x="14146" y="21600"/>
                    <a:pt x="18882" y="15966"/>
                    <a:pt x="17733" y="8822"/>
                  </a:cubicBezTo>
                  <a:cubicBezTo>
                    <a:pt x="17002" y="3607"/>
                    <a:pt x="13172" y="0"/>
                    <a:pt x="891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31" name="Google Shape;364;p2"/>
            <p:cNvSpPr/>
            <p:nvPr/>
          </p:nvSpPr>
          <p:spPr>
            <a:xfrm>
              <a:off x="5906428" y="5929005"/>
              <a:ext cx="301575" cy="1179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71" h="21600" extrusionOk="0">
                  <a:moveTo>
                    <a:pt x="17200" y="0"/>
                  </a:moveTo>
                  <a:cubicBezTo>
                    <a:pt x="17030" y="0"/>
                    <a:pt x="16849" y="48"/>
                    <a:pt x="16662" y="144"/>
                  </a:cubicBezTo>
                  <a:lnTo>
                    <a:pt x="16730" y="144"/>
                  </a:lnTo>
                  <a:lnTo>
                    <a:pt x="2032" y="7749"/>
                  </a:lnTo>
                  <a:cubicBezTo>
                    <a:pt x="-1014" y="9362"/>
                    <a:pt x="-414" y="21600"/>
                    <a:pt x="2366" y="21600"/>
                  </a:cubicBezTo>
                  <a:cubicBezTo>
                    <a:pt x="2542" y="21600"/>
                    <a:pt x="2723" y="21552"/>
                    <a:pt x="2910" y="21456"/>
                  </a:cubicBezTo>
                  <a:lnTo>
                    <a:pt x="17540" y="13836"/>
                  </a:lnTo>
                  <a:cubicBezTo>
                    <a:pt x="20586" y="12414"/>
                    <a:pt x="19986" y="0"/>
                    <a:pt x="1720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32" name="Google Shape;365;p2"/>
            <p:cNvSpPr/>
            <p:nvPr/>
          </p:nvSpPr>
          <p:spPr>
            <a:xfrm>
              <a:off x="5759834" y="6157067"/>
              <a:ext cx="135371" cy="1350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0" h="21600" extrusionOk="0">
                  <a:moveTo>
                    <a:pt x="9179" y="0"/>
                  </a:moveTo>
                  <a:cubicBezTo>
                    <a:pt x="8623" y="0"/>
                    <a:pt x="8055" y="70"/>
                    <a:pt x="7487" y="209"/>
                  </a:cubicBezTo>
                  <a:cubicBezTo>
                    <a:pt x="-509" y="1702"/>
                    <a:pt x="-2722" y="14163"/>
                    <a:pt x="3906" y="19647"/>
                  </a:cubicBezTo>
                  <a:cubicBezTo>
                    <a:pt x="5505" y="21000"/>
                    <a:pt x="7244" y="21600"/>
                    <a:pt x="8947" y="21600"/>
                  </a:cubicBezTo>
                  <a:cubicBezTo>
                    <a:pt x="14127" y="21600"/>
                    <a:pt x="18878" y="15977"/>
                    <a:pt x="17835" y="8847"/>
                  </a:cubicBezTo>
                  <a:cubicBezTo>
                    <a:pt x="16989" y="3712"/>
                    <a:pt x="13339" y="0"/>
                    <a:pt x="917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33" name="Google Shape;366;p2"/>
            <p:cNvSpPr/>
            <p:nvPr/>
          </p:nvSpPr>
          <p:spPr>
            <a:xfrm>
              <a:off x="5943257" y="6116671"/>
              <a:ext cx="296509" cy="117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9" h="21600" extrusionOk="0">
                  <a:moveTo>
                    <a:pt x="16950" y="0"/>
                  </a:moveTo>
                  <a:cubicBezTo>
                    <a:pt x="16881" y="0"/>
                    <a:pt x="16812" y="16"/>
                    <a:pt x="16743" y="16"/>
                  </a:cubicBezTo>
                  <a:lnTo>
                    <a:pt x="1826" y="7654"/>
                  </a:lnTo>
                  <a:cubicBezTo>
                    <a:pt x="-1024" y="10055"/>
                    <a:pt x="-340" y="21600"/>
                    <a:pt x="2516" y="21600"/>
                  </a:cubicBezTo>
                  <a:cubicBezTo>
                    <a:pt x="2602" y="21600"/>
                    <a:pt x="2694" y="21584"/>
                    <a:pt x="2786" y="21568"/>
                  </a:cubicBezTo>
                  <a:lnTo>
                    <a:pt x="17703" y="14122"/>
                  </a:lnTo>
                  <a:cubicBezTo>
                    <a:pt x="20576" y="11705"/>
                    <a:pt x="19858" y="0"/>
                    <a:pt x="1695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34" name="Google Shape;367;p2"/>
            <p:cNvSpPr/>
            <p:nvPr/>
          </p:nvSpPr>
          <p:spPr>
            <a:xfrm>
              <a:off x="5796171" y="6357821"/>
              <a:ext cx="135415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6" h="21600" extrusionOk="0">
                  <a:moveTo>
                    <a:pt x="9023" y="0"/>
                  </a:moveTo>
                  <a:cubicBezTo>
                    <a:pt x="8524" y="0"/>
                    <a:pt x="8014" y="56"/>
                    <a:pt x="7493" y="154"/>
                  </a:cubicBezTo>
                  <a:cubicBezTo>
                    <a:pt x="-514" y="1831"/>
                    <a:pt x="-2716" y="14148"/>
                    <a:pt x="3901" y="19629"/>
                  </a:cubicBezTo>
                  <a:cubicBezTo>
                    <a:pt x="5511" y="20985"/>
                    <a:pt x="7250" y="21600"/>
                    <a:pt x="8953" y="21600"/>
                  </a:cubicBezTo>
                  <a:cubicBezTo>
                    <a:pt x="14133" y="21600"/>
                    <a:pt x="18884" y="15966"/>
                    <a:pt x="17841" y="8822"/>
                  </a:cubicBezTo>
                  <a:cubicBezTo>
                    <a:pt x="16984" y="3607"/>
                    <a:pt x="13252" y="0"/>
                    <a:pt x="902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35" name="Google Shape;368;p2"/>
            <p:cNvSpPr/>
            <p:nvPr/>
          </p:nvSpPr>
          <p:spPr>
            <a:xfrm>
              <a:off x="5978287" y="6317949"/>
              <a:ext cx="299358" cy="1180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45" h="21600" extrusionOk="0">
                  <a:moveTo>
                    <a:pt x="17073" y="0"/>
                  </a:moveTo>
                  <a:cubicBezTo>
                    <a:pt x="16948" y="0"/>
                    <a:pt x="16817" y="16"/>
                    <a:pt x="16686" y="64"/>
                  </a:cubicBezTo>
                  <a:lnTo>
                    <a:pt x="16754" y="64"/>
                  </a:lnTo>
                  <a:lnTo>
                    <a:pt x="1967" y="7471"/>
                  </a:lnTo>
                  <a:cubicBezTo>
                    <a:pt x="-1041" y="9675"/>
                    <a:pt x="-392" y="21600"/>
                    <a:pt x="2513" y="21600"/>
                  </a:cubicBezTo>
                  <a:cubicBezTo>
                    <a:pt x="2622" y="21600"/>
                    <a:pt x="2736" y="21584"/>
                    <a:pt x="2850" y="21552"/>
                  </a:cubicBezTo>
                  <a:lnTo>
                    <a:pt x="17631" y="13937"/>
                  </a:lnTo>
                  <a:cubicBezTo>
                    <a:pt x="20559" y="11941"/>
                    <a:pt x="19932" y="0"/>
                    <a:pt x="1707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36" name="Google Shape;369;p2"/>
            <p:cNvSpPr/>
            <p:nvPr/>
          </p:nvSpPr>
          <p:spPr>
            <a:xfrm>
              <a:off x="5657783" y="7192681"/>
              <a:ext cx="602934" cy="6079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199" h="21600" extrusionOk="0">
                  <a:moveTo>
                    <a:pt x="9734" y="0"/>
                  </a:moveTo>
                  <a:cubicBezTo>
                    <a:pt x="6867" y="0"/>
                    <a:pt x="4053" y="1448"/>
                    <a:pt x="2200" y="4182"/>
                  </a:cubicBezTo>
                  <a:lnTo>
                    <a:pt x="18144" y="15400"/>
                  </a:lnTo>
                  <a:cubicBezTo>
                    <a:pt x="20394" y="10527"/>
                    <a:pt x="18938" y="4551"/>
                    <a:pt x="14804" y="1634"/>
                  </a:cubicBezTo>
                  <a:cubicBezTo>
                    <a:pt x="13229" y="533"/>
                    <a:pt x="11471" y="0"/>
                    <a:pt x="9734" y="0"/>
                  </a:cubicBezTo>
                  <a:close/>
                  <a:moveTo>
                    <a:pt x="1078" y="6175"/>
                  </a:moveTo>
                  <a:cubicBezTo>
                    <a:pt x="-1206" y="11045"/>
                    <a:pt x="250" y="17025"/>
                    <a:pt x="4417" y="19976"/>
                  </a:cubicBezTo>
                  <a:cubicBezTo>
                    <a:pt x="5984" y="21073"/>
                    <a:pt x="7734" y="21600"/>
                    <a:pt x="9465" y="21600"/>
                  </a:cubicBezTo>
                  <a:cubicBezTo>
                    <a:pt x="12337" y="21600"/>
                    <a:pt x="15163" y="20149"/>
                    <a:pt x="17019" y="17431"/>
                  </a:cubicBezTo>
                  <a:lnTo>
                    <a:pt x="1078" y="6175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37" name="Google Shape;370;p2"/>
            <p:cNvSpPr/>
            <p:nvPr/>
          </p:nvSpPr>
          <p:spPr>
            <a:xfrm>
              <a:off x="6914537" y="5890354"/>
              <a:ext cx="505603" cy="4917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78" y="0"/>
                  </a:moveTo>
                  <a:lnTo>
                    <a:pt x="3284" y="6205"/>
                  </a:lnTo>
                  <a:cubicBezTo>
                    <a:pt x="-142" y="8715"/>
                    <a:pt x="-1029" y="13736"/>
                    <a:pt x="1296" y="17430"/>
                  </a:cubicBezTo>
                  <a:lnTo>
                    <a:pt x="1676" y="18070"/>
                  </a:lnTo>
                  <a:cubicBezTo>
                    <a:pt x="3121" y="20362"/>
                    <a:pt x="5456" y="21600"/>
                    <a:pt x="7842" y="21600"/>
                  </a:cubicBezTo>
                  <a:cubicBezTo>
                    <a:pt x="9301" y="21600"/>
                    <a:pt x="10774" y="21136"/>
                    <a:pt x="12073" y="20167"/>
                  </a:cubicBezTo>
                  <a:lnTo>
                    <a:pt x="20571" y="13962"/>
                  </a:lnTo>
                  <a:lnTo>
                    <a:pt x="11778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38" name="Google Shape;371;p2"/>
            <p:cNvSpPr/>
            <p:nvPr/>
          </p:nvSpPr>
          <p:spPr>
            <a:xfrm>
              <a:off x="7248700" y="5686023"/>
              <a:ext cx="504784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82" h="21600" extrusionOk="0">
                  <a:moveTo>
                    <a:pt x="12692" y="0"/>
                  </a:moveTo>
                  <a:cubicBezTo>
                    <a:pt x="11248" y="0"/>
                    <a:pt x="9790" y="456"/>
                    <a:pt x="8513" y="1398"/>
                  </a:cubicBezTo>
                  <a:lnTo>
                    <a:pt x="0" y="7644"/>
                  </a:lnTo>
                  <a:lnTo>
                    <a:pt x="8811" y="21600"/>
                  </a:lnTo>
                  <a:lnTo>
                    <a:pt x="17324" y="15354"/>
                  </a:lnTo>
                  <a:cubicBezTo>
                    <a:pt x="20711" y="12845"/>
                    <a:pt x="21600" y="7828"/>
                    <a:pt x="19313" y="4136"/>
                  </a:cubicBezTo>
                  <a:lnTo>
                    <a:pt x="18889" y="3543"/>
                  </a:lnTo>
                  <a:cubicBezTo>
                    <a:pt x="17438" y="1241"/>
                    <a:pt x="15083" y="0"/>
                    <a:pt x="1269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39" name="Google Shape;372;p2"/>
            <p:cNvSpPr/>
            <p:nvPr/>
          </p:nvSpPr>
          <p:spPr>
            <a:xfrm>
              <a:off x="6737125" y="6905031"/>
              <a:ext cx="930668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77" h="21600" extrusionOk="0">
                  <a:moveTo>
                    <a:pt x="10058" y="0"/>
                  </a:moveTo>
                  <a:cubicBezTo>
                    <a:pt x="9670" y="0"/>
                    <a:pt x="9356" y="275"/>
                    <a:pt x="9289" y="656"/>
                  </a:cubicBezTo>
                  <a:lnTo>
                    <a:pt x="8377" y="7713"/>
                  </a:lnTo>
                  <a:lnTo>
                    <a:pt x="1379" y="6774"/>
                  </a:lnTo>
                  <a:cubicBezTo>
                    <a:pt x="1346" y="6770"/>
                    <a:pt x="1316" y="6768"/>
                    <a:pt x="1284" y="6768"/>
                  </a:cubicBezTo>
                  <a:cubicBezTo>
                    <a:pt x="895" y="6768"/>
                    <a:pt x="581" y="7045"/>
                    <a:pt x="515" y="7423"/>
                  </a:cubicBezTo>
                  <a:lnTo>
                    <a:pt x="11" y="11399"/>
                  </a:lnTo>
                  <a:cubicBezTo>
                    <a:pt x="-61" y="11832"/>
                    <a:pt x="227" y="12194"/>
                    <a:pt x="636" y="12265"/>
                  </a:cubicBezTo>
                  <a:lnTo>
                    <a:pt x="7634" y="13181"/>
                  </a:lnTo>
                  <a:lnTo>
                    <a:pt x="6724" y="20238"/>
                  </a:lnTo>
                  <a:cubicBezTo>
                    <a:pt x="6652" y="20649"/>
                    <a:pt x="6964" y="21009"/>
                    <a:pt x="7371" y="21082"/>
                  </a:cubicBezTo>
                  <a:lnTo>
                    <a:pt x="11351" y="21588"/>
                  </a:lnTo>
                  <a:cubicBezTo>
                    <a:pt x="11393" y="21596"/>
                    <a:pt x="11434" y="21600"/>
                    <a:pt x="11476" y="21600"/>
                  </a:cubicBezTo>
                  <a:cubicBezTo>
                    <a:pt x="11830" y="21600"/>
                    <a:pt x="12124" y="21329"/>
                    <a:pt x="12191" y="20963"/>
                  </a:cubicBezTo>
                  <a:lnTo>
                    <a:pt x="13101" y="13904"/>
                  </a:lnTo>
                  <a:lnTo>
                    <a:pt x="20101" y="14842"/>
                  </a:lnTo>
                  <a:cubicBezTo>
                    <a:pt x="20130" y="14846"/>
                    <a:pt x="20160" y="14848"/>
                    <a:pt x="20190" y="14848"/>
                  </a:cubicBezTo>
                  <a:cubicBezTo>
                    <a:pt x="20562" y="14848"/>
                    <a:pt x="20897" y="14573"/>
                    <a:pt x="20963" y="14193"/>
                  </a:cubicBezTo>
                  <a:lnTo>
                    <a:pt x="21467" y="10193"/>
                  </a:lnTo>
                  <a:cubicBezTo>
                    <a:pt x="21539" y="9784"/>
                    <a:pt x="21251" y="9400"/>
                    <a:pt x="20820" y="9351"/>
                  </a:cubicBezTo>
                  <a:lnTo>
                    <a:pt x="13820" y="8411"/>
                  </a:lnTo>
                  <a:lnTo>
                    <a:pt x="14754" y="1378"/>
                  </a:lnTo>
                  <a:cubicBezTo>
                    <a:pt x="14802" y="967"/>
                    <a:pt x="14514" y="583"/>
                    <a:pt x="14107" y="534"/>
                  </a:cubicBezTo>
                  <a:lnTo>
                    <a:pt x="10151" y="4"/>
                  </a:lnTo>
                  <a:cubicBezTo>
                    <a:pt x="10121" y="0"/>
                    <a:pt x="10089" y="0"/>
                    <a:pt x="1005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40" name="Google Shape;373;p2"/>
            <p:cNvSpPr/>
            <p:nvPr/>
          </p:nvSpPr>
          <p:spPr>
            <a:xfrm>
              <a:off x="5543673" y="8317463"/>
              <a:ext cx="933339" cy="11786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05" h="21600" extrusionOk="0">
                  <a:moveTo>
                    <a:pt x="8125" y="657"/>
                  </a:moveTo>
                  <a:cubicBezTo>
                    <a:pt x="8696" y="657"/>
                    <a:pt x="9262" y="934"/>
                    <a:pt x="9375" y="1551"/>
                  </a:cubicBezTo>
                  <a:cubicBezTo>
                    <a:pt x="9423" y="1874"/>
                    <a:pt x="9328" y="2179"/>
                    <a:pt x="9067" y="2427"/>
                  </a:cubicBezTo>
                  <a:lnTo>
                    <a:pt x="7501" y="2656"/>
                  </a:lnTo>
                  <a:cubicBezTo>
                    <a:pt x="7147" y="2502"/>
                    <a:pt x="6910" y="2237"/>
                    <a:pt x="6838" y="1932"/>
                  </a:cubicBezTo>
                  <a:cubicBezTo>
                    <a:pt x="6609" y="1132"/>
                    <a:pt x="7374" y="657"/>
                    <a:pt x="8125" y="657"/>
                  </a:cubicBezTo>
                  <a:close/>
                  <a:moveTo>
                    <a:pt x="15521" y="4351"/>
                  </a:moveTo>
                  <a:cubicBezTo>
                    <a:pt x="16029" y="4351"/>
                    <a:pt x="16477" y="4637"/>
                    <a:pt x="16559" y="5054"/>
                  </a:cubicBezTo>
                  <a:lnTo>
                    <a:pt x="19333" y="17181"/>
                  </a:lnTo>
                  <a:cubicBezTo>
                    <a:pt x="19429" y="17657"/>
                    <a:pt x="19050" y="18113"/>
                    <a:pt x="18433" y="18189"/>
                  </a:cubicBezTo>
                  <a:lnTo>
                    <a:pt x="5960" y="20017"/>
                  </a:lnTo>
                  <a:cubicBezTo>
                    <a:pt x="5900" y="20025"/>
                    <a:pt x="5838" y="20028"/>
                    <a:pt x="5779" y="20028"/>
                  </a:cubicBezTo>
                  <a:cubicBezTo>
                    <a:pt x="5257" y="20028"/>
                    <a:pt x="4789" y="19737"/>
                    <a:pt x="4703" y="19294"/>
                  </a:cubicBezTo>
                  <a:lnTo>
                    <a:pt x="1953" y="7205"/>
                  </a:lnTo>
                  <a:cubicBezTo>
                    <a:pt x="1836" y="6730"/>
                    <a:pt x="2238" y="6273"/>
                    <a:pt x="2831" y="6177"/>
                  </a:cubicBezTo>
                  <a:lnTo>
                    <a:pt x="4325" y="5967"/>
                  </a:lnTo>
                  <a:cubicBezTo>
                    <a:pt x="4387" y="6301"/>
                    <a:pt x="4741" y="6533"/>
                    <a:pt x="5149" y="6533"/>
                  </a:cubicBezTo>
                  <a:cubicBezTo>
                    <a:pt x="5205" y="6533"/>
                    <a:pt x="5263" y="6528"/>
                    <a:pt x="5321" y="6520"/>
                  </a:cubicBezTo>
                  <a:lnTo>
                    <a:pt x="13121" y="5396"/>
                  </a:lnTo>
                  <a:cubicBezTo>
                    <a:pt x="13595" y="5320"/>
                    <a:pt x="13904" y="4958"/>
                    <a:pt x="13809" y="4578"/>
                  </a:cubicBezTo>
                  <a:lnTo>
                    <a:pt x="15302" y="4368"/>
                  </a:lnTo>
                  <a:cubicBezTo>
                    <a:pt x="15376" y="4357"/>
                    <a:pt x="15450" y="4351"/>
                    <a:pt x="15521" y="4351"/>
                  </a:cubicBezTo>
                  <a:close/>
                  <a:moveTo>
                    <a:pt x="8099" y="0"/>
                  </a:moveTo>
                  <a:cubicBezTo>
                    <a:pt x="7973" y="0"/>
                    <a:pt x="7844" y="10"/>
                    <a:pt x="7714" y="29"/>
                  </a:cubicBezTo>
                  <a:cubicBezTo>
                    <a:pt x="6530" y="200"/>
                    <a:pt x="5747" y="1113"/>
                    <a:pt x="5984" y="2047"/>
                  </a:cubicBezTo>
                  <a:cubicBezTo>
                    <a:pt x="6032" y="2331"/>
                    <a:pt x="6173" y="2598"/>
                    <a:pt x="6388" y="2808"/>
                  </a:cubicBezTo>
                  <a:lnTo>
                    <a:pt x="4847" y="3056"/>
                  </a:lnTo>
                  <a:cubicBezTo>
                    <a:pt x="4229" y="3150"/>
                    <a:pt x="3803" y="3646"/>
                    <a:pt x="3921" y="4140"/>
                  </a:cubicBezTo>
                  <a:lnTo>
                    <a:pt x="4016" y="4597"/>
                  </a:lnTo>
                  <a:lnTo>
                    <a:pt x="1455" y="4958"/>
                  </a:lnTo>
                  <a:cubicBezTo>
                    <a:pt x="483" y="5110"/>
                    <a:pt x="-156" y="5854"/>
                    <a:pt x="33" y="6634"/>
                  </a:cubicBezTo>
                  <a:lnTo>
                    <a:pt x="3162" y="20417"/>
                  </a:lnTo>
                  <a:cubicBezTo>
                    <a:pt x="3311" y="21114"/>
                    <a:pt x="4066" y="21600"/>
                    <a:pt x="4918" y="21600"/>
                  </a:cubicBezTo>
                  <a:cubicBezTo>
                    <a:pt x="5020" y="21600"/>
                    <a:pt x="5122" y="21592"/>
                    <a:pt x="5225" y="21578"/>
                  </a:cubicBezTo>
                  <a:lnTo>
                    <a:pt x="19831" y="19427"/>
                  </a:lnTo>
                  <a:cubicBezTo>
                    <a:pt x="20805" y="19294"/>
                    <a:pt x="21444" y="18532"/>
                    <a:pt x="21279" y="17771"/>
                  </a:cubicBezTo>
                  <a:lnTo>
                    <a:pt x="18124" y="3969"/>
                  </a:lnTo>
                  <a:cubicBezTo>
                    <a:pt x="17977" y="3271"/>
                    <a:pt x="17222" y="2787"/>
                    <a:pt x="16370" y="2787"/>
                  </a:cubicBezTo>
                  <a:cubicBezTo>
                    <a:pt x="16268" y="2787"/>
                    <a:pt x="16164" y="2793"/>
                    <a:pt x="16061" y="2808"/>
                  </a:cubicBezTo>
                  <a:lnTo>
                    <a:pt x="13502" y="3188"/>
                  </a:lnTo>
                  <a:lnTo>
                    <a:pt x="13406" y="2750"/>
                  </a:lnTo>
                  <a:cubicBezTo>
                    <a:pt x="13301" y="2294"/>
                    <a:pt x="12823" y="1973"/>
                    <a:pt x="12269" y="1973"/>
                  </a:cubicBezTo>
                  <a:cubicBezTo>
                    <a:pt x="12197" y="1973"/>
                    <a:pt x="12126" y="1978"/>
                    <a:pt x="12054" y="1989"/>
                  </a:cubicBezTo>
                  <a:lnTo>
                    <a:pt x="10158" y="2256"/>
                  </a:lnTo>
                  <a:cubicBezTo>
                    <a:pt x="10276" y="1989"/>
                    <a:pt x="10299" y="1703"/>
                    <a:pt x="10228" y="1437"/>
                  </a:cubicBezTo>
                  <a:cubicBezTo>
                    <a:pt x="10039" y="590"/>
                    <a:pt x="9118" y="0"/>
                    <a:pt x="809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41" name="Google Shape;374;p2"/>
            <p:cNvSpPr/>
            <p:nvPr/>
          </p:nvSpPr>
          <p:spPr>
            <a:xfrm>
              <a:off x="5725477" y="8740521"/>
              <a:ext cx="134608" cy="135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07" h="21600" extrusionOk="0">
                  <a:moveTo>
                    <a:pt x="9063" y="0"/>
                  </a:moveTo>
                  <a:cubicBezTo>
                    <a:pt x="8506" y="0"/>
                    <a:pt x="7937" y="70"/>
                    <a:pt x="7368" y="195"/>
                  </a:cubicBezTo>
                  <a:cubicBezTo>
                    <a:pt x="-501" y="1856"/>
                    <a:pt x="-2718" y="14149"/>
                    <a:pt x="3921" y="19633"/>
                  </a:cubicBezTo>
                  <a:cubicBezTo>
                    <a:pt x="5523" y="20986"/>
                    <a:pt x="7264" y="21600"/>
                    <a:pt x="8970" y="21600"/>
                  </a:cubicBezTo>
                  <a:cubicBezTo>
                    <a:pt x="14146" y="21600"/>
                    <a:pt x="18882" y="15977"/>
                    <a:pt x="17733" y="8833"/>
                  </a:cubicBezTo>
                  <a:cubicBezTo>
                    <a:pt x="17002" y="3712"/>
                    <a:pt x="13264" y="0"/>
                    <a:pt x="906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42" name="Google Shape;375;p2"/>
            <p:cNvSpPr/>
            <p:nvPr/>
          </p:nvSpPr>
          <p:spPr>
            <a:xfrm>
              <a:off x="5905270" y="8701172"/>
              <a:ext cx="304277" cy="117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77" h="21600" extrusionOk="0">
                  <a:moveTo>
                    <a:pt x="17233" y="0"/>
                  </a:moveTo>
                  <a:cubicBezTo>
                    <a:pt x="17031" y="0"/>
                    <a:pt x="16818" y="64"/>
                    <a:pt x="16594" y="208"/>
                  </a:cubicBezTo>
                  <a:lnTo>
                    <a:pt x="16661" y="16"/>
                  </a:lnTo>
                  <a:lnTo>
                    <a:pt x="2089" y="7643"/>
                  </a:lnTo>
                  <a:cubicBezTo>
                    <a:pt x="-1021" y="9069"/>
                    <a:pt x="-420" y="21600"/>
                    <a:pt x="2325" y="21600"/>
                  </a:cubicBezTo>
                  <a:cubicBezTo>
                    <a:pt x="2527" y="21600"/>
                    <a:pt x="2734" y="21520"/>
                    <a:pt x="2959" y="21392"/>
                  </a:cubicBezTo>
                  <a:lnTo>
                    <a:pt x="17464" y="13941"/>
                  </a:lnTo>
                  <a:cubicBezTo>
                    <a:pt x="20579" y="12691"/>
                    <a:pt x="20035" y="0"/>
                    <a:pt x="1723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43" name="Google Shape;376;p2"/>
            <p:cNvSpPr/>
            <p:nvPr/>
          </p:nvSpPr>
          <p:spPr>
            <a:xfrm>
              <a:off x="5759834" y="8928537"/>
              <a:ext cx="135371" cy="135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0" h="21600" extrusionOk="0">
                  <a:moveTo>
                    <a:pt x="9179" y="0"/>
                  </a:moveTo>
                  <a:cubicBezTo>
                    <a:pt x="8623" y="0"/>
                    <a:pt x="8055" y="70"/>
                    <a:pt x="7487" y="195"/>
                  </a:cubicBezTo>
                  <a:cubicBezTo>
                    <a:pt x="-509" y="1856"/>
                    <a:pt x="-2722" y="14149"/>
                    <a:pt x="3906" y="19633"/>
                  </a:cubicBezTo>
                  <a:cubicBezTo>
                    <a:pt x="5505" y="20986"/>
                    <a:pt x="7244" y="21600"/>
                    <a:pt x="8947" y="21600"/>
                  </a:cubicBezTo>
                  <a:cubicBezTo>
                    <a:pt x="14127" y="21600"/>
                    <a:pt x="18878" y="15977"/>
                    <a:pt x="17835" y="8847"/>
                  </a:cubicBezTo>
                  <a:cubicBezTo>
                    <a:pt x="16989" y="3712"/>
                    <a:pt x="13339" y="0"/>
                    <a:pt x="917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44" name="Google Shape;377;p2"/>
            <p:cNvSpPr/>
            <p:nvPr/>
          </p:nvSpPr>
          <p:spPr>
            <a:xfrm>
              <a:off x="5943250" y="8889101"/>
              <a:ext cx="296509" cy="117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9" h="21600" extrusionOk="0">
                  <a:moveTo>
                    <a:pt x="17013" y="0"/>
                  </a:moveTo>
                  <a:cubicBezTo>
                    <a:pt x="16927" y="0"/>
                    <a:pt x="16835" y="16"/>
                    <a:pt x="16743" y="32"/>
                  </a:cubicBezTo>
                  <a:lnTo>
                    <a:pt x="1826" y="7462"/>
                  </a:lnTo>
                  <a:cubicBezTo>
                    <a:pt x="-1047" y="9895"/>
                    <a:pt x="-329" y="21600"/>
                    <a:pt x="2579" y="21600"/>
                  </a:cubicBezTo>
                  <a:cubicBezTo>
                    <a:pt x="2648" y="21600"/>
                    <a:pt x="2717" y="21584"/>
                    <a:pt x="2786" y="21568"/>
                  </a:cubicBezTo>
                  <a:lnTo>
                    <a:pt x="17703" y="13946"/>
                  </a:lnTo>
                  <a:cubicBezTo>
                    <a:pt x="20553" y="11545"/>
                    <a:pt x="19869" y="0"/>
                    <a:pt x="1701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45" name="Google Shape;378;p2"/>
            <p:cNvSpPr/>
            <p:nvPr/>
          </p:nvSpPr>
          <p:spPr>
            <a:xfrm>
              <a:off x="5796171" y="9129290"/>
              <a:ext cx="135415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6" h="21600" extrusionOk="0">
                  <a:moveTo>
                    <a:pt x="9023" y="0"/>
                  </a:moveTo>
                  <a:cubicBezTo>
                    <a:pt x="8524" y="0"/>
                    <a:pt x="8003" y="56"/>
                    <a:pt x="7493" y="154"/>
                  </a:cubicBezTo>
                  <a:cubicBezTo>
                    <a:pt x="-514" y="1817"/>
                    <a:pt x="-2716" y="14134"/>
                    <a:pt x="3901" y="19629"/>
                  </a:cubicBezTo>
                  <a:cubicBezTo>
                    <a:pt x="5511" y="20985"/>
                    <a:pt x="7261" y="21600"/>
                    <a:pt x="8953" y="21600"/>
                  </a:cubicBezTo>
                  <a:cubicBezTo>
                    <a:pt x="14133" y="21600"/>
                    <a:pt x="18884" y="15994"/>
                    <a:pt x="17841" y="8976"/>
                  </a:cubicBezTo>
                  <a:cubicBezTo>
                    <a:pt x="16984" y="3621"/>
                    <a:pt x="13252" y="0"/>
                    <a:pt x="902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46" name="Google Shape;379;p2"/>
            <p:cNvSpPr/>
            <p:nvPr/>
          </p:nvSpPr>
          <p:spPr>
            <a:xfrm>
              <a:off x="5979036" y="9089768"/>
              <a:ext cx="297910" cy="117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38" h="21600" extrusionOk="0">
                  <a:moveTo>
                    <a:pt x="16780" y="0"/>
                  </a:moveTo>
                  <a:lnTo>
                    <a:pt x="1926" y="7633"/>
                  </a:lnTo>
                  <a:cubicBezTo>
                    <a:pt x="-1049" y="9862"/>
                    <a:pt x="-368" y="21600"/>
                    <a:pt x="2539" y="21600"/>
                  </a:cubicBezTo>
                  <a:cubicBezTo>
                    <a:pt x="2624" y="21600"/>
                    <a:pt x="2716" y="21600"/>
                    <a:pt x="2813" y="21568"/>
                  </a:cubicBezTo>
                  <a:lnTo>
                    <a:pt x="17661" y="14127"/>
                  </a:lnTo>
                  <a:cubicBezTo>
                    <a:pt x="20551" y="11914"/>
                    <a:pt x="19899" y="144"/>
                    <a:pt x="17101" y="144"/>
                  </a:cubicBezTo>
                  <a:cubicBezTo>
                    <a:pt x="16998" y="144"/>
                    <a:pt x="16889" y="160"/>
                    <a:pt x="16780" y="192"/>
                  </a:cubicBezTo>
                  <a:lnTo>
                    <a:pt x="16780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47" name="Google Shape;380;p2"/>
            <p:cNvSpPr/>
            <p:nvPr/>
          </p:nvSpPr>
          <p:spPr>
            <a:xfrm>
              <a:off x="5659791" y="9964413"/>
              <a:ext cx="600927" cy="6060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54" h="21600" extrusionOk="0">
                  <a:moveTo>
                    <a:pt x="9752" y="0"/>
                  </a:moveTo>
                  <a:cubicBezTo>
                    <a:pt x="6859" y="0"/>
                    <a:pt x="4019" y="1458"/>
                    <a:pt x="2149" y="4183"/>
                  </a:cubicBezTo>
                  <a:lnTo>
                    <a:pt x="18192" y="15477"/>
                  </a:lnTo>
                  <a:cubicBezTo>
                    <a:pt x="20456" y="10589"/>
                    <a:pt x="18991" y="4590"/>
                    <a:pt x="14832" y="1629"/>
                  </a:cubicBezTo>
                  <a:cubicBezTo>
                    <a:pt x="13255" y="529"/>
                    <a:pt x="11494" y="0"/>
                    <a:pt x="9752" y="0"/>
                  </a:cubicBezTo>
                  <a:close/>
                  <a:moveTo>
                    <a:pt x="1020" y="6182"/>
                  </a:moveTo>
                  <a:cubicBezTo>
                    <a:pt x="-1144" y="11071"/>
                    <a:pt x="220" y="17032"/>
                    <a:pt x="4313" y="19955"/>
                  </a:cubicBezTo>
                  <a:cubicBezTo>
                    <a:pt x="5903" y="21065"/>
                    <a:pt x="7684" y="21600"/>
                    <a:pt x="9448" y="21600"/>
                  </a:cubicBezTo>
                  <a:cubicBezTo>
                    <a:pt x="12335" y="21600"/>
                    <a:pt x="15181" y="20166"/>
                    <a:pt x="17060" y="17477"/>
                  </a:cubicBezTo>
                  <a:lnTo>
                    <a:pt x="1020" y="6182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48" name="Google Shape;381;p2"/>
            <p:cNvSpPr/>
            <p:nvPr/>
          </p:nvSpPr>
          <p:spPr>
            <a:xfrm>
              <a:off x="6914537" y="8660777"/>
              <a:ext cx="505603" cy="4930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78" y="0"/>
                  </a:moveTo>
                  <a:lnTo>
                    <a:pt x="3284" y="6234"/>
                  </a:lnTo>
                  <a:cubicBezTo>
                    <a:pt x="-142" y="8738"/>
                    <a:pt x="-1029" y="13741"/>
                    <a:pt x="1296" y="17430"/>
                  </a:cubicBezTo>
                  <a:lnTo>
                    <a:pt x="1676" y="18064"/>
                  </a:lnTo>
                  <a:cubicBezTo>
                    <a:pt x="3128" y="20362"/>
                    <a:pt x="5478" y="21600"/>
                    <a:pt x="7874" y="21600"/>
                  </a:cubicBezTo>
                  <a:cubicBezTo>
                    <a:pt x="9322" y="21600"/>
                    <a:pt x="10784" y="21149"/>
                    <a:pt x="12073" y="20205"/>
                  </a:cubicBezTo>
                  <a:lnTo>
                    <a:pt x="20571" y="13971"/>
                  </a:lnTo>
                  <a:lnTo>
                    <a:pt x="11778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49" name="Google Shape;382;p2"/>
            <p:cNvSpPr/>
            <p:nvPr/>
          </p:nvSpPr>
          <p:spPr>
            <a:xfrm>
              <a:off x="7248700" y="8457493"/>
              <a:ext cx="504784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82" h="21600" extrusionOk="0">
                  <a:moveTo>
                    <a:pt x="12692" y="0"/>
                  </a:moveTo>
                  <a:cubicBezTo>
                    <a:pt x="11248" y="0"/>
                    <a:pt x="9790" y="452"/>
                    <a:pt x="8513" y="1398"/>
                  </a:cubicBezTo>
                  <a:lnTo>
                    <a:pt x="0" y="7644"/>
                  </a:lnTo>
                  <a:lnTo>
                    <a:pt x="8811" y="21600"/>
                  </a:lnTo>
                  <a:lnTo>
                    <a:pt x="17324" y="15350"/>
                  </a:lnTo>
                  <a:cubicBezTo>
                    <a:pt x="20711" y="12845"/>
                    <a:pt x="21600" y="7828"/>
                    <a:pt x="19313" y="4178"/>
                  </a:cubicBezTo>
                  <a:lnTo>
                    <a:pt x="18889" y="3543"/>
                  </a:lnTo>
                  <a:cubicBezTo>
                    <a:pt x="17438" y="1241"/>
                    <a:pt x="15083" y="0"/>
                    <a:pt x="1269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50" name="Google Shape;383;p2"/>
            <p:cNvSpPr/>
            <p:nvPr/>
          </p:nvSpPr>
          <p:spPr>
            <a:xfrm>
              <a:off x="6737125" y="9677198"/>
              <a:ext cx="931461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6" h="21600" extrusionOk="0">
                  <a:moveTo>
                    <a:pt x="10020" y="0"/>
                  </a:moveTo>
                  <a:cubicBezTo>
                    <a:pt x="9650" y="0"/>
                    <a:pt x="9354" y="271"/>
                    <a:pt x="9289" y="637"/>
                  </a:cubicBezTo>
                  <a:lnTo>
                    <a:pt x="8377" y="7696"/>
                  </a:lnTo>
                  <a:lnTo>
                    <a:pt x="1379" y="6758"/>
                  </a:lnTo>
                  <a:cubicBezTo>
                    <a:pt x="1346" y="6754"/>
                    <a:pt x="1316" y="6752"/>
                    <a:pt x="1284" y="6752"/>
                  </a:cubicBezTo>
                  <a:cubicBezTo>
                    <a:pt x="895" y="6752"/>
                    <a:pt x="581" y="7027"/>
                    <a:pt x="515" y="7407"/>
                  </a:cubicBezTo>
                  <a:lnTo>
                    <a:pt x="11" y="11407"/>
                  </a:lnTo>
                  <a:cubicBezTo>
                    <a:pt x="-61" y="11816"/>
                    <a:pt x="227" y="12178"/>
                    <a:pt x="636" y="12249"/>
                  </a:cubicBezTo>
                  <a:lnTo>
                    <a:pt x="7634" y="13189"/>
                  </a:lnTo>
                  <a:lnTo>
                    <a:pt x="6724" y="20222"/>
                  </a:lnTo>
                  <a:cubicBezTo>
                    <a:pt x="6652" y="20633"/>
                    <a:pt x="6964" y="21017"/>
                    <a:pt x="7371" y="21066"/>
                  </a:cubicBezTo>
                  <a:lnTo>
                    <a:pt x="11351" y="21596"/>
                  </a:lnTo>
                  <a:cubicBezTo>
                    <a:pt x="11381" y="21600"/>
                    <a:pt x="11409" y="21600"/>
                    <a:pt x="11440" y="21600"/>
                  </a:cubicBezTo>
                  <a:cubicBezTo>
                    <a:pt x="11810" y="21600"/>
                    <a:pt x="12122" y="21325"/>
                    <a:pt x="12191" y="20944"/>
                  </a:cubicBezTo>
                  <a:lnTo>
                    <a:pt x="13101" y="13887"/>
                  </a:lnTo>
                  <a:lnTo>
                    <a:pt x="20124" y="14826"/>
                  </a:lnTo>
                  <a:cubicBezTo>
                    <a:pt x="20154" y="14830"/>
                    <a:pt x="20184" y="14832"/>
                    <a:pt x="20212" y="14832"/>
                  </a:cubicBezTo>
                  <a:cubicBezTo>
                    <a:pt x="20583" y="14832"/>
                    <a:pt x="20897" y="14555"/>
                    <a:pt x="20963" y="14177"/>
                  </a:cubicBezTo>
                  <a:lnTo>
                    <a:pt x="21491" y="10177"/>
                  </a:lnTo>
                  <a:cubicBezTo>
                    <a:pt x="21539" y="9768"/>
                    <a:pt x="21251" y="9382"/>
                    <a:pt x="20844" y="9335"/>
                  </a:cubicBezTo>
                  <a:lnTo>
                    <a:pt x="13820" y="8419"/>
                  </a:lnTo>
                  <a:lnTo>
                    <a:pt x="14754" y="1362"/>
                  </a:lnTo>
                  <a:cubicBezTo>
                    <a:pt x="14802" y="951"/>
                    <a:pt x="14514" y="567"/>
                    <a:pt x="14107" y="518"/>
                  </a:cubicBezTo>
                  <a:lnTo>
                    <a:pt x="10151" y="12"/>
                  </a:lnTo>
                  <a:cubicBezTo>
                    <a:pt x="10107" y="4"/>
                    <a:pt x="10062" y="0"/>
                    <a:pt x="1002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51" name="Google Shape;384;p2"/>
            <p:cNvSpPr/>
            <p:nvPr/>
          </p:nvSpPr>
          <p:spPr>
            <a:xfrm>
              <a:off x="5543931" y="11088932"/>
              <a:ext cx="933081" cy="11774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0" h="21600" extrusionOk="0">
                  <a:moveTo>
                    <a:pt x="8127" y="658"/>
                  </a:moveTo>
                  <a:cubicBezTo>
                    <a:pt x="8699" y="658"/>
                    <a:pt x="9266" y="935"/>
                    <a:pt x="9379" y="1552"/>
                  </a:cubicBezTo>
                  <a:cubicBezTo>
                    <a:pt x="9427" y="1857"/>
                    <a:pt x="9331" y="2181"/>
                    <a:pt x="9070" y="2430"/>
                  </a:cubicBezTo>
                  <a:lnTo>
                    <a:pt x="7503" y="2657"/>
                  </a:lnTo>
                  <a:cubicBezTo>
                    <a:pt x="7148" y="2505"/>
                    <a:pt x="6911" y="2257"/>
                    <a:pt x="6839" y="1953"/>
                  </a:cubicBezTo>
                  <a:lnTo>
                    <a:pt x="6839" y="1933"/>
                  </a:lnTo>
                  <a:cubicBezTo>
                    <a:pt x="6610" y="1133"/>
                    <a:pt x="7376" y="658"/>
                    <a:pt x="8127" y="658"/>
                  </a:cubicBezTo>
                  <a:close/>
                  <a:moveTo>
                    <a:pt x="15521" y="4356"/>
                  </a:moveTo>
                  <a:cubicBezTo>
                    <a:pt x="16034" y="4356"/>
                    <a:pt x="16486" y="4657"/>
                    <a:pt x="16570" y="5077"/>
                  </a:cubicBezTo>
                  <a:lnTo>
                    <a:pt x="19347" y="17178"/>
                  </a:lnTo>
                  <a:cubicBezTo>
                    <a:pt x="19443" y="17672"/>
                    <a:pt x="19064" y="18130"/>
                    <a:pt x="18446" y="18207"/>
                  </a:cubicBezTo>
                  <a:lnTo>
                    <a:pt x="5960" y="20036"/>
                  </a:lnTo>
                  <a:cubicBezTo>
                    <a:pt x="5900" y="20044"/>
                    <a:pt x="5839" y="20048"/>
                    <a:pt x="5779" y="20048"/>
                  </a:cubicBezTo>
                  <a:cubicBezTo>
                    <a:pt x="5255" y="20048"/>
                    <a:pt x="4788" y="19758"/>
                    <a:pt x="4702" y="19331"/>
                  </a:cubicBezTo>
                  <a:lnTo>
                    <a:pt x="1949" y="7212"/>
                  </a:lnTo>
                  <a:cubicBezTo>
                    <a:pt x="1832" y="6735"/>
                    <a:pt x="2234" y="6279"/>
                    <a:pt x="2828" y="6202"/>
                  </a:cubicBezTo>
                  <a:lnTo>
                    <a:pt x="4324" y="5992"/>
                  </a:lnTo>
                  <a:cubicBezTo>
                    <a:pt x="4385" y="6312"/>
                    <a:pt x="4746" y="6557"/>
                    <a:pt x="5157" y="6557"/>
                  </a:cubicBezTo>
                  <a:cubicBezTo>
                    <a:pt x="5211" y="6557"/>
                    <a:pt x="5264" y="6554"/>
                    <a:pt x="5320" y="6544"/>
                  </a:cubicBezTo>
                  <a:lnTo>
                    <a:pt x="13129" y="5402"/>
                  </a:lnTo>
                  <a:cubicBezTo>
                    <a:pt x="13603" y="5325"/>
                    <a:pt x="13912" y="4963"/>
                    <a:pt x="13817" y="4582"/>
                  </a:cubicBezTo>
                  <a:lnTo>
                    <a:pt x="15312" y="4372"/>
                  </a:lnTo>
                  <a:cubicBezTo>
                    <a:pt x="15384" y="4361"/>
                    <a:pt x="15453" y="4356"/>
                    <a:pt x="15521" y="4356"/>
                  </a:cubicBezTo>
                  <a:close/>
                  <a:moveTo>
                    <a:pt x="8103" y="0"/>
                  </a:moveTo>
                  <a:cubicBezTo>
                    <a:pt x="7976" y="0"/>
                    <a:pt x="7846" y="8"/>
                    <a:pt x="7717" y="27"/>
                  </a:cubicBezTo>
                  <a:cubicBezTo>
                    <a:pt x="6530" y="198"/>
                    <a:pt x="5747" y="1114"/>
                    <a:pt x="5984" y="2047"/>
                  </a:cubicBezTo>
                  <a:cubicBezTo>
                    <a:pt x="6032" y="2333"/>
                    <a:pt x="6174" y="2582"/>
                    <a:pt x="6389" y="2810"/>
                  </a:cubicBezTo>
                  <a:lnTo>
                    <a:pt x="4846" y="3039"/>
                  </a:lnTo>
                  <a:cubicBezTo>
                    <a:pt x="4228" y="3134"/>
                    <a:pt x="3801" y="3630"/>
                    <a:pt x="3919" y="4124"/>
                  </a:cubicBezTo>
                  <a:lnTo>
                    <a:pt x="4015" y="4582"/>
                  </a:lnTo>
                  <a:lnTo>
                    <a:pt x="1451" y="4963"/>
                  </a:lnTo>
                  <a:cubicBezTo>
                    <a:pt x="478" y="5096"/>
                    <a:pt x="-140" y="5840"/>
                    <a:pt x="27" y="6621"/>
                  </a:cubicBezTo>
                  <a:lnTo>
                    <a:pt x="3159" y="20436"/>
                  </a:lnTo>
                  <a:cubicBezTo>
                    <a:pt x="3329" y="21117"/>
                    <a:pt x="4068" y="21600"/>
                    <a:pt x="4918" y="21600"/>
                  </a:cubicBezTo>
                  <a:cubicBezTo>
                    <a:pt x="5019" y="21600"/>
                    <a:pt x="5121" y="21594"/>
                    <a:pt x="5225" y="21579"/>
                  </a:cubicBezTo>
                  <a:lnTo>
                    <a:pt x="19845" y="19427"/>
                  </a:lnTo>
                  <a:cubicBezTo>
                    <a:pt x="20820" y="19294"/>
                    <a:pt x="21460" y="18530"/>
                    <a:pt x="21295" y="17768"/>
                  </a:cubicBezTo>
                  <a:lnTo>
                    <a:pt x="18137" y="3953"/>
                  </a:lnTo>
                  <a:cubicBezTo>
                    <a:pt x="17991" y="3265"/>
                    <a:pt x="17254" y="2783"/>
                    <a:pt x="16414" y="2783"/>
                  </a:cubicBezTo>
                  <a:cubicBezTo>
                    <a:pt x="16303" y="2783"/>
                    <a:pt x="16187" y="2791"/>
                    <a:pt x="16071" y="2810"/>
                  </a:cubicBezTo>
                  <a:lnTo>
                    <a:pt x="13510" y="3191"/>
                  </a:lnTo>
                  <a:lnTo>
                    <a:pt x="13414" y="2734"/>
                  </a:lnTo>
                  <a:cubicBezTo>
                    <a:pt x="13306" y="2284"/>
                    <a:pt x="12808" y="1961"/>
                    <a:pt x="12240" y="1961"/>
                  </a:cubicBezTo>
                  <a:cubicBezTo>
                    <a:pt x="12180" y="1961"/>
                    <a:pt x="12120" y="1964"/>
                    <a:pt x="12060" y="1972"/>
                  </a:cubicBezTo>
                  <a:lnTo>
                    <a:pt x="10163" y="2257"/>
                  </a:lnTo>
                  <a:cubicBezTo>
                    <a:pt x="10280" y="1991"/>
                    <a:pt x="10304" y="1705"/>
                    <a:pt x="10232" y="1418"/>
                  </a:cubicBezTo>
                  <a:cubicBezTo>
                    <a:pt x="10043" y="589"/>
                    <a:pt x="9122" y="0"/>
                    <a:pt x="810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52" name="Google Shape;385;p2"/>
            <p:cNvSpPr/>
            <p:nvPr/>
          </p:nvSpPr>
          <p:spPr>
            <a:xfrm>
              <a:off x="5725477" y="11512252"/>
              <a:ext cx="134608" cy="1347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07" h="21600" extrusionOk="0">
                  <a:moveTo>
                    <a:pt x="8912" y="0"/>
                  </a:moveTo>
                  <a:cubicBezTo>
                    <a:pt x="8401" y="0"/>
                    <a:pt x="7890" y="56"/>
                    <a:pt x="7368" y="154"/>
                  </a:cubicBezTo>
                  <a:cubicBezTo>
                    <a:pt x="-501" y="1819"/>
                    <a:pt x="-2718" y="14144"/>
                    <a:pt x="3921" y="19641"/>
                  </a:cubicBezTo>
                  <a:cubicBezTo>
                    <a:pt x="5523" y="20998"/>
                    <a:pt x="7264" y="21600"/>
                    <a:pt x="8970" y="21600"/>
                  </a:cubicBezTo>
                  <a:cubicBezTo>
                    <a:pt x="14146" y="21600"/>
                    <a:pt x="18882" y="15962"/>
                    <a:pt x="17733" y="8813"/>
                  </a:cubicBezTo>
                  <a:cubicBezTo>
                    <a:pt x="17002" y="3609"/>
                    <a:pt x="13172" y="0"/>
                    <a:pt x="891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53" name="Google Shape;386;p2"/>
            <p:cNvSpPr/>
            <p:nvPr/>
          </p:nvSpPr>
          <p:spPr>
            <a:xfrm>
              <a:off x="5906428" y="11472905"/>
              <a:ext cx="301584" cy="1169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71" h="21600" extrusionOk="0">
                  <a:moveTo>
                    <a:pt x="17206" y="0"/>
                  </a:moveTo>
                  <a:cubicBezTo>
                    <a:pt x="17036" y="0"/>
                    <a:pt x="16849" y="48"/>
                    <a:pt x="16662" y="161"/>
                  </a:cubicBezTo>
                  <a:lnTo>
                    <a:pt x="16730" y="161"/>
                  </a:lnTo>
                  <a:lnTo>
                    <a:pt x="2032" y="7635"/>
                  </a:lnTo>
                  <a:cubicBezTo>
                    <a:pt x="-1014" y="9262"/>
                    <a:pt x="-414" y="21600"/>
                    <a:pt x="2366" y="21600"/>
                  </a:cubicBezTo>
                  <a:cubicBezTo>
                    <a:pt x="2542" y="21600"/>
                    <a:pt x="2723" y="21552"/>
                    <a:pt x="2910" y="21439"/>
                  </a:cubicBezTo>
                  <a:lnTo>
                    <a:pt x="17540" y="13965"/>
                  </a:lnTo>
                  <a:cubicBezTo>
                    <a:pt x="20586" y="12338"/>
                    <a:pt x="19986" y="0"/>
                    <a:pt x="1720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54" name="Google Shape;387;p2"/>
            <p:cNvSpPr/>
            <p:nvPr/>
          </p:nvSpPr>
          <p:spPr>
            <a:xfrm>
              <a:off x="5759834" y="11700268"/>
              <a:ext cx="135371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0" h="21600" extrusionOk="0">
                  <a:moveTo>
                    <a:pt x="9028" y="0"/>
                  </a:moveTo>
                  <a:cubicBezTo>
                    <a:pt x="8518" y="0"/>
                    <a:pt x="8008" y="56"/>
                    <a:pt x="7487" y="154"/>
                  </a:cubicBezTo>
                  <a:cubicBezTo>
                    <a:pt x="-509" y="1817"/>
                    <a:pt x="-2722" y="14134"/>
                    <a:pt x="3906" y="19629"/>
                  </a:cubicBezTo>
                  <a:cubicBezTo>
                    <a:pt x="5505" y="20985"/>
                    <a:pt x="7244" y="21600"/>
                    <a:pt x="8947" y="21600"/>
                  </a:cubicBezTo>
                  <a:cubicBezTo>
                    <a:pt x="14127" y="21600"/>
                    <a:pt x="18878" y="15952"/>
                    <a:pt x="17835" y="8808"/>
                  </a:cubicBezTo>
                  <a:cubicBezTo>
                    <a:pt x="16978" y="3607"/>
                    <a:pt x="13246" y="0"/>
                    <a:pt x="902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55" name="Google Shape;388;p2"/>
            <p:cNvSpPr/>
            <p:nvPr/>
          </p:nvSpPr>
          <p:spPr>
            <a:xfrm>
              <a:off x="5943250" y="11660571"/>
              <a:ext cx="296509" cy="117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9" h="21600" extrusionOk="0">
                  <a:moveTo>
                    <a:pt x="17013" y="0"/>
                  </a:moveTo>
                  <a:cubicBezTo>
                    <a:pt x="16927" y="0"/>
                    <a:pt x="16835" y="0"/>
                    <a:pt x="16743" y="32"/>
                  </a:cubicBezTo>
                  <a:lnTo>
                    <a:pt x="1826" y="7467"/>
                  </a:lnTo>
                  <a:cubicBezTo>
                    <a:pt x="-1047" y="9887"/>
                    <a:pt x="-329" y="21600"/>
                    <a:pt x="2579" y="21600"/>
                  </a:cubicBezTo>
                  <a:cubicBezTo>
                    <a:pt x="2648" y="21600"/>
                    <a:pt x="2717" y="21600"/>
                    <a:pt x="2786" y="21584"/>
                  </a:cubicBezTo>
                  <a:lnTo>
                    <a:pt x="17703" y="13957"/>
                  </a:lnTo>
                  <a:cubicBezTo>
                    <a:pt x="20553" y="11553"/>
                    <a:pt x="19869" y="0"/>
                    <a:pt x="1701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56" name="Google Shape;389;p2"/>
            <p:cNvSpPr/>
            <p:nvPr/>
          </p:nvSpPr>
          <p:spPr>
            <a:xfrm>
              <a:off x="5796171" y="11900761"/>
              <a:ext cx="135415" cy="1357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6" h="21600" extrusionOk="0">
                  <a:moveTo>
                    <a:pt x="8976" y="0"/>
                  </a:moveTo>
                  <a:cubicBezTo>
                    <a:pt x="8490" y="0"/>
                    <a:pt x="7991" y="56"/>
                    <a:pt x="7493" y="153"/>
                  </a:cubicBezTo>
                  <a:cubicBezTo>
                    <a:pt x="-514" y="1805"/>
                    <a:pt x="-2716" y="14034"/>
                    <a:pt x="3901" y="19657"/>
                  </a:cubicBezTo>
                  <a:cubicBezTo>
                    <a:pt x="5511" y="21003"/>
                    <a:pt x="7250" y="21600"/>
                    <a:pt x="8953" y="21600"/>
                  </a:cubicBezTo>
                  <a:cubicBezTo>
                    <a:pt x="14133" y="21600"/>
                    <a:pt x="18884" y="16006"/>
                    <a:pt x="17841" y="8912"/>
                  </a:cubicBezTo>
                  <a:cubicBezTo>
                    <a:pt x="16972" y="3720"/>
                    <a:pt x="13229" y="0"/>
                    <a:pt x="8976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57" name="Google Shape;390;p2"/>
            <p:cNvSpPr/>
            <p:nvPr/>
          </p:nvSpPr>
          <p:spPr>
            <a:xfrm>
              <a:off x="5978256" y="11860802"/>
              <a:ext cx="299389" cy="1182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62" h="21600" extrusionOk="0">
                  <a:moveTo>
                    <a:pt x="17088" y="0"/>
                  </a:moveTo>
                  <a:cubicBezTo>
                    <a:pt x="16963" y="0"/>
                    <a:pt x="16832" y="32"/>
                    <a:pt x="16701" y="80"/>
                  </a:cubicBezTo>
                  <a:lnTo>
                    <a:pt x="16769" y="80"/>
                  </a:lnTo>
                  <a:lnTo>
                    <a:pt x="1970" y="7668"/>
                  </a:lnTo>
                  <a:cubicBezTo>
                    <a:pt x="-1023" y="9660"/>
                    <a:pt x="-402" y="21600"/>
                    <a:pt x="2460" y="21600"/>
                  </a:cubicBezTo>
                  <a:cubicBezTo>
                    <a:pt x="2586" y="21600"/>
                    <a:pt x="2717" y="21568"/>
                    <a:pt x="2853" y="21520"/>
                  </a:cubicBezTo>
                  <a:lnTo>
                    <a:pt x="17647" y="14124"/>
                  </a:lnTo>
                  <a:cubicBezTo>
                    <a:pt x="20577" y="11940"/>
                    <a:pt x="19950" y="0"/>
                    <a:pt x="1708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58" name="Google Shape;391;p2"/>
            <p:cNvSpPr/>
            <p:nvPr/>
          </p:nvSpPr>
          <p:spPr>
            <a:xfrm>
              <a:off x="5657783" y="12736145"/>
              <a:ext cx="602934" cy="6074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199" h="21600" extrusionOk="0">
                  <a:moveTo>
                    <a:pt x="9729" y="0"/>
                  </a:moveTo>
                  <a:cubicBezTo>
                    <a:pt x="6864" y="0"/>
                    <a:pt x="4053" y="1452"/>
                    <a:pt x="2200" y="4164"/>
                  </a:cubicBezTo>
                  <a:lnTo>
                    <a:pt x="18144" y="15432"/>
                  </a:lnTo>
                  <a:cubicBezTo>
                    <a:pt x="20394" y="10555"/>
                    <a:pt x="18938" y="4570"/>
                    <a:pt x="14804" y="1654"/>
                  </a:cubicBezTo>
                  <a:cubicBezTo>
                    <a:pt x="13229" y="537"/>
                    <a:pt x="11468" y="0"/>
                    <a:pt x="9729" y="0"/>
                  </a:cubicBezTo>
                  <a:close/>
                  <a:moveTo>
                    <a:pt x="1078" y="6159"/>
                  </a:moveTo>
                  <a:cubicBezTo>
                    <a:pt x="-1206" y="11036"/>
                    <a:pt x="250" y="17055"/>
                    <a:pt x="4417" y="19974"/>
                  </a:cubicBezTo>
                  <a:cubicBezTo>
                    <a:pt x="5984" y="21073"/>
                    <a:pt x="7734" y="21600"/>
                    <a:pt x="9465" y="21600"/>
                  </a:cubicBezTo>
                  <a:cubicBezTo>
                    <a:pt x="12337" y="21600"/>
                    <a:pt x="15163" y="20145"/>
                    <a:pt x="17019" y="17427"/>
                  </a:cubicBezTo>
                  <a:lnTo>
                    <a:pt x="1078" y="6159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59" name="Google Shape;392;p2"/>
            <p:cNvSpPr/>
            <p:nvPr/>
          </p:nvSpPr>
          <p:spPr>
            <a:xfrm>
              <a:off x="6914537" y="11433207"/>
              <a:ext cx="505603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78" y="0"/>
                  </a:moveTo>
                  <a:lnTo>
                    <a:pt x="3284" y="6250"/>
                  </a:lnTo>
                  <a:cubicBezTo>
                    <a:pt x="-142" y="8755"/>
                    <a:pt x="-1029" y="13772"/>
                    <a:pt x="1296" y="17422"/>
                  </a:cubicBezTo>
                  <a:lnTo>
                    <a:pt x="1676" y="18057"/>
                  </a:lnTo>
                  <a:cubicBezTo>
                    <a:pt x="3128" y="20359"/>
                    <a:pt x="5478" y="21600"/>
                    <a:pt x="7874" y="21600"/>
                  </a:cubicBezTo>
                  <a:cubicBezTo>
                    <a:pt x="9322" y="21600"/>
                    <a:pt x="10784" y="21148"/>
                    <a:pt x="12073" y="20202"/>
                  </a:cubicBezTo>
                  <a:lnTo>
                    <a:pt x="20571" y="13956"/>
                  </a:lnTo>
                  <a:lnTo>
                    <a:pt x="11778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60" name="Google Shape;393;p2"/>
            <p:cNvSpPr/>
            <p:nvPr/>
          </p:nvSpPr>
          <p:spPr>
            <a:xfrm>
              <a:off x="7248700" y="11228963"/>
              <a:ext cx="504784" cy="4919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82" h="21600" extrusionOk="0">
                  <a:moveTo>
                    <a:pt x="12692" y="0"/>
                  </a:moveTo>
                  <a:cubicBezTo>
                    <a:pt x="11248" y="0"/>
                    <a:pt x="9790" y="452"/>
                    <a:pt x="8513" y="1398"/>
                  </a:cubicBezTo>
                  <a:lnTo>
                    <a:pt x="0" y="7646"/>
                  </a:lnTo>
                  <a:lnTo>
                    <a:pt x="8811" y="21600"/>
                  </a:lnTo>
                  <a:lnTo>
                    <a:pt x="17324" y="15353"/>
                  </a:lnTo>
                  <a:cubicBezTo>
                    <a:pt x="20711" y="12844"/>
                    <a:pt x="21600" y="7829"/>
                    <a:pt x="19313" y="4179"/>
                  </a:cubicBezTo>
                  <a:lnTo>
                    <a:pt x="18889" y="3543"/>
                  </a:lnTo>
                  <a:cubicBezTo>
                    <a:pt x="17438" y="1241"/>
                    <a:pt x="15083" y="0"/>
                    <a:pt x="1269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61" name="Google Shape;394;p2"/>
            <p:cNvSpPr/>
            <p:nvPr/>
          </p:nvSpPr>
          <p:spPr>
            <a:xfrm>
              <a:off x="6737125" y="12448668"/>
              <a:ext cx="930668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77" h="21600" extrusionOk="0">
                  <a:moveTo>
                    <a:pt x="10020" y="0"/>
                  </a:moveTo>
                  <a:cubicBezTo>
                    <a:pt x="9650" y="0"/>
                    <a:pt x="9354" y="273"/>
                    <a:pt x="9289" y="662"/>
                  </a:cubicBezTo>
                  <a:lnTo>
                    <a:pt x="8377" y="7696"/>
                  </a:lnTo>
                  <a:lnTo>
                    <a:pt x="1379" y="6756"/>
                  </a:lnTo>
                  <a:cubicBezTo>
                    <a:pt x="1346" y="6754"/>
                    <a:pt x="1316" y="6752"/>
                    <a:pt x="1284" y="6752"/>
                  </a:cubicBezTo>
                  <a:cubicBezTo>
                    <a:pt x="895" y="6752"/>
                    <a:pt x="581" y="7027"/>
                    <a:pt x="515" y="7407"/>
                  </a:cubicBezTo>
                  <a:lnTo>
                    <a:pt x="11" y="11405"/>
                  </a:lnTo>
                  <a:cubicBezTo>
                    <a:pt x="-61" y="11816"/>
                    <a:pt x="227" y="12200"/>
                    <a:pt x="636" y="12249"/>
                  </a:cubicBezTo>
                  <a:lnTo>
                    <a:pt x="7634" y="13187"/>
                  </a:lnTo>
                  <a:lnTo>
                    <a:pt x="6724" y="20222"/>
                  </a:lnTo>
                  <a:cubicBezTo>
                    <a:pt x="6652" y="20631"/>
                    <a:pt x="6964" y="21017"/>
                    <a:pt x="7371" y="21066"/>
                  </a:cubicBezTo>
                  <a:lnTo>
                    <a:pt x="11327" y="21596"/>
                  </a:lnTo>
                  <a:cubicBezTo>
                    <a:pt x="11357" y="21598"/>
                    <a:pt x="11385" y="21600"/>
                    <a:pt x="11416" y="21600"/>
                  </a:cubicBezTo>
                  <a:cubicBezTo>
                    <a:pt x="11788" y="21600"/>
                    <a:pt x="12122" y="21325"/>
                    <a:pt x="12167" y="20944"/>
                  </a:cubicBezTo>
                  <a:lnTo>
                    <a:pt x="13101" y="13912"/>
                  </a:lnTo>
                  <a:lnTo>
                    <a:pt x="20101" y="14826"/>
                  </a:lnTo>
                  <a:cubicBezTo>
                    <a:pt x="20140" y="14832"/>
                    <a:pt x="20180" y="14836"/>
                    <a:pt x="20218" y="14836"/>
                  </a:cubicBezTo>
                  <a:cubicBezTo>
                    <a:pt x="20581" y="14836"/>
                    <a:pt x="20899" y="14545"/>
                    <a:pt x="20963" y="14177"/>
                  </a:cubicBezTo>
                  <a:lnTo>
                    <a:pt x="21467" y="10201"/>
                  </a:lnTo>
                  <a:cubicBezTo>
                    <a:pt x="21539" y="9768"/>
                    <a:pt x="21251" y="9406"/>
                    <a:pt x="20820" y="9333"/>
                  </a:cubicBezTo>
                  <a:lnTo>
                    <a:pt x="13820" y="8419"/>
                  </a:lnTo>
                  <a:lnTo>
                    <a:pt x="14754" y="1384"/>
                  </a:lnTo>
                  <a:cubicBezTo>
                    <a:pt x="14802" y="951"/>
                    <a:pt x="14514" y="589"/>
                    <a:pt x="14107" y="518"/>
                  </a:cubicBezTo>
                  <a:lnTo>
                    <a:pt x="10151" y="12"/>
                  </a:lnTo>
                  <a:cubicBezTo>
                    <a:pt x="10107" y="4"/>
                    <a:pt x="10065" y="0"/>
                    <a:pt x="1002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62" name="Google Shape;395;p2"/>
            <p:cNvSpPr/>
            <p:nvPr/>
          </p:nvSpPr>
          <p:spPr>
            <a:xfrm>
              <a:off x="2772203" y="0"/>
              <a:ext cx="932606" cy="1179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88" h="21600" extrusionOk="0">
                  <a:moveTo>
                    <a:pt x="8125" y="695"/>
                  </a:moveTo>
                  <a:cubicBezTo>
                    <a:pt x="8696" y="695"/>
                    <a:pt x="9262" y="970"/>
                    <a:pt x="9375" y="1588"/>
                  </a:cubicBezTo>
                  <a:cubicBezTo>
                    <a:pt x="9423" y="1911"/>
                    <a:pt x="9328" y="2216"/>
                    <a:pt x="9067" y="2462"/>
                  </a:cubicBezTo>
                  <a:lnTo>
                    <a:pt x="7501" y="2690"/>
                  </a:lnTo>
                  <a:cubicBezTo>
                    <a:pt x="7147" y="2539"/>
                    <a:pt x="6910" y="2272"/>
                    <a:pt x="6838" y="1968"/>
                  </a:cubicBezTo>
                  <a:cubicBezTo>
                    <a:pt x="6609" y="1169"/>
                    <a:pt x="7374" y="695"/>
                    <a:pt x="8125" y="695"/>
                  </a:cubicBezTo>
                  <a:close/>
                  <a:moveTo>
                    <a:pt x="15507" y="4392"/>
                  </a:moveTo>
                  <a:cubicBezTo>
                    <a:pt x="16031" y="4392"/>
                    <a:pt x="16499" y="4681"/>
                    <a:pt x="16583" y="5125"/>
                  </a:cubicBezTo>
                  <a:lnTo>
                    <a:pt x="19335" y="17205"/>
                  </a:lnTo>
                  <a:cubicBezTo>
                    <a:pt x="19429" y="17679"/>
                    <a:pt x="19050" y="18117"/>
                    <a:pt x="18457" y="18213"/>
                  </a:cubicBezTo>
                  <a:lnTo>
                    <a:pt x="5984" y="20039"/>
                  </a:lnTo>
                  <a:cubicBezTo>
                    <a:pt x="5914" y="20050"/>
                    <a:pt x="5844" y="20055"/>
                    <a:pt x="5777" y="20055"/>
                  </a:cubicBezTo>
                  <a:cubicBezTo>
                    <a:pt x="5265" y="20055"/>
                    <a:pt x="4811" y="19755"/>
                    <a:pt x="4727" y="19335"/>
                  </a:cubicBezTo>
                  <a:lnTo>
                    <a:pt x="1977" y="7237"/>
                  </a:lnTo>
                  <a:cubicBezTo>
                    <a:pt x="1859" y="6761"/>
                    <a:pt x="2262" y="6323"/>
                    <a:pt x="2855" y="6229"/>
                  </a:cubicBezTo>
                  <a:lnTo>
                    <a:pt x="4349" y="6020"/>
                  </a:lnTo>
                  <a:cubicBezTo>
                    <a:pt x="4411" y="6354"/>
                    <a:pt x="4765" y="6585"/>
                    <a:pt x="5173" y="6585"/>
                  </a:cubicBezTo>
                  <a:cubicBezTo>
                    <a:pt x="5229" y="6585"/>
                    <a:pt x="5287" y="6581"/>
                    <a:pt x="5345" y="6571"/>
                  </a:cubicBezTo>
                  <a:lnTo>
                    <a:pt x="13145" y="5430"/>
                  </a:lnTo>
                  <a:cubicBezTo>
                    <a:pt x="13595" y="5373"/>
                    <a:pt x="13928" y="4993"/>
                    <a:pt x="13832" y="4632"/>
                  </a:cubicBezTo>
                  <a:lnTo>
                    <a:pt x="15326" y="4403"/>
                  </a:lnTo>
                  <a:cubicBezTo>
                    <a:pt x="15388" y="4395"/>
                    <a:pt x="15448" y="4392"/>
                    <a:pt x="15507" y="4392"/>
                  </a:cubicBezTo>
                  <a:close/>
                  <a:moveTo>
                    <a:pt x="8073" y="0"/>
                  </a:moveTo>
                  <a:cubicBezTo>
                    <a:pt x="7947" y="0"/>
                    <a:pt x="7820" y="10"/>
                    <a:pt x="7693" y="27"/>
                  </a:cubicBezTo>
                  <a:cubicBezTo>
                    <a:pt x="6506" y="217"/>
                    <a:pt x="5723" y="1131"/>
                    <a:pt x="5960" y="2082"/>
                  </a:cubicBezTo>
                  <a:cubicBezTo>
                    <a:pt x="6032" y="2368"/>
                    <a:pt x="6175" y="2634"/>
                    <a:pt x="6388" y="2842"/>
                  </a:cubicBezTo>
                  <a:lnTo>
                    <a:pt x="4847" y="3071"/>
                  </a:lnTo>
                  <a:cubicBezTo>
                    <a:pt x="4229" y="3167"/>
                    <a:pt x="3803" y="3660"/>
                    <a:pt x="3923" y="4155"/>
                  </a:cubicBezTo>
                  <a:lnTo>
                    <a:pt x="4016" y="4612"/>
                  </a:lnTo>
                  <a:lnTo>
                    <a:pt x="1455" y="4993"/>
                  </a:lnTo>
                  <a:cubicBezTo>
                    <a:pt x="483" y="5125"/>
                    <a:pt x="-156" y="5868"/>
                    <a:pt x="33" y="6629"/>
                  </a:cubicBezTo>
                  <a:lnTo>
                    <a:pt x="3164" y="20419"/>
                  </a:lnTo>
                  <a:cubicBezTo>
                    <a:pt x="3311" y="21116"/>
                    <a:pt x="4066" y="21600"/>
                    <a:pt x="4918" y="21600"/>
                  </a:cubicBezTo>
                  <a:cubicBezTo>
                    <a:pt x="5020" y="21600"/>
                    <a:pt x="5122" y="21594"/>
                    <a:pt x="5225" y="21579"/>
                  </a:cubicBezTo>
                  <a:lnTo>
                    <a:pt x="19833" y="19430"/>
                  </a:lnTo>
                  <a:cubicBezTo>
                    <a:pt x="20805" y="19277"/>
                    <a:pt x="21444" y="18536"/>
                    <a:pt x="21255" y="17775"/>
                  </a:cubicBezTo>
                  <a:lnTo>
                    <a:pt x="18148" y="4004"/>
                  </a:lnTo>
                  <a:cubicBezTo>
                    <a:pt x="17981" y="3313"/>
                    <a:pt x="17238" y="2817"/>
                    <a:pt x="16396" y="2817"/>
                  </a:cubicBezTo>
                  <a:cubicBezTo>
                    <a:pt x="16286" y="2817"/>
                    <a:pt x="16174" y="2826"/>
                    <a:pt x="16063" y="2842"/>
                  </a:cubicBezTo>
                  <a:lnTo>
                    <a:pt x="13502" y="3224"/>
                  </a:lnTo>
                  <a:lnTo>
                    <a:pt x="13406" y="2786"/>
                  </a:lnTo>
                  <a:cubicBezTo>
                    <a:pt x="13281" y="2329"/>
                    <a:pt x="12799" y="2010"/>
                    <a:pt x="12245" y="2010"/>
                  </a:cubicBezTo>
                  <a:cubicBezTo>
                    <a:pt x="12175" y="2010"/>
                    <a:pt x="12104" y="2015"/>
                    <a:pt x="12030" y="2026"/>
                  </a:cubicBezTo>
                  <a:lnTo>
                    <a:pt x="10158" y="2291"/>
                  </a:lnTo>
                  <a:cubicBezTo>
                    <a:pt x="10252" y="2026"/>
                    <a:pt x="10276" y="1740"/>
                    <a:pt x="10206" y="1473"/>
                  </a:cubicBezTo>
                  <a:cubicBezTo>
                    <a:pt x="10037" y="609"/>
                    <a:pt x="9113" y="0"/>
                    <a:pt x="807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63" name="Google Shape;396;p2"/>
            <p:cNvSpPr/>
            <p:nvPr/>
          </p:nvSpPr>
          <p:spPr>
            <a:xfrm>
              <a:off x="2954013" y="425151"/>
              <a:ext cx="134681" cy="1348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07" h="21600" extrusionOk="0">
                  <a:moveTo>
                    <a:pt x="9057" y="0"/>
                  </a:moveTo>
                  <a:cubicBezTo>
                    <a:pt x="8501" y="0"/>
                    <a:pt x="7932" y="56"/>
                    <a:pt x="7375" y="196"/>
                  </a:cubicBezTo>
                  <a:cubicBezTo>
                    <a:pt x="-501" y="1858"/>
                    <a:pt x="-2717" y="14167"/>
                    <a:pt x="3918" y="19658"/>
                  </a:cubicBezTo>
                  <a:cubicBezTo>
                    <a:pt x="5508" y="20999"/>
                    <a:pt x="7225" y="21600"/>
                    <a:pt x="8907" y="21600"/>
                  </a:cubicBezTo>
                  <a:cubicBezTo>
                    <a:pt x="14115" y="21600"/>
                    <a:pt x="18883" y="15886"/>
                    <a:pt x="17735" y="8844"/>
                  </a:cubicBezTo>
                  <a:cubicBezTo>
                    <a:pt x="17004" y="3702"/>
                    <a:pt x="13257" y="0"/>
                    <a:pt x="905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64" name="Google Shape;397;p2"/>
            <p:cNvSpPr/>
            <p:nvPr/>
          </p:nvSpPr>
          <p:spPr>
            <a:xfrm>
              <a:off x="3134047" y="385803"/>
              <a:ext cx="304532" cy="1180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42" h="21600" extrusionOk="0">
                  <a:moveTo>
                    <a:pt x="17229" y="0"/>
                  </a:moveTo>
                  <a:cubicBezTo>
                    <a:pt x="17033" y="0"/>
                    <a:pt x="16820" y="64"/>
                    <a:pt x="16601" y="208"/>
                  </a:cubicBezTo>
                  <a:lnTo>
                    <a:pt x="16534" y="208"/>
                  </a:lnTo>
                  <a:lnTo>
                    <a:pt x="2006" y="7807"/>
                  </a:lnTo>
                  <a:cubicBezTo>
                    <a:pt x="-1029" y="9243"/>
                    <a:pt x="-408" y="21600"/>
                    <a:pt x="2442" y="21600"/>
                  </a:cubicBezTo>
                  <a:cubicBezTo>
                    <a:pt x="2599" y="21600"/>
                    <a:pt x="2767" y="21568"/>
                    <a:pt x="2935" y="21488"/>
                  </a:cubicBezTo>
                  <a:lnTo>
                    <a:pt x="17402" y="13889"/>
                  </a:lnTo>
                  <a:cubicBezTo>
                    <a:pt x="20571" y="12644"/>
                    <a:pt x="19972" y="0"/>
                    <a:pt x="1722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65" name="Google Shape;398;p2"/>
            <p:cNvSpPr/>
            <p:nvPr/>
          </p:nvSpPr>
          <p:spPr>
            <a:xfrm>
              <a:off x="2988078" y="613429"/>
              <a:ext cx="134824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36" h="21600" extrusionOk="0">
                  <a:moveTo>
                    <a:pt x="8941" y="0"/>
                  </a:moveTo>
                  <a:cubicBezTo>
                    <a:pt x="8430" y="0"/>
                    <a:pt x="7919" y="42"/>
                    <a:pt x="7409" y="154"/>
                  </a:cubicBezTo>
                  <a:cubicBezTo>
                    <a:pt x="-472" y="1819"/>
                    <a:pt x="-2689" y="14144"/>
                    <a:pt x="3811" y="19641"/>
                  </a:cubicBezTo>
                  <a:cubicBezTo>
                    <a:pt x="5447" y="20998"/>
                    <a:pt x="7223" y="21600"/>
                    <a:pt x="8941" y="21600"/>
                  </a:cubicBezTo>
                  <a:cubicBezTo>
                    <a:pt x="14175" y="21600"/>
                    <a:pt x="18911" y="15962"/>
                    <a:pt x="17762" y="8813"/>
                  </a:cubicBezTo>
                  <a:cubicBezTo>
                    <a:pt x="17031" y="3609"/>
                    <a:pt x="13201" y="0"/>
                    <a:pt x="894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66" name="Google Shape;399;p2"/>
            <p:cNvSpPr/>
            <p:nvPr/>
          </p:nvSpPr>
          <p:spPr>
            <a:xfrm>
              <a:off x="3171780" y="573732"/>
              <a:ext cx="296516" cy="117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08" h="21600" extrusionOk="0">
                  <a:moveTo>
                    <a:pt x="16932" y="0"/>
                  </a:moveTo>
                  <a:cubicBezTo>
                    <a:pt x="16863" y="0"/>
                    <a:pt x="16794" y="16"/>
                    <a:pt x="16725" y="32"/>
                  </a:cubicBezTo>
                  <a:lnTo>
                    <a:pt x="1824" y="7659"/>
                  </a:lnTo>
                  <a:cubicBezTo>
                    <a:pt x="-1046" y="9903"/>
                    <a:pt x="-328" y="21600"/>
                    <a:pt x="2576" y="21600"/>
                  </a:cubicBezTo>
                  <a:cubicBezTo>
                    <a:pt x="2645" y="21600"/>
                    <a:pt x="2714" y="21600"/>
                    <a:pt x="2783" y="21584"/>
                  </a:cubicBezTo>
                  <a:lnTo>
                    <a:pt x="17684" y="13957"/>
                  </a:lnTo>
                  <a:cubicBezTo>
                    <a:pt x="20554" y="11713"/>
                    <a:pt x="19836" y="0"/>
                    <a:pt x="1693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67" name="Google Shape;400;p2"/>
            <p:cNvSpPr/>
            <p:nvPr/>
          </p:nvSpPr>
          <p:spPr>
            <a:xfrm>
              <a:off x="3025024" y="813921"/>
              <a:ext cx="135086" cy="1356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2" h="21600" extrusionOk="0">
                  <a:moveTo>
                    <a:pt x="8980" y="0"/>
                  </a:moveTo>
                  <a:cubicBezTo>
                    <a:pt x="8481" y="0"/>
                    <a:pt x="7971" y="42"/>
                    <a:pt x="7450" y="153"/>
                  </a:cubicBezTo>
                  <a:cubicBezTo>
                    <a:pt x="-418" y="1806"/>
                    <a:pt x="-2759" y="14043"/>
                    <a:pt x="3869" y="19669"/>
                  </a:cubicBezTo>
                  <a:cubicBezTo>
                    <a:pt x="5445" y="21003"/>
                    <a:pt x="7172" y="21600"/>
                    <a:pt x="8852" y="21600"/>
                  </a:cubicBezTo>
                  <a:cubicBezTo>
                    <a:pt x="14055" y="21600"/>
                    <a:pt x="18841" y="15919"/>
                    <a:pt x="17798" y="8918"/>
                  </a:cubicBezTo>
                  <a:cubicBezTo>
                    <a:pt x="16941" y="3598"/>
                    <a:pt x="13209" y="0"/>
                    <a:pt x="898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68" name="Google Shape;401;p2"/>
            <p:cNvSpPr/>
            <p:nvPr/>
          </p:nvSpPr>
          <p:spPr>
            <a:xfrm>
              <a:off x="3207153" y="774050"/>
              <a:ext cx="299108" cy="1190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13" h="21600" extrusionOk="0">
                  <a:moveTo>
                    <a:pt x="17043" y="0"/>
                  </a:moveTo>
                  <a:cubicBezTo>
                    <a:pt x="16935" y="0"/>
                    <a:pt x="16827" y="16"/>
                    <a:pt x="16719" y="63"/>
                  </a:cubicBezTo>
                  <a:lnTo>
                    <a:pt x="1943" y="7601"/>
                  </a:lnTo>
                  <a:cubicBezTo>
                    <a:pt x="-1062" y="9596"/>
                    <a:pt x="-351" y="21600"/>
                    <a:pt x="2501" y="21600"/>
                  </a:cubicBezTo>
                  <a:cubicBezTo>
                    <a:pt x="2609" y="21600"/>
                    <a:pt x="2712" y="21584"/>
                    <a:pt x="2825" y="21552"/>
                  </a:cubicBezTo>
                  <a:lnTo>
                    <a:pt x="17595" y="14015"/>
                  </a:lnTo>
                  <a:cubicBezTo>
                    <a:pt x="20538" y="11829"/>
                    <a:pt x="19889" y="0"/>
                    <a:pt x="1704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69" name="Google Shape;402;p2"/>
            <p:cNvSpPr/>
            <p:nvPr/>
          </p:nvSpPr>
          <p:spPr>
            <a:xfrm>
              <a:off x="2886995" y="1649742"/>
              <a:ext cx="602253" cy="6069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07" h="21600" extrusionOk="0">
                  <a:moveTo>
                    <a:pt x="9716" y="0"/>
                  </a:moveTo>
                  <a:cubicBezTo>
                    <a:pt x="6850" y="0"/>
                    <a:pt x="4037" y="1441"/>
                    <a:pt x="2181" y="4151"/>
                  </a:cubicBezTo>
                  <a:lnTo>
                    <a:pt x="18149" y="15425"/>
                  </a:lnTo>
                  <a:cubicBezTo>
                    <a:pt x="20403" y="10547"/>
                    <a:pt x="18945" y="4558"/>
                    <a:pt x="14805" y="1636"/>
                  </a:cubicBezTo>
                  <a:cubicBezTo>
                    <a:pt x="13224" y="534"/>
                    <a:pt x="11460" y="0"/>
                    <a:pt x="9716" y="0"/>
                  </a:cubicBezTo>
                  <a:close/>
                  <a:moveTo>
                    <a:pt x="1057" y="6185"/>
                  </a:moveTo>
                  <a:cubicBezTo>
                    <a:pt x="-1197" y="11028"/>
                    <a:pt x="261" y="17014"/>
                    <a:pt x="4401" y="19973"/>
                  </a:cubicBezTo>
                  <a:cubicBezTo>
                    <a:pt x="5971" y="21072"/>
                    <a:pt x="7723" y="21600"/>
                    <a:pt x="9457" y="21600"/>
                  </a:cubicBezTo>
                  <a:cubicBezTo>
                    <a:pt x="12334" y="21600"/>
                    <a:pt x="15164" y="20144"/>
                    <a:pt x="17022" y="17421"/>
                  </a:cubicBezTo>
                  <a:lnTo>
                    <a:pt x="1057" y="6185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70" name="Google Shape;403;p2"/>
            <p:cNvSpPr/>
            <p:nvPr/>
          </p:nvSpPr>
          <p:spPr>
            <a:xfrm>
              <a:off x="4143129" y="346368"/>
              <a:ext cx="505542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2" h="21600" extrusionOk="0">
                  <a:moveTo>
                    <a:pt x="11778" y="0"/>
                  </a:moveTo>
                  <a:lnTo>
                    <a:pt x="3282" y="6246"/>
                  </a:lnTo>
                  <a:cubicBezTo>
                    <a:pt x="-140" y="8755"/>
                    <a:pt x="-1028" y="13772"/>
                    <a:pt x="1294" y="17464"/>
                  </a:cubicBezTo>
                  <a:lnTo>
                    <a:pt x="1677" y="18057"/>
                  </a:lnTo>
                  <a:cubicBezTo>
                    <a:pt x="3126" y="20359"/>
                    <a:pt x="5476" y="21600"/>
                    <a:pt x="7873" y="21600"/>
                  </a:cubicBezTo>
                  <a:cubicBezTo>
                    <a:pt x="9321" y="21600"/>
                    <a:pt x="10784" y="21144"/>
                    <a:pt x="12076" y="20202"/>
                  </a:cubicBezTo>
                  <a:lnTo>
                    <a:pt x="20572" y="13956"/>
                  </a:lnTo>
                  <a:lnTo>
                    <a:pt x="11778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71" name="Google Shape;404;p2"/>
            <p:cNvSpPr/>
            <p:nvPr/>
          </p:nvSpPr>
          <p:spPr>
            <a:xfrm>
              <a:off x="4477230" y="143171"/>
              <a:ext cx="505269" cy="4909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61" h="21600" extrusionOk="0">
                  <a:moveTo>
                    <a:pt x="12667" y="0"/>
                  </a:moveTo>
                  <a:cubicBezTo>
                    <a:pt x="11226" y="0"/>
                    <a:pt x="9770" y="453"/>
                    <a:pt x="8496" y="1401"/>
                  </a:cubicBezTo>
                  <a:lnTo>
                    <a:pt x="0" y="7616"/>
                  </a:lnTo>
                  <a:lnTo>
                    <a:pt x="8794" y="21600"/>
                  </a:lnTo>
                  <a:lnTo>
                    <a:pt x="17290" y="15385"/>
                  </a:lnTo>
                  <a:cubicBezTo>
                    <a:pt x="20712" y="12871"/>
                    <a:pt x="21600" y="7842"/>
                    <a:pt x="19232" y="4142"/>
                  </a:cubicBezTo>
                  <a:lnTo>
                    <a:pt x="18852" y="3547"/>
                  </a:lnTo>
                  <a:cubicBezTo>
                    <a:pt x="17404" y="1240"/>
                    <a:pt x="15053" y="0"/>
                    <a:pt x="1266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72" name="Google Shape;405;p2"/>
            <p:cNvSpPr/>
            <p:nvPr/>
          </p:nvSpPr>
          <p:spPr>
            <a:xfrm>
              <a:off x="3964881" y="1362876"/>
              <a:ext cx="931188" cy="9303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15" h="21600" extrusionOk="0">
                  <a:moveTo>
                    <a:pt x="10034" y="0"/>
                  </a:moveTo>
                  <a:cubicBezTo>
                    <a:pt x="9675" y="0"/>
                    <a:pt x="9361" y="273"/>
                    <a:pt x="9319" y="662"/>
                  </a:cubicBezTo>
                  <a:lnTo>
                    <a:pt x="8383" y="7705"/>
                  </a:lnTo>
                  <a:lnTo>
                    <a:pt x="1374" y="6763"/>
                  </a:lnTo>
                  <a:cubicBezTo>
                    <a:pt x="1344" y="6759"/>
                    <a:pt x="1314" y="6759"/>
                    <a:pt x="1285" y="6759"/>
                  </a:cubicBezTo>
                  <a:cubicBezTo>
                    <a:pt x="913" y="6759"/>
                    <a:pt x="578" y="7035"/>
                    <a:pt x="534" y="7415"/>
                  </a:cubicBezTo>
                  <a:lnTo>
                    <a:pt x="5" y="11418"/>
                  </a:lnTo>
                  <a:cubicBezTo>
                    <a:pt x="-41" y="11827"/>
                    <a:pt x="245" y="12214"/>
                    <a:pt x="654" y="12262"/>
                  </a:cubicBezTo>
                  <a:lnTo>
                    <a:pt x="654" y="12238"/>
                  </a:lnTo>
                  <a:lnTo>
                    <a:pt x="7662" y="13178"/>
                  </a:lnTo>
                  <a:lnTo>
                    <a:pt x="6750" y="20221"/>
                  </a:lnTo>
                  <a:cubicBezTo>
                    <a:pt x="6678" y="20630"/>
                    <a:pt x="6966" y="21017"/>
                    <a:pt x="7398" y="21065"/>
                  </a:cubicBezTo>
                  <a:lnTo>
                    <a:pt x="11359" y="21596"/>
                  </a:lnTo>
                  <a:cubicBezTo>
                    <a:pt x="11389" y="21598"/>
                    <a:pt x="11419" y="21600"/>
                    <a:pt x="11447" y="21600"/>
                  </a:cubicBezTo>
                  <a:cubicBezTo>
                    <a:pt x="11820" y="21600"/>
                    <a:pt x="12155" y="21325"/>
                    <a:pt x="12199" y="20944"/>
                  </a:cubicBezTo>
                  <a:lnTo>
                    <a:pt x="13135" y="13901"/>
                  </a:lnTo>
                  <a:lnTo>
                    <a:pt x="20144" y="14843"/>
                  </a:lnTo>
                  <a:cubicBezTo>
                    <a:pt x="20172" y="14847"/>
                    <a:pt x="20202" y="14847"/>
                    <a:pt x="20233" y="14847"/>
                  </a:cubicBezTo>
                  <a:cubicBezTo>
                    <a:pt x="20605" y="14847"/>
                    <a:pt x="20938" y="14571"/>
                    <a:pt x="20982" y="14191"/>
                  </a:cubicBezTo>
                  <a:lnTo>
                    <a:pt x="21511" y="10188"/>
                  </a:lnTo>
                  <a:cubicBezTo>
                    <a:pt x="21559" y="9777"/>
                    <a:pt x="21271" y="9392"/>
                    <a:pt x="20864" y="9344"/>
                  </a:cubicBezTo>
                  <a:lnTo>
                    <a:pt x="13854" y="8404"/>
                  </a:lnTo>
                  <a:lnTo>
                    <a:pt x="14768" y="1361"/>
                  </a:lnTo>
                  <a:cubicBezTo>
                    <a:pt x="14838" y="952"/>
                    <a:pt x="14552" y="565"/>
                    <a:pt x="14118" y="517"/>
                  </a:cubicBezTo>
                  <a:lnTo>
                    <a:pt x="10159" y="10"/>
                  </a:lnTo>
                  <a:cubicBezTo>
                    <a:pt x="10117" y="4"/>
                    <a:pt x="10075" y="0"/>
                    <a:pt x="1003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73" name="Google Shape;406;p2"/>
            <p:cNvSpPr/>
            <p:nvPr/>
          </p:nvSpPr>
          <p:spPr>
            <a:xfrm>
              <a:off x="2772203" y="2772167"/>
              <a:ext cx="932606" cy="11788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88" h="21600" extrusionOk="0">
                  <a:moveTo>
                    <a:pt x="8117" y="686"/>
                  </a:moveTo>
                  <a:cubicBezTo>
                    <a:pt x="8692" y="686"/>
                    <a:pt x="9262" y="966"/>
                    <a:pt x="9375" y="1594"/>
                  </a:cubicBezTo>
                  <a:cubicBezTo>
                    <a:pt x="9423" y="1899"/>
                    <a:pt x="9328" y="2222"/>
                    <a:pt x="9067" y="2451"/>
                  </a:cubicBezTo>
                  <a:lnTo>
                    <a:pt x="7501" y="2698"/>
                  </a:lnTo>
                  <a:cubicBezTo>
                    <a:pt x="7147" y="2547"/>
                    <a:pt x="6910" y="2280"/>
                    <a:pt x="6838" y="1957"/>
                  </a:cubicBezTo>
                  <a:cubicBezTo>
                    <a:pt x="6611" y="1159"/>
                    <a:pt x="7368" y="686"/>
                    <a:pt x="8117" y="686"/>
                  </a:cubicBezTo>
                  <a:close/>
                  <a:moveTo>
                    <a:pt x="15511" y="4394"/>
                  </a:moveTo>
                  <a:cubicBezTo>
                    <a:pt x="16023" y="4394"/>
                    <a:pt x="16479" y="4697"/>
                    <a:pt x="16583" y="5115"/>
                  </a:cubicBezTo>
                  <a:lnTo>
                    <a:pt x="19335" y="17202"/>
                  </a:lnTo>
                  <a:cubicBezTo>
                    <a:pt x="19429" y="17677"/>
                    <a:pt x="19050" y="18134"/>
                    <a:pt x="18457" y="18211"/>
                  </a:cubicBezTo>
                  <a:lnTo>
                    <a:pt x="5984" y="20038"/>
                  </a:lnTo>
                  <a:cubicBezTo>
                    <a:pt x="5914" y="20049"/>
                    <a:pt x="5844" y="20054"/>
                    <a:pt x="5777" y="20054"/>
                  </a:cubicBezTo>
                  <a:cubicBezTo>
                    <a:pt x="5265" y="20054"/>
                    <a:pt x="4811" y="19754"/>
                    <a:pt x="4727" y="19333"/>
                  </a:cubicBezTo>
                  <a:lnTo>
                    <a:pt x="1953" y="7248"/>
                  </a:lnTo>
                  <a:cubicBezTo>
                    <a:pt x="1859" y="6772"/>
                    <a:pt x="2262" y="6314"/>
                    <a:pt x="2855" y="6239"/>
                  </a:cubicBezTo>
                  <a:lnTo>
                    <a:pt x="4325" y="6011"/>
                  </a:lnTo>
                  <a:cubicBezTo>
                    <a:pt x="4411" y="6354"/>
                    <a:pt x="4787" y="6589"/>
                    <a:pt x="5209" y="6589"/>
                  </a:cubicBezTo>
                  <a:cubicBezTo>
                    <a:pt x="5253" y="6589"/>
                    <a:pt x="5299" y="6586"/>
                    <a:pt x="5345" y="6581"/>
                  </a:cubicBezTo>
                  <a:lnTo>
                    <a:pt x="13121" y="5438"/>
                  </a:lnTo>
                  <a:cubicBezTo>
                    <a:pt x="13595" y="5363"/>
                    <a:pt x="13904" y="5002"/>
                    <a:pt x="13832" y="4620"/>
                  </a:cubicBezTo>
                  <a:lnTo>
                    <a:pt x="15304" y="4412"/>
                  </a:lnTo>
                  <a:cubicBezTo>
                    <a:pt x="15374" y="4399"/>
                    <a:pt x="15444" y="4394"/>
                    <a:pt x="15511" y="4394"/>
                  </a:cubicBezTo>
                  <a:close/>
                  <a:moveTo>
                    <a:pt x="8115" y="0"/>
                  </a:moveTo>
                  <a:cubicBezTo>
                    <a:pt x="7975" y="0"/>
                    <a:pt x="7834" y="11"/>
                    <a:pt x="7693" y="34"/>
                  </a:cubicBezTo>
                  <a:cubicBezTo>
                    <a:pt x="6506" y="205"/>
                    <a:pt x="5723" y="1119"/>
                    <a:pt x="5960" y="2089"/>
                  </a:cubicBezTo>
                  <a:cubicBezTo>
                    <a:pt x="6032" y="2356"/>
                    <a:pt x="6175" y="2622"/>
                    <a:pt x="6388" y="2850"/>
                  </a:cubicBezTo>
                  <a:lnTo>
                    <a:pt x="4847" y="3079"/>
                  </a:lnTo>
                  <a:cubicBezTo>
                    <a:pt x="4229" y="3175"/>
                    <a:pt x="3827" y="3650"/>
                    <a:pt x="3923" y="4164"/>
                  </a:cubicBezTo>
                  <a:lnTo>
                    <a:pt x="4016" y="4602"/>
                  </a:lnTo>
                  <a:lnTo>
                    <a:pt x="1455" y="4983"/>
                  </a:lnTo>
                  <a:cubicBezTo>
                    <a:pt x="483" y="5115"/>
                    <a:pt x="-156" y="5857"/>
                    <a:pt x="33" y="6639"/>
                  </a:cubicBezTo>
                  <a:lnTo>
                    <a:pt x="3164" y="20438"/>
                  </a:lnTo>
                  <a:cubicBezTo>
                    <a:pt x="3311" y="21117"/>
                    <a:pt x="4066" y="21600"/>
                    <a:pt x="4918" y="21600"/>
                  </a:cubicBezTo>
                  <a:cubicBezTo>
                    <a:pt x="5020" y="21600"/>
                    <a:pt x="5122" y="21594"/>
                    <a:pt x="5225" y="21579"/>
                  </a:cubicBezTo>
                  <a:lnTo>
                    <a:pt x="19833" y="19429"/>
                  </a:lnTo>
                  <a:cubicBezTo>
                    <a:pt x="20805" y="19295"/>
                    <a:pt x="21444" y="18553"/>
                    <a:pt x="21255" y="17773"/>
                  </a:cubicBezTo>
                  <a:lnTo>
                    <a:pt x="18124" y="3974"/>
                  </a:lnTo>
                  <a:cubicBezTo>
                    <a:pt x="17979" y="3285"/>
                    <a:pt x="17224" y="2806"/>
                    <a:pt x="16397" y="2806"/>
                  </a:cubicBezTo>
                  <a:cubicBezTo>
                    <a:pt x="16286" y="2806"/>
                    <a:pt x="16174" y="2813"/>
                    <a:pt x="16063" y="2831"/>
                  </a:cubicBezTo>
                  <a:lnTo>
                    <a:pt x="13502" y="3212"/>
                  </a:lnTo>
                  <a:lnTo>
                    <a:pt x="13406" y="2775"/>
                  </a:lnTo>
                  <a:cubicBezTo>
                    <a:pt x="13299" y="2312"/>
                    <a:pt x="12787" y="2001"/>
                    <a:pt x="12235" y="2001"/>
                  </a:cubicBezTo>
                  <a:cubicBezTo>
                    <a:pt x="12175" y="2001"/>
                    <a:pt x="12116" y="2006"/>
                    <a:pt x="12054" y="2013"/>
                  </a:cubicBezTo>
                  <a:lnTo>
                    <a:pt x="10158" y="2299"/>
                  </a:lnTo>
                  <a:cubicBezTo>
                    <a:pt x="10276" y="2013"/>
                    <a:pt x="10299" y="1728"/>
                    <a:pt x="10230" y="1461"/>
                  </a:cubicBezTo>
                  <a:cubicBezTo>
                    <a:pt x="10062" y="604"/>
                    <a:pt x="9156" y="0"/>
                    <a:pt x="8115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74" name="Google Shape;407;p2"/>
            <p:cNvSpPr/>
            <p:nvPr/>
          </p:nvSpPr>
          <p:spPr>
            <a:xfrm>
              <a:off x="2954013" y="3196883"/>
              <a:ext cx="134665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15" h="21600" extrusionOk="0">
                  <a:moveTo>
                    <a:pt x="8912" y="0"/>
                  </a:moveTo>
                  <a:cubicBezTo>
                    <a:pt x="8401" y="0"/>
                    <a:pt x="7890" y="42"/>
                    <a:pt x="7380" y="154"/>
                  </a:cubicBezTo>
                  <a:cubicBezTo>
                    <a:pt x="-501" y="1819"/>
                    <a:pt x="-2718" y="14144"/>
                    <a:pt x="3921" y="19641"/>
                  </a:cubicBezTo>
                  <a:cubicBezTo>
                    <a:pt x="5523" y="20998"/>
                    <a:pt x="7275" y="21600"/>
                    <a:pt x="8970" y="21600"/>
                  </a:cubicBezTo>
                  <a:cubicBezTo>
                    <a:pt x="14146" y="21600"/>
                    <a:pt x="18882" y="15962"/>
                    <a:pt x="17745" y="8813"/>
                  </a:cubicBezTo>
                  <a:cubicBezTo>
                    <a:pt x="17002" y="3609"/>
                    <a:pt x="13172" y="0"/>
                    <a:pt x="891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75" name="Google Shape;408;p2"/>
            <p:cNvSpPr/>
            <p:nvPr/>
          </p:nvSpPr>
          <p:spPr>
            <a:xfrm>
              <a:off x="3132828" y="3156837"/>
              <a:ext cx="306861" cy="1190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90" h="21600" extrusionOk="0">
                  <a:moveTo>
                    <a:pt x="17319" y="0"/>
                  </a:moveTo>
                  <a:cubicBezTo>
                    <a:pt x="17090" y="0"/>
                    <a:pt x="16851" y="95"/>
                    <a:pt x="16595" y="269"/>
                  </a:cubicBezTo>
                  <a:lnTo>
                    <a:pt x="16528" y="269"/>
                  </a:lnTo>
                  <a:lnTo>
                    <a:pt x="2074" y="7823"/>
                  </a:lnTo>
                  <a:cubicBezTo>
                    <a:pt x="-1023" y="9042"/>
                    <a:pt x="-421" y="21600"/>
                    <a:pt x="2363" y="21600"/>
                  </a:cubicBezTo>
                  <a:cubicBezTo>
                    <a:pt x="2564" y="21600"/>
                    <a:pt x="2776" y="21537"/>
                    <a:pt x="2998" y="21394"/>
                  </a:cubicBezTo>
                  <a:lnTo>
                    <a:pt x="17391" y="13856"/>
                  </a:lnTo>
                  <a:cubicBezTo>
                    <a:pt x="20577" y="12811"/>
                    <a:pt x="20081" y="0"/>
                    <a:pt x="1731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76" name="Google Shape;409;p2"/>
            <p:cNvSpPr/>
            <p:nvPr/>
          </p:nvSpPr>
          <p:spPr>
            <a:xfrm>
              <a:off x="2988078" y="3384899"/>
              <a:ext cx="134826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36" h="21600" extrusionOk="0">
                  <a:moveTo>
                    <a:pt x="8941" y="0"/>
                  </a:moveTo>
                  <a:cubicBezTo>
                    <a:pt x="8430" y="0"/>
                    <a:pt x="7919" y="42"/>
                    <a:pt x="7409" y="154"/>
                  </a:cubicBezTo>
                  <a:cubicBezTo>
                    <a:pt x="-472" y="1819"/>
                    <a:pt x="-2689" y="14144"/>
                    <a:pt x="3811" y="19641"/>
                  </a:cubicBezTo>
                  <a:cubicBezTo>
                    <a:pt x="5447" y="20998"/>
                    <a:pt x="7223" y="21600"/>
                    <a:pt x="8952" y="21600"/>
                  </a:cubicBezTo>
                  <a:cubicBezTo>
                    <a:pt x="14187" y="21600"/>
                    <a:pt x="18911" y="16004"/>
                    <a:pt x="17762" y="8981"/>
                  </a:cubicBezTo>
                  <a:cubicBezTo>
                    <a:pt x="17031" y="3623"/>
                    <a:pt x="13201" y="0"/>
                    <a:pt x="894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77" name="Google Shape;410;p2"/>
            <p:cNvSpPr/>
            <p:nvPr/>
          </p:nvSpPr>
          <p:spPr>
            <a:xfrm>
              <a:off x="3171787" y="3345202"/>
              <a:ext cx="296509" cy="1176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9" h="21600" extrusionOk="0">
                  <a:moveTo>
                    <a:pt x="16950" y="0"/>
                  </a:moveTo>
                  <a:cubicBezTo>
                    <a:pt x="16881" y="0"/>
                    <a:pt x="16812" y="16"/>
                    <a:pt x="16743" y="32"/>
                  </a:cubicBezTo>
                  <a:lnTo>
                    <a:pt x="1826" y="7654"/>
                  </a:lnTo>
                  <a:cubicBezTo>
                    <a:pt x="-1024" y="10055"/>
                    <a:pt x="-340" y="21600"/>
                    <a:pt x="2516" y="21600"/>
                  </a:cubicBezTo>
                  <a:cubicBezTo>
                    <a:pt x="2602" y="21600"/>
                    <a:pt x="2694" y="21584"/>
                    <a:pt x="2786" y="21568"/>
                  </a:cubicBezTo>
                  <a:lnTo>
                    <a:pt x="17703" y="14138"/>
                  </a:lnTo>
                  <a:cubicBezTo>
                    <a:pt x="20576" y="11705"/>
                    <a:pt x="19858" y="0"/>
                    <a:pt x="1695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78" name="Google Shape;411;p2"/>
            <p:cNvSpPr/>
            <p:nvPr/>
          </p:nvSpPr>
          <p:spPr>
            <a:xfrm>
              <a:off x="3025024" y="3586351"/>
              <a:ext cx="135093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3" h="21600" extrusionOk="0">
                  <a:moveTo>
                    <a:pt x="8980" y="0"/>
                  </a:moveTo>
                  <a:cubicBezTo>
                    <a:pt x="8481" y="0"/>
                    <a:pt x="7971" y="56"/>
                    <a:pt x="7450" y="168"/>
                  </a:cubicBezTo>
                  <a:cubicBezTo>
                    <a:pt x="-418" y="1831"/>
                    <a:pt x="-2759" y="14148"/>
                    <a:pt x="3869" y="19643"/>
                  </a:cubicBezTo>
                  <a:cubicBezTo>
                    <a:pt x="5468" y="20999"/>
                    <a:pt x="7207" y="21600"/>
                    <a:pt x="8910" y="21600"/>
                  </a:cubicBezTo>
                  <a:cubicBezTo>
                    <a:pt x="14090" y="21600"/>
                    <a:pt x="18841" y="15966"/>
                    <a:pt x="17798" y="8822"/>
                  </a:cubicBezTo>
                  <a:cubicBezTo>
                    <a:pt x="16941" y="3621"/>
                    <a:pt x="13209" y="0"/>
                    <a:pt x="898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79" name="Google Shape;412;p2"/>
            <p:cNvSpPr/>
            <p:nvPr/>
          </p:nvSpPr>
          <p:spPr>
            <a:xfrm>
              <a:off x="3208033" y="3545607"/>
              <a:ext cx="297376" cy="1188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44" h="21600" extrusionOk="0">
                  <a:moveTo>
                    <a:pt x="16992" y="0"/>
                  </a:moveTo>
                  <a:cubicBezTo>
                    <a:pt x="16900" y="0"/>
                    <a:pt x="16808" y="16"/>
                    <a:pt x="16717" y="32"/>
                  </a:cubicBezTo>
                  <a:lnTo>
                    <a:pt x="16785" y="222"/>
                  </a:lnTo>
                  <a:lnTo>
                    <a:pt x="1900" y="7596"/>
                  </a:lnTo>
                  <a:cubicBezTo>
                    <a:pt x="-1013" y="9785"/>
                    <a:pt x="-394" y="21600"/>
                    <a:pt x="2519" y="21600"/>
                  </a:cubicBezTo>
                  <a:cubicBezTo>
                    <a:pt x="2605" y="21600"/>
                    <a:pt x="2697" y="21584"/>
                    <a:pt x="2789" y="21568"/>
                  </a:cubicBezTo>
                  <a:lnTo>
                    <a:pt x="17668" y="14004"/>
                  </a:lnTo>
                  <a:cubicBezTo>
                    <a:pt x="20587" y="11625"/>
                    <a:pt x="19899" y="0"/>
                    <a:pt x="1699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80" name="Google Shape;413;p2"/>
            <p:cNvSpPr/>
            <p:nvPr/>
          </p:nvSpPr>
          <p:spPr>
            <a:xfrm>
              <a:off x="2886995" y="4422172"/>
              <a:ext cx="600926" cy="6060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54" h="21600" extrusionOk="0">
                  <a:moveTo>
                    <a:pt x="9817" y="0"/>
                  </a:moveTo>
                  <a:cubicBezTo>
                    <a:pt x="6924" y="0"/>
                    <a:pt x="4076" y="1443"/>
                    <a:pt x="2192" y="4161"/>
                  </a:cubicBezTo>
                  <a:lnTo>
                    <a:pt x="18234" y="15415"/>
                  </a:lnTo>
                  <a:cubicBezTo>
                    <a:pt x="20398" y="10567"/>
                    <a:pt x="19034" y="4568"/>
                    <a:pt x="14941" y="1642"/>
                  </a:cubicBezTo>
                  <a:cubicBezTo>
                    <a:pt x="13354" y="535"/>
                    <a:pt x="11576" y="0"/>
                    <a:pt x="9817" y="0"/>
                  </a:cubicBezTo>
                  <a:close/>
                  <a:moveTo>
                    <a:pt x="1062" y="6160"/>
                  </a:moveTo>
                  <a:cubicBezTo>
                    <a:pt x="-1202" y="11046"/>
                    <a:pt x="263" y="17044"/>
                    <a:pt x="4422" y="19971"/>
                  </a:cubicBezTo>
                  <a:cubicBezTo>
                    <a:pt x="5999" y="21068"/>
                    <a:pt x="7760" y="21600"/>
                    <a:pt x="9502" y="21600"/>
                  </a:cubicBezTo>
                  <a:cubicBezTo>
                    <a:pt x="12392" y="21600"/>
                    <a:pt x="15235" y="20142"/>
                    <a:pt x="17102" y="17414"/>
                  </a:cubicBezTo>
                  <a:lnTo>
                    <a:pt x="1062" y="616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81" name="Google Shape;414;p2"/>
            <p:cNvSpPr/>
            <p:nvPr/>
          </p:nvSpPr>
          <p:spPr>
            <a:xfrm>
              <a:off x="4143129" y="3118885"/>
              <a:ext cx="505542" cy="4910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2" h="21600" extrusionOk="0">
                  <a:moveTo>
                    <a:pt x="11778" y="0"/>
                  </a:moveTo>
                  <a:lnTo>
                    <a:pt x="3282" y="6214"/>
                  </a:lnTo>
                  <a:cubicBezTo>
                    <a:pt x="-140" y="8728"/>
                    <a:pt x="-1028" y="13755"/>
                    <a:pt x="1294" y="17455"/>
                  </a:cubicBezTo>
                  <a:lnTo>
                    <a:pt x="1677" y="18050"/>
                  </a:lnTo>
                  <a:cubicBezTo>
                    <a:pt x="3126" y="20357"/>
                    <a:pt x="5476" y="21600"/>
                    <a:pt x="7873" y="21600"/>
                  </a:cubicBezTo>
                  <a:cubicBezTo>
                    <a:pt x="9321" y="21600"/>
                    <a:pt x="10784" y="21143"/>
                    <a:pt x="12076" y="20199"/>
                  </a:cubicBezTo>
                  <a:lnTo>
                    <a:pt x="20572" y="13982"/>
                  </a:lnTo>
                  <a:lnTo>
                    <a:pt x="11778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82" name="Google Shape;415;p2"/>
            <p:cNvSpPr/>
            <p:nvPr/>
          </p:nvSpPr>
          <p:spPr>
            <a:xfrm>
              <a:off x="4477230" y="2915339"/>
              <a:ext cx="504530" cy="491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2732" y="0"/>
                  </a:moveTo>
                  <a:cubicBezTo>
                    <a:pt x="11273" y="0"/>
                    <a:pt x="9800" y="456"/>
                    <a:pt x="8513" y="1412"/>
                  </a:cubicBezTo>
                  <a:lnTo>
                    <a:pt x="0" y="7626"/>
                  </a:lnTo>
                  <a:lnTo>
                    <a:pt x="8811" y="21600"/>
                  </a:lnTo>
                  <a:lnTo>
                    <a:pt x="17324" y="15344"/>
                  </a:lnTo>
                  <a:cubicBezTo>
                    <a:pt x="20711" y="12831"/>
                    <a:pt x="21600" y="7806"/>
                    <a:pt x="19270" y="4108"/>
                  </a:cubicBezTo>
                  <a:lnTo>
                    <a:pt x="19270" y="4154"/>
                  </a:lnTo>
                  <a:lnTo>
                    <a:pt x="18889" y="3514"/>
                  </a:lnTo>
                  <a:cubicBezTo>
                    <a:pt x="17445" y="1220"/>
                    <a:pt x="15108" y="0"/>
                    <a:pt x="1273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83" name="Google Shape;416;p2"/>
            <p:cNvSpPr/>
            <p:nvPr/>
          </p:nvSpPr>
          <p:spPr>
            <a:xfrm>
              <a:off x="3964881" y="4134346"/>
              <a:ext cx="931188" cy="9306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15" h="21600" extrusionOk="0">
                  <a:moveTo>
                    <a:pt x="10032" y="0"/>
                  </a:moveTo>
                  <a:cubicBezTo>
                    <a:pt x="9675" y="0"/>
                    <a:pt x="9361" y="269"/>
                    <a:pt x="9319" y="638"/>
                  </a:cubicBezTo>
                  <a:lnTo>
                    <a:pt x="8383" y="7701"/>
                  </a:lnTo>
                  <a:lnTo>
                    <a:pt x="1374" y="6761"/>
                  </a:lnTo>
                  <a:cubicBezTo>
                    <a:pt x="1344" y="6757"/>
                    <a:pt x="1314" y="6755"/>
                    <a:pt x="1285" y="6755"/>
                  </a:cubicBezTo>
                  <a:cubicBezTo>
                    <a:pt x="913" y="6755"/>
                    <a:pt x="578" y="7033"/>
                    <a:pt x="534" y="7411"/>
                  </a:cubicBezTo>
                  <a:lnTo>
                    <a:pt x="5" y="11415"/>
                  </a:lnTo>
                  <a:cubicBezTo>
                    <a:pt x="-41" y="11824"/>
                    <a:pt x="245" y="12210"/>
                    <a:pt x="654" y="12259"/>
                  </a:cubicBezTo>
                  <a:lnTo>
                    <a:pt x="654" y="12235"/>
                  </a:lnTo>
                  <a:lnTo>
                    <a:pt x="7662" y="13174"/>
                  </a:lnTo>
                  <a:lnTo>
                    <a:pt x="6750" y="20215"/>
                  </a:lnTo>
                  <a:cubicBezTo>
                    <a:pt x="6678" y="20624"/>
                    <a:pt x="6966" y="21011"/>
                    <a:pt x="7398" y="21057"/>
                  </a:cubicBezTo>
                  <a:lnTo>
                    <a:pt x="11359" y="21588"/>
                  </a:lnTo>
                  <a:cubicBezTo>
                    <a:pt x="11401" y="21596"/>
                    <a:pt x="11443" y="21600"/>
                    <a:pt x="11484" y="21600"/>
                  </a:cubicBezTo>
                  <a:cubicBezTo>
                    <a:pt x="11843" y="21600"/>
                    <a:pt x="12155" y="21327"/>
                    <a:pt x="12199" y="20938"/>
                  </a:cubicBezTo>
                  <a:lnTo>
                    <a:pt x="13135" y="13897"/>
                  </a:lnTo>
                  <a:lnTo>
                    <a:pt x="20144" y="14839"/>
                  </a:lnTo>
                  <a:cubicBezTo>
                    <a:pt x="20172" y="14841"/>
                    <a:pt x="20202" y="14843"/>
                    <a:pt x="20233" y="14843"/>
                  </a:cubicBezTo>
                  <a:cubicBezTo>
                    <a:pt x="20605" y="14843"/>
                    <a:pt x="20938" y="14567"/>
                    <a:pt x="20982" y="14187"/>
                  </a:cubicBezTo>
                  <a:lnTo>
                    <a:pt x="21511" y="10185"/>
                  </a:lnTo>
                  <a:cubicBezTo>
                    <a:pt x="21559" y="9774"/>
                    <a:pt x="21271" y="9390"/>
                    <a:pt x="20864" y="9341"/>
                  </a:cubicBezTo>
                  <a:lnTo>
                    <a:pt x="13854" y="8401"/>
                  </a:lnTo>
                  <a:lnTo>
                    <a:pt x="14792" y="1385"/>
                  </a:lnTo>
                  <a:cubicBezTo>
                    <a:pt x="14838" y="952"/>
                    <a:pt x="14552" y="589"/>
                    <a:pt x="14143" y="516"/>
                  </a:cubicBezTo>
                  <a:lnTo>
                    <a:pt x="10159" y="10"/>
                  </a:lnTo>
                  <a:cubicBezTo>
                    <a:pt x="10117" y="4"/>
                    <a:pt x="10075" y="0"/>
                    <a:pt x="1003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84" name="Google Shape;417;p2"/>
            <p:cNvSpPr/>
            <p:nvPr/>
          </p:nvSpPr>
          <p:spPr>
            <a:xfrm>
              <a:off x="2772203" y="5543986"/>
              <a:ext cx="932606" cy="11785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88" h="21600" extrusionOk="0">
                  <a:moveTo>
                    <a:pt x="8113" y="688"/>
                  </a:moveTo>
                  <a:cubicBezTo>
                    <a:pt x="8688" y="688"/>
                    <a:pt x="9262" y="966"/>
                    <a:pt x="9375" y="1588"/>
                  </a:cubicBezTo>
                  <a:cubicBezTo>
                    <a:pt x="9423" y="1893"/>
                    <a:pt x="9328" y="2216"/>
                    <a:pt x="9067" y="2445"/>
                  </a:cubicBezTo>
                  <a:lnTo>
                    <a:pt x="7501" y="2693"/>
                  </a:lnTo>
                  <a:cubicBezTo>
                    <a:pt x="7147" y="2541"/>
                    <a:pt x="6910" y="2274"/>
                    <a:pt x="6838" y="1968"/>
                  </a:cubicBezTo>
                  <a:lnTo>
                    <a:pt x="6838" y="1949"/>
                  </a:lnTo>
                  <a:cubicBezTo>
                    <a:pt x="6611" y="1155"/>
                    <a:pt x="7364" y="688"/>
                    <a:pt x="8113" y="688"/>
                  </a:cubicBezTo>
                  <a:close/>
                  <a:moveTo>
                    <a:pt x="15527" y="4370"/>
                  </a:moveTo>
                  <a:cubicBezTo>
                    <a:pt x="16023" y="4370"/>
                    <a:pt x="16479" y="4671"/>
                    <a:pt x="16583" y="5091"/>
                  </a:cubicBezTo>
                  <a:lnTo>
                    <a:pt x="19335" y="17199"/>
                  </a:lnTo>
                  <a:cubicBezTo>
                    <a:pt x="19429" y="17676"/>
                    <a:pt x="19050" y="18133"/>
                    <a:pt x="18457" y="18208"/>
                  </a:cubicBezTo>
                  <a:lnTo>
                    <a:pt x="5984" y="20036"/>
                  </a:lnTo>
                  <a:cubicBezTo>
                    <a:pt x="5914" y="20047"/>
                    <a:pt x="5844" y="20054"/>
                    <a:pt x="5777" y="20054"/>
                  </a:cubicBezTo>
                  <a:cubicBezTo>
                    <a:pt x="5265" y="20054"/>
                    <a:pt x="4811" y="19751"/>
                    <a:pt x="4727" y="19333"/>
                  </a:cubicBezTo>
                  <a:lnTo>
                    <a:pt x="1977" y="7223"/>
                  </a:lnTo>
                  <a:cubicBezTo>
                    <a:pt x="1859" y="6748"/>
                    <a:pt x="2262" y="6291"/>
                    <a:pt x="2855" y="6214"/>
                  </a:cubicBezTo>
                  <a:lnTo>
                    <a:pt x="4349" y="6004"/>
                  </a:lnTo>
                  <a:cubicBezTo>
                    <a:pt x="4411" y="6324"/>
                    <a:pt x="4771" y="6571"/>
                    <a:pt x="5181" y="6571"/>
                  </a:cubicBezTo>
                  <a:cubicBezTo>
                    <a:pt x="5235" y="6571"/>
                    <a:pt x="5289" y="6566"/>
                    <a:pt x="5345" y="6558"/>
                  </a:cubicBezTo>
                  <a:lnTo>
                    <a:pt x="13145" y="5414"/>
                  </a:lnTo>
                  <a:cubicBezTo>
                    <a:pt x="13595" y="5339"/>
                    <a:pt x="13928" y="4978"/>
                    <a:pt x="13832" y="4596"/>
                  </a:cubicBezTo>
                  <a:lnTo>
                    <a:pt x="15326" y="4386"/>
                  </a:lnTo>
                  <a:cubicBezTo>
                    <a:pt x="15394" y="4375"/>
                    <a:pt x="15461" y="4370"/>
                    <a:pt x="15527" y="4370"/>
                  </a:cubicBezTo>
                  <a:close/>
                  <a:moveTo>
                    <a:pt x="8081" y="0"/>
                  </a:moveTo>
                  <a:cubicBezTo>
                    <a:pt x="7953" y="0"/>
                    <a:pt x="7822" y="8"/>
                    <a:pt x="7693" y="27"/>
                  </a:cubicBezTo>
                  <a:cubicBezTo>
                    <a:pt x="6506" y="198"/>
                    <a:pt x="5723" y="1131"/>
                    <a:pt x="5960" y="2084"/>
                  </a:cubicBezTo>
                  <a:cubicBezTo>
                    <a:pt x="6032" y="2349"/>
                    <a:pt x="6175" y="2616"/>
                    <a:pt x="6388" y="2845"/>
                  </a:cubicBezTo>
                  <a:lnTo>
                    <a:pt x="4847" y="3073"/>
                  </a:lnTo>
                  <a:cubicBezTo>
                    <a:pt x="4229" y="3168"/>
                    <a:pt x="3803" y="3644"/>
                    <a:pt x="3923" y="4159"/>
                  </a:cubicBezTo>
                  <a:lnTo>
                    <a:pt x="4016" y="4615"/>
                  </a:lnTo>
                  <a:lnTo>
                    <a:pt x="1455" y="4978"/>
                  </a:lnTo>
                  <a:cubicBezTo>
                    <a:pt x="483" y="5130"/>
                    <a:pt x="-156" y="5872"/>
                    <a:pt x="33" y="6633"/>
                  </a:cubicBezTo>
                  <a:lnTo>
                    <a:pt x="3164" y="20436"/>
                  </a:lnTo>
                  <a:cubicBezTo>
                    <a:pt x="3311" y="21131"/>
                    <a:pt x="4060" y="21600"/>
                    <a:pt x="4910" y="21600"/>
                  </a:cubicBezTo>
                  <a:cubicBezTo>
                    <a:pt x="5014" y="21600"/>
                    <a:pt x="5120" y="21594"/>
                    <a:pt x="5225" y="21579"/>
                  </a:cubicBezTo>
                  <a:lnTo>
                    <a:pt x="19833" y="19446"/>
                  </a:lnTo>
                  <a:cubicBezTo>
                    <a:pt x="20805" y="19294"/>
                    <a:pt x="21444" y="18552"/>
                    <a:pt x="21255" y="17770"/>
                  </a:cubicBezTo>
                  <a:lnTo>
                    <a:pt x="18124" y="3967"/>
                  </a:lnTo>
                  <a:cubicBezTo>
                    <a:pt x="17977" y="3273"/>
                    <a:pt x="17208" y="2805"/>
                    <a:pt x="16372" y="2805"/>
                  </a:cubicBezTo>
                  <a:cubicBezTo>
                    <a:pt x="16270" y="2805"/>
                    <a:pt x="16166" y="2811"/>
                    <a:pt x="16063" y="2826"/>
                  </a:cubicBezTo>
                  <a:lnTo>
                    <a:pt x="13502" y="3206"/>
                  </a:lnTo>
                  <a:lnTo>
                    <a:pt x="13406" y="2768"/>
                  </a:lnTo>
                  <a:cubicBezTo>
                    <a:pt x="13299" y="2304"/>
                    <a:pt x="12787" y="1996"/>
                    <a:pt x="12235" y="1996"/>
                  </a:cubicBezTo>
                  <a:cubicBezTo>
                    <a:pt x="12175" y="1996"/>
                    <a:pt x="12116" y="1999"/>
                    <a:pt x="12054" y="2007"/>
                  </a:cubicBezTo>
                  <a:lnTo>
                    <a:pt x="10158" y="2293"/>
                  </a:lnTo>
                  <a:cubicBezTo>
                    <a:pt x="10276" y="2026"/>
                    <a:pt x="10299" y="1740"/>
                    <a:pt x="10230" y="1455"/>
                  </a:cubicBezTo>
                  <a:cubicBezTo>
                    <a:pt x="10060" y="606"/>
                    <a:pt x="9136" y="0"/>
                    <a:pt x="808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85" name="Google Shape;418;p2"/>
            <p:cNvSpPr/>
            <p:nvPr/>
          </p:nvSpPr>
          <p:spPr>
            <a:xfrm>
              <a:off x="2954013" y="5969313"/>
              <a:ext cx="134665" cy="1347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15" h="21600" extrusionOk="0">
                  <a:moveTo>
                    <a:pt x="8912" y="0"/>
                  </a:moveTo>
                  <a:cubicBezTo>
                    <a:pt x="8401" y="0"/>
                    <a:pt x="7890" y="56"/>
                    <a:pt x="7380" y="168"/>
                  </a:cubicBezTo>
                  <a:cubicBezTo>
                    <a:pt x="-501" y="1831"/>
                    <a:pt x="-2718" y="14148"/>
                    <a:pt x="3921" y="19643"/>
                  </a:cubicBezTo>
                  <a:cubicBezTo>
                    <a:pt x="5523" y="20999"/>
                    <a:pt x="7275" y="21600"/>
                    <a:pt x="8970" y="21600"/>
                  </a:cubicBezTo>
                  <a:cubicBezTo>
                    <a:pt x="14146" y="21600"/>
                    <a:pt x="18882" y="15966"/>
                    <a:pt x="17745" y="8822"/>
                  </a:cubicBezTo>
                  <a:cubicBezTo>
                    <a:pt x="17002" y="3607"/>
                    <a:pt x="13172" y="0"/>
                    <a:pt x="891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86" name="Google Shape;419;p2"/>
            <p:cNvSpPr/>
            <p:nvPr/>
          </p:nvSpPr>
          <p:spPr>
            <a:xfrm>
              <a:off x="3134045" y="5928830"/>
              <a:ext cx="304537" cy="1181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48" h="21600" extrusionOk="0">
                  <a:moveTo>
                    <a:pt x="17189" y="0"/>
                  </a:moveTo>
                  <a:cubicBezTo>
                    <a:pt x="17004" y="0"/>
                    <a:pt x="16808" y="64"/>
                    <a:pt x="16607" y="175"/>
                  </a:cubicBezTo>
                  <a:lnTo>
                    <a:pt x="16539" y="175"/>
                  </a:lnTo>
                  <a:lnTo>
                    <a:pt x="2007" y="7769"/>
                  </a:lnTo>
                  <a:cubicBezTo>
                    <a:pt x="-1006" y="9380"/>
                    <a:pt x="-418" y="21600"/>
                    <a:pt x="2388" y="21600"/>
                  </a:cubicBezTo>
                  <a:cubicBezTo>
                    <a:pt x="2561" y="21600"/>
                    <a:pt x="2746" y="21552"/>
                    <a:pt x="2937" y="21456"/>
                  </a:cubicBezTo>
                  <a:lnTo>
                    <a:pt x="17407" y="13847"/>
                  </a:lnTo>
                  <a:cubicBezTo>
                    <a:pt x="20594" y="12603"/>
                    <a:pt x="19972" y="0"/>
                    <a:pt x="1718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87" name="Google Shape;420;p2"/>
            <p:cNvSpPr/>
            <p:nvPr/>
          </p:nvSpPr>
          <p:spPr>
            <a:xfrm>
              <a:off x="2988078" y="6157067"/>
              <a:ext cx="134824" cy="1350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36" h="21600" extrusionOk="0">
                  <a:moveTo>
                    <a:pt x="9092" y="0"/>
                  </a:moveTo>
                  <a:cubicBezTo>
                    <a:pt x="8535" y="0"/>
                    <a:pt x="7966" y="70"/>
                    <a:pt x="7409" y="209"/>
                  </a:cubicBezTo>
                  <a:cubicBezTo>
                    <a:pt x="-472" y="1702"/>
                    <a:pt x="-2689" y="14163"/>
                    <a:pt x="3811" y="19647"/>
                  </a:cubicBezTo>
                  <a:cubicBezTo>
                    <a:pt x="5447" y="21000"/>
                    <a:pt x="7223" y="21600"/>
                    <a:pt x="8941" y="21600"/>
                  </a:cubicBezTo>
                  <a:cubicBezTo>
                    <a:pt x="14175" y="21600"/>
                    <a:pt x="18911" y="15977"/>
                    <a:pt x="17762" y="8847"/>
                  </a:cubicBezTo>
                  <a:cubicBezTo>
                    <a:pt x="17031" y="3712"/>
                    <a:pt x="13293" y="0"/>
                    <a:pt x="909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88" name="Google Shape;421;p2"/>
            <p:cNvSpPr/>
            <p:nvPr/>
          </p:nvSpPr>
          <p:spPr>
            <a:xfrm>
              <a:off x="3171787" y="6116671"/>
              <a:ext cx="296509" cy="117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9" h="21600" extrusionOk="0">
                  <a:moveTo>
                    <a:pt x="16950" y="0"/>
                  </a:moveTo>
                  <a:cubicBezTo>
                    <a:pt x="16881" y="0"/>
                    <a:pt x="16812" y="16"/>
                    <a:pt x="16743" y="16"/>
                  </a:cubicBezTo>
                  <a:lnTo>
                    <a:pt x="1826" y="7654"/>
                  </a:lnTo>
                  <a:cubicBezTo>
                    <a:pt x="-1024" y="10055"/>
                    <a:pt x="-340" y="21600"/>
                    <a:pt x="2516" y="21600"/>
                  </a:cubicBezTo>
                  <a:cubicBezTo>
                    <a:pt x="2602" y="21600"/>
                    <a:pt x="2694" y="21584"/>
                    <a:pt x="2786" y="21568"/>
                  </a:cubicBezTo>
                  <a:lnTo>
                    <a:pt x="17703" y="14122"/>
                  </a:lnTo>
                  <a:cubicBezTo>
                    <a:pt x="20576" y="11705"/>
                    <a:pt x="19858" y="0"/>
                    <a:pt x="1695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89" name="Google Shape;422;p2"/>
            <p:cNvSpPr/>
            <p:nvPr/>
          </p:nvSpPr>
          <p:spPr>
            <a:xfrm>
              <a:off x="3025024" y="6357821"/>
              <a:ext cx="135093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3" h="21600" extrusionOk="0">
                  <a:moveTo>
                    <a:pt x="8980" y="0"/>
                  </a:moveTo>
                  <a:cubicBezTo>
                    <a:pt x="8481" y="0"/>
                    <a:pt x="7971" y="56"/>
                    <a:pt x="7450" y="154"/>
                  </a:cubicBezTo>
                  <a:cubicBezTo>
                    <a:pt x="-418" y="1831"/>
                    <a:pt x="-2759" y="14148"/>
                    <a:pt x="3869" y="19629"/>
                  </a:cubicBezTo>
                  <a:cubicBezTo>
                    <a:pt x="5468" y="20985"/>
                    <a:pt x="7207" y="21600"/>
                    <a:pt x="8910" y="21600"/>
                  </a:cubicBezTo>
                  <a:cubicBezTo>
                    <a:pt x="14090" y="21600"/>
                    <a:pt x="18841" y="15966"/>
                    <a:pt x="17798" y="8822"/>
                  </a:cubicBezTo>
                  <a:cubicBezTo>
                    <a:pt x="16941" y="3607"/>
                    <a:pt x="13209" y="0"/>
                    <a:pt x="898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90" name="Google Shape;423;p2"/>
            <p:cNvSpPr/>
            <p:nvPr/>
          </p:nvSpPr>
          <p:spPr>
            <a:xfrm>
              <a:off x="3207145" y="6317949"/>
              <a:ext cx="299118" cy="1180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9" h="21600" extrusionOk="0">
                  <a:moveTo>
                    <a:pt x="17114" y="0"/>
                  </a:moveTo>
                  <a:cubicBezTo>
                    <a:pt x="16988" y="0"/>
                    <a:pt x="16863" y="16"/>
                    <a:pt x="16732" y="64"/>
                  </a:cubicBezTo>
                  <a:lnTo>
                    <a:pt x="1945" y="7471"/>
                  </a:lnTo>
                  <a:cubicBezTo>
                    <a:pt x="-1063" y="9675"/>
                    <a:pt x="-351" y="21600"/>
                    <a:pt x="2497" y="21600"/>
                  </a:cubicBezTo>
                  <a:cubicBezTo>
                    <a:pt x="2605" y="21600"/>
                    <a:pt x="2714" y="21584"/>
                    <a:pt x="2828" y="21552"/>
                  </a:cubicBezTo>
                  <a:lnTo>
                    <a:pt x="17609" y="13937"/>
                  </a:lnTo>
                  <a:cubicBezTo>
                    <a:pt x="20537" y="11941"/>
                    <a:pt x="19910" y="0"/>
                    <a:pt x="1711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91" name="Google Shape;424;p2"/>
            <p:cNvSpPr/>
            <p:nvPr/>
          </p:nvSpPr>
          <p:spPr>
            <a:xfrm>
              <a:off x="2886995" y="7192681"/>
              <a:ext cx="602253" cy="60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07" h="21600" extrusionOk="0">
                  <a:moveTo>
                    <a:pt x="9727" y="0"/>
                  </a:moveTo>
                  <a:cubicBezTo>
                    <a:pt x="6855" y="0"/>
                    <a:pt x="4037" y="1449"/>
                    <a:pt x="2181" y="4187"/>
                  </a:cubicBezTo>
                  <a:lnTo>
                    <a:pt x="18149" y="15418"/>
                  </a:lnTo>
                  <a:cubicBezTo>
                    <a:pt x="20403" y="10539"/>
                    <a:pt x="18945" y="4556"/>
                    <a:pt x="14805" y="1636"/>
                  </a:cubicBezTo>
                  <a:cubicBezTo>
                    <a:pt x="13227" y="534"/>
                    <a:pt x="11469" y="0"/>
                    <a:pt x="9727" y="0"/>
                  </a:cubicBezTo>
                  <a:close/>
                  <a:moveTo>
                    <a:pt x="1057" y="6182"/>
                  </a:moveTo>
                  <a:cubicBezTo>
                    <a:pt x="-1197" y="11058"/>
                    <a:pt x="261" y="17044"/>
                    <a:pt x="4401" y="19964"/>
                  </a:cubicBezTo>
                  <a:cubicBezTo>
                    <a:pt x="5982" y="21066"/>
                    <a:pt x="7746" y="21600"/>
                    <a:pt x="9490" y="21600"/>
                  </a:cubicBezTo>
                  <a:cubicBezTo>
                    <a:pt x="12356" y="21600"/>
                    <a:pt x="15169" y="20160"/>
                    <a:pt x="17022" y="17451"/>
                  </a:cubicBezTo>
                  <a:lnTo>
                    <a:pt x="1057" y="6182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92" name="Google Shape;425;p2"/>
            <p:cNvSpPr/>
            <p:nvPr/>
          </p:nvSpPr>
          <p:spPr>
            <a:xfrm>
              <a:off x="4143129" y="5890355"/>
              <a:ext cx="505542" cy="4910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2" h="21600" extrusionOk="0">
                  <a:moveTo>
                    <a:pt x="11778" y="0"/>
                  </a:moveTo>
                  <a:lnTo>
                    <a:pt x="3282" y="6214"/>
                  </a:lnTo>
                  <a:cubicBezTo>
                    <a:pt x="-140" y="8728"/>
                    <a:pt x="-1028" y="13755"/>
                    <a:pt x="1294" y="17455"/>
                  </a:cubicBezTo>
                  <a:lnTo>
                    <a:pt x="1677" y="18096"/>
                  </a:lnTo>
                  <a:cubicBezTo>
                    <a:pt x="3122" y="20368"/>
                    <a:pt x="5469" y="21600"/>
                    <a:pt x="7862" y="21600"/>
                  </a:cubicBezTo>
                  <a:cubicBezTo>
                    <a:pt x="9314" y="21600"/>
                    <a:pt x="10780" y="21147"/>
                    <a:pt x="12076" y="20195"/>
                  </a:cubicBezTo>
                  <a:lnTo>
                    <a:pt x="20572" y="13982"/>
                  </a:lnTo>
                  <a:lnTo>
                    <a:pt x="11778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93" name="Google Shape;426;p2"/>
            <p:cNvSpPr/>
            <p:nvPr/>
          </p:nvSpPr>
          <p:spPr>
            <a:xfrm>
              <a:off x="4477230" y="5686023"/>
              <a:ext cx="504530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2692" y="0"/>
                  </a:moveTo>
                  <a:cubicBezTo>
                    <a:pt x="11248" y="0"/>
                    <a:pt x="9790" y="456"/>
                    <a:pt x="8513" y="1398"/>
                  </a:cubicBezTo>
                  <a:lnTo>
                    <a:pt x="0" y="7644"/>
                  </a:lnTo>
                  <a:lnTo>
                    <a:pt x="8811" y="21600"/>
                  </a:lnTo>
                  <a:lnTo>
                    <a:pt x="17324" y="15354"/>
                  </a:lnTo>
                  <a:cubicBezTo>
                    <a:pt x="20711" y="12845"/>
                    <a:pt x="21600" y="7828"/>
                    <a:pt x="19270" y="4136"/>
                  </a:cubicBezTo>
                  <a:lnTo>
                    <a:pt x="18889" y="3543"/>
                  </a:lnTo>
                  <a:cubicBezTo>
                    <a:pt x="17438" y="1241"/>
                    <a:pt x="15083" y="0"/>
                    <a:pt x="1269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94" name="Google Shape;427;p2"/>
            <p:cNvSpPr/>
            <p:nvPr/>
          </p:nvSpPr>
          <p:spPr>
            <a:xfrm>
              <a:off x="3964881" y="6905031"/>
              <a:ext cx="931188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15" h="21600" extrusionOk="0">
                  <a:moveTo>
                    <a:pt x="10071" y="0"/>
                  </a:moveTo>
                  <a:cubicBezTo>
                    <a:pt x="9696" y="0"/>
                    <a:pt x="9363" y="275"/>
                    <a:pt x="9319" y="656"/>
                  </a:cubicBezTo>
                  <a:lnTo>
                    <a:pt x="8383" y="7688"/>
                  </a:lnTo>
                  <a:lnTo>
                    <a:pt x="1374" y="6774"/>
                  </a:lnTo>
                  <a:cubicBezTo>
                    <a:pt x="1332" y="6766"/>
                    <a:pt x="1289" y="6762"/>
                    <a:pt x="1249" y="6762"/>
                  </a:cubicBezTo>
                  <a:cubicBezTo>
                    <a:pt x="890" y="6762"/>
                    <a:pt x="578" y="7035"/>
                    <a:pt x="534" y="7423"/>
                  </a:cubicBezTo>
                  <a:lnTo>
                    <a:pt x="5" y="11399"/>
                  </a:lnTo>
                  <a:cubicBezTo>
                    <a:pt x="-41" y="11808"/>
                    <a:pt x="245" y="12194"/>
                    <a:pt x="654" y="12243"/>
                  </a:cubicBezTo>
                  <a:lnTo>
                    <a:pt x="654" y="12265"/>
                  </a:lnTo>
                  <a:lnTo>
                    <a:pt x="7662" y="13181"/>
                  </a:lnTo>
                  <a:lnTo>
                    <a:pt x="6750" y="20238"/>
                  </a:lnTo>
                  <a:cubicBezTo>
                    <a:pt x="6678" y="20649"/>
                    <a:pt x="6966" y="21009"/>
                    <a:pt x="7398" y="21082"/>
                  </a:cubicBezTo>
                  <a:lnTo>
                    <a:pt x="11359" y="21588"/>
                  </a:lnTo>
                  <a:cubicBezTo>
                    <a:pt x="11401" y="21596"/>
                    <a:pt x="11443" y="21600"/>
                    <a:pt x="11484" y="21600"/>
                  </a:cubicBezTo>
                  <a:cubicBezTo>
                    <a:pt x="11843" y="21600"/>
                    <a:pt x="12155" y="21329"/>
                    <a:pt x="12199" y="20963"/>
                  </a:cubicBezTo>
                  <a:lnTo>
                    <a:pt x="13135" y="13904"/>
                  </a:lnTo>
                  <a:lnTo>
                    <a:pt x="20144" y="14842"/>
                  </a:lnTo>
                  <a:cubicBezTo>
                    <a:pt x="20172" y="14846"/>
                    <a:pt x="20202" y="14848"/>
                    <a:pt x="20233" y="14848"/>
                  </a:cubicBezTo>
                  <a:cubicBezTo>
                    <a:pt x="20605" y="14848"/>
                    <a:pt x="20938" y="14573"/>
                    <a:pt x="20982" y="14193"/>
                  </a:cubicBezTo>
                  <a:lnTo>
                    <a:pt x="21511" y="10193"/>
                  </a:lnTo>
                  <a:cubicBezTo>
                    <a:pt x="21559" y="9784"/>
                    <a:pt x="21271" y="9400"/>
                    <a:pt x="20864" y="9351"/>
                  </a:cubicBezTo>
                  <a:lnTo>
                    <a:pt x="13854" y="8411"/>
                  </a:lnTo>
                  <a:lnTo>
                    <a:pt x="14768" y="1378"/>
                  </a:lnTo>
                  <a:cubicBezTo>
                    <a:pt x="14838" y="967"/>
                    <a:pt x="14552" y="583"/>
                    <a:pt x="14118" y="534"/>
                  </a:cubicBezTo>
                  <a:lnTo>
                    <a:pt x="10159" y="4"/>
                  </a:lnTo>
                  <a:cubicBezTo>
                    <a:pt x="10129" y="0"/>
                    <a:pt x="10099" y="0"/>
                    <a:pt x="1007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95" name="Google Shape;428;p2"/>
            <p:cNvSpPr/>
            <p:nvPr/>
          </p:nvSpPr>
          <p:spPr>
            <a:xfrm>
              <a:off x="2772203" y="8315456"/>
              <a:ext cx="932606" cy="11806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88" h="21600" extrusionOk="0">
                  <a:moveTo>
                    <a:pt x="8125" y="693"/>
                  </a:moveTo>
                  <a:cubicBezTo>
                    <a:pt x="8696" y="693"/>
                    <a:pt x="9262" y="969"/>
                    <a:pt x="9375" y="1585"/>
                  </a:cubicBezTo>
                  <a:cubicBezTo>
                    <a:pt x="9423" y="1907"/>
                    <a:pt x="9328" y="2212"/>
                    <a:pt x="9067" y="2460"/>
                  </a:cubicBezTo>
                  <a:lnTo>
                    <a:pt x="7501" y="2688"/>
                  </a:lnTo>
                  <a:cubicBezTo>
                    <a:pt x="7147" y="2535"/>
                    <a:pt x="6910" y="2270"/>
                    <a:pt x="6838" y="1965"/>
                  </a:cubicBezTo>
                  <a:cubicBezTo>
                    <a:pt x="6609" y="1167"/>
                    <a:pt x="7374" y="693"/>
                    <a:pt x="8125" y="693"/>
                  </a:cubicBezTo>
                  <a:close/>
                  <a:moveTo>
                    <a:pt x="15527" y="4362"/>
                  </a:moveTo>
                  <a:cubicBezTo>
                    <a:pt x="16023" y="4362"/>
                    <a:pt x="16479" y="4663"/>
                    <a:pt x="16583" y="5082"/>
                  </a:cubicBezTo>
                  <a:lnTo>
                    <a:pt x="19335" y="17169"/>
                  </a:lnTo>
                  <a:cubicBezTo>
                    <a:pt x="19429" y="17645"/>
                    <a:pt x="19050" y="18101"/>
                    <a:pt x="18457" y="18195"/>
                  </a:cubicBezTo>
                  <a:lnTo>
                    <a:pt x="5984" y="20020"/>
                  </a:lnTo>
                  <a:cubicBezTo>
                    <a:pt x="5926" y="20028"/>
                    <a:pt x="5868" y="20031"/>
                    <a:pt x="5811" y="20031"/>
                  </a:cubicBezTo>
                  <a:cubicBezTo>
                    <a:pt x="5285" y="20031"/>
                    <a:pt x="4813" y="19726"/>
                    <a:pt x="4727" y="19298"/>
                  </a:cubicBezTo>
                  <a:lnTo>
                    <a:pt x="1977" y="7229"/>
                  </a:lnTo>
                  <a:cubicBezTo>
                    <a:pt x="1859" y="6736"/>
                    <a:pt x="2262" y="6280"/>
                    <a:pt x="2855" y="6203"/>
                  </a:cubicBezTo>
                  <a:lnTo>
                    <a:pt x="4349" y="5994"/>
                  </a:lnTo>
                  <a:cubicBezTo>
                    <a:pt x="4411" y="6327"/>
                    <a:pt x="4765" y="6559"/>
                    <a:pt x="5173" y="6559"/>
                  </a:cubicBezTo>
                  <a:cubicBezTo>
                    <a:pt x="5229" y="6559"/>
                    <a:pt x="5287" y="6554"/>
                    <a:pt x="5345" y="6546"/>
                  </a:cubicBezTo>
                  <a:lnTo>
                    <a:pt x="13145" y="5405"/>
                  </a:lnTo>
                  <a:cubicBezTo>
                    <a:pt x="13595" y="5347"/>
                    <a:pt x="13928" y="4967"/>
                    <a:pt x="13832" y="4607"/>
                  </a:cubicBezTo>
                  <a:lnTo>
                    <a:pt x="15326" y="4378"/>
                  </a:lnTo>
                  <a:cubicBezTo>
                    <a:pt x="15394" y="4367"/>
                    <a:pt x="15461" y="4362"/>
                    <a:pt x="15527" y="4362"/>
                  </a:cubicBezTo>
                  <a:close/>
                  <a:moveTo>
                    <a:pt x="8081" y="0"/>
                  </a:moveTo>
                  <a:cubicBezTo>
                    <a:pt x="7953" y="0"/>
                    <a:pt x="7822" y="8"/>
                    <a:pt x="7693" y="27"/>
                  </a:cubicBezTo>
                  <a:cubicBezTo>
                    <a:pt x="6506" y="198"/>
                    <a:pt x="5723" y="1129"/>
                    <a:pt x="5960" y="2080"/>
                  </a:cubicBezTo>
                  <a:cubicBezTo>
                    <a:pt x="6032" y="2364"/>
                    <a:pt x="6175" y="2631"/>
                    <a:pt x="6388" y="2840"/>
                  </a:cubicBezTo>
                  <a:lnTo>
                    <a:pt x="4847" y="3087"/>
                  </a:lnTo>
                  <a:cubicBezTo>
                    <a:pt x="4229" y="3181"/>
                    <a:pt x="3803" y="3676"/>
                    <a:pt x="3923" y="4169"/>
                  </a:cubicBezTo>
                  <a:lnTo>
                    <a:pt x="4016" y="4626"/>
                  </a:lnTo>
                  <a:lnTo>
                    <a:pt x="1455" y="4987"/>
                  </a:lnTo>
                  <a:cubicBezTo>
                    <a:pt x="483" y="5138"/>
                    <a:pt x="-156" y="5880"/>
                    <a:pt x="33" y="6659"/>
                  </a:cubicBezTo>
                  <a:lnTo>
                    <a:pt x="3164" y="20419"/>
                  </a:lnTo>
                  <a:cubicBezTo>
                    <a:pt x="3311" y="21115"/>
                    <a:pt x="4066" y="21600"/>
                    <a:pt x="4918" y="21600"/>
                  </a:cubicBezTo>
                  <a:cubicBezTo>
                    <a:pt x="5020" y="21600"/>
                    <a:pt x="5122" y="21592"/>
                    <a:pt x="5225" y="21578"/>
                  </a:cubicBezTo>
                  <a:lnTo>
                    <a:pt x="19833" y="19431"/>
                  </a:lnTo>
                  <a:cubicBezTo>
                    <a:pt x="20805" y="19279"/>
                    <a:pt x="21444" y="18537"/>
                    <a:pt x="21255" y="17777"/>
                  </a:cubicBezTo>
                  <a:lnTo>
                    <a:pt x="18148" y="3979"/>
                  </a:lnTo>
                  <a:cubicBezTo>
                    <a:pt x="17981" y="3293"/>
                    <a:pt x="17244" y="2813"/>
                    <a:pt x="16403" y="2813"/>
                  </a:cubicBezTo>
                  <a:cubicBezTo>
                    <a:pt x="16292" y="2813"/>
                    <a:pt x="16176" y="2822"/>
                    <a:pt x="16063" y="2840"/>
                  </a:cubicBezTo>
                  <a:lnTo>
                    <a:pt x="13502" y="3220"/>
                  </a:lnTo>
                  <a:lnTo>
                    <a:pt x="13406" y="2782"/>
                  </a:lnTo>
                  <a:cubicBezTo>
                    <a:pt x="13301" y="2327"/>
                    <a:pt x="12803" y="2006"/>
                    <a:pt x="12263" y="2006"/>
                  </a:cubicBezTo>
                  <a:cubicBezTo>
                    <a:pt x="12193" y="2006"/>
                    <a:pt x="12124" y="2011"/>
                    <a:pt x="12054" y="2022"/>
                  </a:cubicBezTo>
                  <a:lnTo>
                    <a:pt x="10158" y="2289"/>
                  </a:lnTo>
                  <a:cubicBezTo>
                    <a:pt x="10276" y="2022"/>
                    <a:pt x="10299" y="1737"/>
                    <a:pt x="10230" y="1472"/>
                  </a:cubicBezTo>
                  <a:cubicBezTo>
                    <a:pt x="10060" y="607"/>
                    <a:pt x="9136" y="0"/>
                    <a:pt x="808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96" name="Google Shape;429;p2"/>
            <p:cNvSpPr/>
            <p:nvPr/>
          </p:nvSpPr>
          <p:spPr>
            <a:xfrm>
              <a:off x="2954013" y="8740782"/>
              <a:ext cx="134665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15" h="21600" extrusionOk="0">
                  <a:moveTo>
                    <a:pt x="8912" y="0"/>
                  </a:moveTo>
                  <a:cubicBezTo>
                    <a:pt x="8401" y="0"/>
                    <a:pt x="7890" y="56"/>
                    <a:pt x="7380" y="154"/>
                  </a:cubicBezTo>
                  <a:cubicBezTo>
                    <a:pt x="-501" y="1817"/>
                    <a:pt x="-2718" y="14134"/>
                    <a:pt x="3921" y="19629"/>
                  </a:cubicBezTo>
                  <a:cubicBezTo>
                    <a:pt x="5523" y="20985"/>
                    <a:pt x="7275" y="21600"/>
                    <a:pt x="8970" y="21600"/>
                  </a:cubicBezTo>
                  <a:cubicBezTo>
                    <a:pt x="14146" y="21600"/>
                    <a:pt x="18882" y="15966"/>
                    <a:pt x="17745" y="8808"/>
                  </a:cubicBezTo>
                  <a:cubicBezTo>
                    <a:pt x="17002" y="3607"/>
                    <a:pt x="13172" y="0"/>
                    <a:pt x="891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97" name="Google Shape;430;p2"/>
            <p:cNvSpPr/>
            <p:nvPr/>
          </p:nvSpPr>
          <p:spPr>
            <a:xfrm>
              <a:off x="3132828" y="8700998"/>
              <a:ext cx="306849" cy="1176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74" h="21600" extrusionOk="0">
                  <a:moveTo>
                    <a:pt x="17254" y="0"/>
                  </a:moveTo>
                  <a:cubicBezTo>
                    <a:pt x="17043" y="0"/>
                    <a:pt x="16820" y="80"/>
                    <a:pt x="16581" y="240"/>
                  </a:cubicBezTo>
                  <a:lnTo>
                    <a:pt x="16514" y="48"/>
                  </a:lnTo>
                  <a:lnTo>
                    <a:pt x="2071" y="7670"/>
                  </a:lnTo>
                  <a:cubicBezTo>
                    <a:pt x="-1023" y="8919"/>
                    <a:pt x="-422" y="21600"/>
                    <a:pt x="2361" y="21600"/>
                  </a:cubicBezTo>
                  <a:cubicBezTo>
                    <a:pt x="2561" y="21600"/>
                    <a:pt x="2773" y="21536"/>
                    <a:pt x="2995" y="21408"/>
                  </a:cubicBezTo>
                  <a:lnTo>
                    <a:pt x="17377" y="13962"/>
                  </a:lnTo>
                  <a:cubicBezTo>
                    <a:pt x="20577" y="13082"/>
                    <a:pt x="20059" y="0"/>
                    <a:pt x="1725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98" name="Google Shape;431;p2"/>
            <p:cNvSpPr/>
            <p:nvPr/>
          </p:nvSpPr>
          <p:spPr>
            <a:xfrm>
              <a:off x="2988078" y="8928537"/>
              <a:ext cx="134824" cy="135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36" h="21600" extrusionOk="0">
                  <a:moveTo>
                    <a:pt x="9092" y="0"/>
                  </a:moveTo>
                  <a:cubicBezTo>
                    <a:pt x="8535" y="0"/>
                    <a:pt x="7966" y="70"/>
                    <a:pt x="7409" y="195"/>
                  </a:cubicBezTo>
                  <a:cubicBezTo>
                    <a:pt x="-472" y="1856"/>
                    <a:pt x="-2689" y="14149"/>
                    <a:pt x="3811" y="19633"/>
                  </a:cubicBezTo>
                  <a:cubicBezTo>
                    <a:pt x="5447" y="20986"/>
                    <a:pt x="7223" y="21600"/>
                    <a:pt x="8941" y="21600"/>
                  </a:cubicBezTo>
                  <a:cubicBezTo>
                    <a:pt x="14175" y="21600"/>
                    <a:pt x="18911" y="15977"/>
                    <a:pt x="17762" y="8847"/>
                  </a:cubicBezTo>
                  <a:cubicBezTo>
                    <a:pt x="17031" y="3712"/>
                    <a:pt x="13293" y="0"/>
                    <a:pt x="909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199" name="Google Shape;432;p2"/>
            <p:cNvSpPr/>
            <p:nvPr/>
          </p:nvSpPr>
          <p:spPr>
            <a:xfrm>
              <a:off x="3171780" y="8889101"/>
              <a:ext cx="296509" cy="117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9" h="21600" extrusionOk="0">
                  <a:moveTo>
                    <a:pt x="17013" y="0"/>
                  </a:moveTo>
                  <a:cubicBezTo>
                    <a:pt x="16927" y="0"/>
                    <a:pt x="16835" y="16"/>
                    <a:pt x="16743" y="32"/>
                  </a:cubicBezTo>
                  <a:lnTo>
                    <a:pt x="1826" y="7462"/>
                  </a:lnTo>
                  <a:cubicBezTo>
                    <a:pt x="-1047" y="9895"/>
                    <a:pt x="-329" y="21600"/>
                    <a:pt x="2579" y="21600"/>
                  </a:cubicBezTo>
                  <a:cubicBezTo>
                    <a:pt x="2648" y="21600"/>
                    <a:pt x="2717" y="21584"/>
                    <a:pt x="2786" y="21568"/>
                  </a:cubicBezTo>
                  <a:lnTo>
                    <a:pt x="17703" y="13946"/>
                  </a:lnTo>
                  <a:cubicBezTo>
                    <a:pt x="20553" y="11545"/>
                    <a:pt x="19869" y="0"/>
                    <a:pt x="1701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00" name="Google Shape;433;p2"/>
            <p:cNvSpPr/>
            <p:nvPr/>
          </p:nvSpPr>
          <p:spPr>
            <a:xfrm>
              <a:off x="3025024" y="9129290"/>
              <a:ext cx="135093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3" h="21600" extrusionOk="0">
                  <a:moveTo>
                    <a:pt x="8980" y="0"/>
                  </a:moveTo>
                  <a:cubicBezTo>
                    <a:pt x="8481" y="0"/>
                    <a:pt x="7971" y="56"/>
                    <a:pt x="7450" y="154"/>
                  </a:cubicBezTo>
                  <a:cubicBezTo>
                    <a:pt x="-418" y="1817"/>
                    <a:pt x="-2759" y="14134"/>
                    <a:pt x="3869" y="19629"/>
                  </a:cubicBezTo>
                  <a:cubicBezTo>
                    <a:pt x="5468" y="20985"/>
                    <a:pt x="7218" y="21600"/>
                    <a:pt x="8922" y="21600"/>
                  </a:cubicBezTo>
                  <a:cubicBezTo>
                    <a:pt x="14090" y="21600"/>
                    <a:pt x="18841" y="15994"/>
                    <a:pt x="17798" y="8976"/>
                  </a:cubicBezTo>
                  <a:cubicBezTo>
                    <a:pt x="16941" y="3621"/>
                    <a:pt x="13209" y="0"/>
                    <a:pt x="898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01" name="Google Shape;434;p2"/>
            <p:cNvSpPr/>
            <p:nvPr/>
          </p:nvSpPr>
          <p:spPr>
            <a:xfrm>
              <a:off x="3208025" y="9089768"/>
              <a:ext cx="297374" cy="117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65" h="21600" extrusionOk="0">
                  <a:moveTo>
                    <a:pt x="16803" y="0"/>
                  </a:moveTo>
                  <a:lnTo>
                    <a:pt x="1902" y="7633"/>
                  </a:lnTo>
                  <a:cubicBezTo>
                    <a:pt x="-1014" y="9862"/>
                    <a:pt x="-394" y="21600"/>
                    <a:pt x="2516" y="21600"/>
                  </a:cubicBezTo>
                  <a:cubicBezTo>
                    <a:pt x="2608" y="21600"/>
                    <a:pt x="2700" y="21600"/>
                    <a:pt x="2792" y="21568"/>
                  </a:cubicBezTo>
                  <a:lnTo>
                    <a:pt x="17687" y="14127"/>
                  </a:lnTo>
                  <a:cubicBezTo>
                    <a:pt x="20586" y="11914"/>
                    <a:pt x="19932" y="144"/>
                    <a:pt x="17067" y="144"/>
                  </a:cubicBezTo>
                  <a:cubicBezTo>
                    <a:pt x="16958" y="144"/>
                    <a:pt x="16849" y="160"/>
                    <a:pt x="16734" y="192"/>
                  </a:cubicBezTo>
                  <a:lnTo>
                    <a:pt x="16803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02" name="Google Shape;435;p2"/>
            <p:cNvSpPr/>
            <p:nvPr/>
          </p:nvSpPr>
          <p:spPr>
            <a:xfrm>
              <a:off x="2886995" y="9965635"/>
              <a:ext cx="600926" cy="6061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54" h="21600" extrusionOk="0">
                  <a:moveTo>
                    <a:pt x="9812" y="0"/>
                  </a:moveTo>
                  <a:cubicBezTo>
                    <a:pt x="6921" y="0"/>
                    <a:pt x="4076" y="1449"/>
                    <a:pt x="2192" y="4138"/>
                  </a:cubicBezTo>
                  <a:lnTo>
                    <a:pt x="18234" y="15429"/>
                  </a:lnTo>
                  <a:cubicBezTo>
                    <a:pt x="20398" y="10542"/>
                    <a:pt x="19034" y="4582"/>
                    <a:pt x="14941" y="1660"/>
                  </a:cubicBezTo>
                  <a:cubicBezTo>
                    <a:pt x="13354" y="538"/>
                    <a:pt x="11573" y="0"/>
                    <a:pt x="9812" y="0"/>
                  </a:cubicBezTo>
                  <a:close/>
                  <a:moveTo>
                    <a:pt x="1062" y="6137"/>
                  </a:moveTo>
                  <a:cubicBezTo>
                    <a:pt x="-1202" y="11024"/>
                    <a:pt x="263" y="17021"/>
                    <a:pt x="4422" y="19943"/>
                  </a:cubicBezTo>
                  <a:cubicBezTo>
                    <a:pt x="6007" y="21062"/>
                    <a:pt x="7777" y="21600"/>
                    <a:pt x="9530" y="21600"/>
                  </a:cubicBezTo>
                  <a:cubicBezTo>
                    <a:pt x="12412" y="21600"/>
                    <a:pt x="15240" y="20145"/>
                    <a:pt x="17102" y="17428"/>
                  </a:cubicBezTo>
                  <a:lnTo>
                    <a:pt x="1062" y="6137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03" name="Google Shape;436;p2"/>
            <p:cNvSpPr/>
            <p:nvPr/>
          </p:nvSpPr>
          <p:spPr>
            <a:xfrm>
              <a:off x="4143129" y="8660777"/>
              <a:ext cx="505542" cy="4923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2" h="21600" extrusionOk="0">
                  <a:moveTo>
                    <a:pt x="11778" y="0"/>
                  </a:moveTo>
                  <a:lnTo>
                    <a:pt x="3282" y="6243"/>
                  </a:lnTo>
                  <a:cubicBezTo>
                    <a:pt x="-140" y="8750"/>
                    <a:pt x="-1028" y="13761"/>
                    <a:pt x="1294" y="17455"/>
                  </a:cubicBezTo>
                  <a:lnTo>
                    <a:pt x="1677" y="18090"/>
                  </a:lnTo>
                  <a:cubicBezTo>
                    <a:pt x="3129" y="20371"/>
                    <a:pt x="5490" y="21600"/>
                    <a:pt x="7894" y="21600"/>
                  </a:cubicBezTo>
                  <a:cubicBezTo>
                    <a:pt x="9335" y="21600"/>
                    <a:pt x="10791" y="21156"/>
                    <a:pt x="12076" y="20233"/>
                  </a:cubicBezTo>
                  <a:lnTo>
                    <a:pt x="20572" y="13990"/>
                  </a:lnTo>
                  <a:lnTo>
                    <a:pt x="11778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04" name="Google Shape;437;p2"/>
            <p:cNvSpPr/>
            <p:nvPr/>
          </p:nvSpPr>
          <p:spPr>
            <a:xfrm>
              <a:off x="4477230" y="8457493"/>
              <a:ext cx="504530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2692" y="0"/>
                  </a:moveTo>
                  <a:cubicBezTo>
                    <a:pt x="11248" y="0"/>
                    <a:pt x="9790" y="452"/>
                    <a:pt x="8513" y="1398"/>
                  </a:cubicBezTo>
                  <a:lnTo>
                    <a:pt x="0" y="7644"/>
                  </a:lnTo>
                  <a:lnTo>
                    <a:pt x="8811" y="21600"/>
                  </a:lnTo>
                  <a:lnTo>
                    <a:pt x="17324" y="15350"/>
                  </a:lnTo>
                  <a:cubicBezTo>
                    <a:pt x="20711" y="12845"/>
                    <a:pt x="21600" y="7828"/>
                    <a:pt x="19270" y="4178"/>
                  </a:cubicBezTo>
                  <a:lnTo>
                    <a:pt x="18889" y="3543"/>
                  </a:lnTo>
                  <a:cubicBezTo>
                    <a:pt x="17438" y="1241"/>
                    <a:pt x="15083" y="0"/>
                    <a:pt x="1269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05" name="Google Shape;438;p2"/>
            <p:cNvSpPr/>
            <p:nvPr/>
          </p:nvSpPr>
          <p:spPr>
            <a:xfrm>
              <a:off x="3964881" y="9676413"/>
              <a:ext cx="931188" cy="9322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15" h="21600" extrusionOk="0">
                  <a:moveTo>
                    <a:pt x="10071" y="0"/>
                  </a:moveTo>
                  <a:cubicBezTo>
                    <a:pt x="9696" y="0"/>
                    <a:pt x="9363" y="277"/>
                    <a:pt x="9319" y="655"/>
                  </a:cubicBezTo>
                  <a:lnTo>
                    <a:pt x="8383" y="7708"/>
                  </a:lnTo>
                  <a:lnTo>
                    <a:pt x="1374" y="6770"/>
                  </a:lnTo>
                  <a:cubicBezTo>
                    <a:pt x="1344" y="6766"/>
                    <a:pt x="1314" y="6764"/>
                    <a:pt x="1285" y="6764"/>
                  </a:cubicBezTo>
                  <a:cubicBezTo>
                    <a:pt x="913" y="6764"/>
                    <a:pt x="578" y="7039"/>
                    <a:pt x="534" y="7419"/>
                  </a:cubicBezTo>
                  <a:lnTo>
                    <a:pt x="5" y="11416"/>
                  </a:lnTo>
                  <a:cubicBezTo>
                    <a:pt x="-41" y="11824"/>
                    <a:pt x="245" y="12186"/>
                    <a:pt x="654" y="12257"/>
                  </a:cubicBezTo>
                  <a:lnTo>
                    <a:pt x="7662" y="13197"/>
                  </a:lnTo>
                  <a:lnTo>
                    <a:pt x="6750" y="20223"/>
                  </a:lnTo>
                  <a:cubicBezTo>
                    <a:pt x="6678" y="20634"/>
                    <a:pt x="6966" y="21018"/>
                    <a:pt x="7398" y="21066"/>
                  </a:cubicBezTo>
                  <a:lnTo>
                    <a:pt x="11359" y="21596"/>
                  </a:lnTo>
                  <a:cubicBezTo>
                    <a:pt x="11389" y="21600"/>
                    <a:pt x="11419" y="21600"/>
                    <a:pt x="11447" y="21600"/>
                  </a:cubicBezTo>
                  <a:cubicBezTo>
                    <a:pt x="11820" y="21600"/>
                    <a:pt x="12155" y="21325"/>
                    <a:pt x="12199" y="20945"/>
                  </a:cubicBezTo>
                  <a:lnTo>
                    <a:pt x="13135" y="13894"/>
                  </a:lnTo>
                  <a:lnTo>
                    <a:pt x="20144" y="14832"/>
                  </a:lnTo>
                  <a:cubicBezTo>
                    <a:pt x="20172" y="14836"/>
                    <a:pt x="20202" y="14838"/>
                    <a:pt x="20233" y="14838"/>
                  </a:cubicBezTo>
                  <a:cubicBezTo>
                    <a:pt x="20605" y="14838"/>
                    <a:pt x="20938" y="14561"/>
                    <a:pt x="20982" y="14183"/>
                  </a:cubicBezTo>
                  <a:lnTo>
                    <a:pt x="21511" y="10186"/>
                  </a:lnTo>
                  <a:cubicBezTo>
                    <a:pt x="21559" y="9778"/>
                    <a:pt x="21271" y="9392"/>
                    <a:pt x="20864" y="9346"/>
                  </a:cubicBezTo>
                  <a:lnTo>
                    <a:pt x="13854" y="8430"/>
                  </a:lnTo>
                  <a:lnTo>
                    <a:pt x="14768" y="1379"/>
                  </a:lnTo>
                  <a:cubicBezTo>
                    <a:pt x="14838" y="968"/>
                    <a:pt x="14552" y="584"/>
                    <a:pt x="14118" y="536"/>
                  </a:cubicBezTo>
                  <a:lnTo>
                    <a:pt x="10159" y="6"/>
                  </a:lnTo>
                  <a:cubicBezTo>
                    <a:pt x="10129" y="2"/>
                    <a:pt x="10099" y="0"/>
                    <a:pt x="1007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06" name="Google Shape;439;p2"/>
            <p:cNvSpPr/>
            <p:nvPr/>
          </p:nvSpPr>
          <p:spPr>
            <a:xfrm>
              <a:off x="2772203" y="11086838"/>
              <a:ext cx="932606" cy="11795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88" h="21600" extrusionOk="0">
                  <a:moveTo>
                    <a:pt x="8125" y="695"/>
                  </a:moveTo>
                  <a:cubicBezTo>
                    <a:pt x="8696" y="695"/>
                    <a:pt x="9262" y="971"/>
                    <a:pt x="9375" y="1588"/>
                  </a:cubicBezTo>
                  <a:cubicBezTo>
                    <a:pt x="9423" y="1892"/>
                    <a:pt x="9328" y="2216"/>
                    <a:pt x="9067" y="2464"/>
                  </a:cubicBezTo>
                  <a:lnTo>
                    <a:pt x="7501" y="2690"/>
                  </a:lnTo>
                  <a:cubicBezTo>
                    <a:pt x="7147" y="2539"/>
                    <a:pt x="6910" y="2291"/>
                    <a:pt x="6838" y="1987"/>
                  </a:cubicBezTo>
                  <a:lnTo>
                    <a:pt x="6838" y="1968"/>
                  </a:lnTo>
                  <a:cubicBezTo>
                    <a:pt x="6609" y="1169"/>
                    <a:pt x="7374" y="695"/>
                    <a:pt x="8125" y="695"/>
                  </a:cubicBezTo>
                  <a:close/>
                  <a:moveTo>
                    <a:pt x="15535" y="4387"/>
                  </a:moveTo>
                  <a:cubicBezTo>
                    <a:pt x="16047" y="4387"/>
                    <a:pt x="16499" y="4687"/>
                    <a:pt x="16583" y="5106"/>
                  </a:cubicBezTo>
                  <a:lnTo>
                    <a:pt x="19335" y="17186"/>
                  </a:lnTo>
                  <a:cubicBezTo>
                    <a:pt x="19429" y="17662"/>
                    <a:pt x="19050" y="18117"/>
                    <a:pt x="18457" y="18213"/>
                  </a:cubicBezTo>
                  <a:lnTo>
                    <a:pt x="5984" y="20039"/>
                  </a:lnTo>
                  <a:cubicBezTo>
                    <a:pt x="5924" y="20047"/>
                    <a:pt x="5862" y="20050"/>
                    <a:pt x="5803" y="20050"/>
                  </a:cubicBezTo>
                  <a:cubicBezTo>
                    <a:pt x="5279" y="20050"/>
                    <a:pt x="4813" y="19761"/>
                    <a:pt x="4727" y="19335"/>
                  </a:cubicBezTo>
                  <a:lnTo>
                    <a:pt x="1977" y="7237"/>
                  </a:lnTo>
                  <a:cubicBezTo>
                    <a:pt x="1859" y="6761"/>
                    <a:pt x="2262" y="6306"/>
                    <a:pt x="2855" y="6229"/>
                  </a:cubicBezTo>
                  <a:lnTo>
                    <a:pt x="4349" y="6020"/>
                  </a:lnTo>
                  <a:cubicBezTo>
                    <a:pt x="4411" y="6339"/>
                    <a:pt x="4771" y="6584"/>
                    <a:pt x="5181" y="6584"/>
                  </a:cubicBezTo>
                  <a:cubicBezTo>
                    <a:pt x="5235" y="6584"/>
                    <a:pt x="5289" y="6581"/>
                    <a:pt x="5345" y="6571"/>
                  </a:cubicBezTo>
                  <a:lnTo>
                    <a:pt x="13145" y="5430"/>
                  </a:lnTo>
                  <a:cubicBezTo>
                    <a:pt x="13595" y="5354"/>
                    <a:pt x="13928" y="4993"/>
                    <a:pt x="13832" y="4612"/>
                  </a:cubicBezTo>
                  <a:lnTo>
                    <a:pt x="15326" y="4403"/>
                  </a:lnTo>
                  <a:cubicBezTo>
                    <a:pt x="15398" y="4392"/>
                    <a:pt x="15467" y="4387"/>
                    <a:pt x="15535" y="4387"/>
                  </a:cubicBezTo>
                  <a:close/>
                  <a:moveTo>
                    <a:pt x="8081" y="0"/>
                  </a:moveTo>
                  <a:cubicBezTo>
                    <a:pt x="7953" y="0"/>
                    <a:pt x="7822" y="10"/>
                    <a:pt x="7693" y="29"/>
                  </a:cubicBezTo>
                  <a:cubicBezTo>
                    <a:pt x="6506" y="200"/>
                    <a:pt x="5723" y="1131"/>
                    <a:pt x="5960" y="2082"/>
                  </a:cubicBezTo>
                  <a:cubicBezTo>
                    <a:pt x="6032" y="2368"/>
                    <a:pt x="6175" y="2615"/>
                    <a:pt x="6388" y="2844"/>
                  </a:cubicBezTo>
                  <a:lnTo>
                    <a:pt x="4847" y="3072"/>
                  </a:lnTo>
                  <a:cubicBezTo>
                    <a:pt x="4229" y="3167"/>
                    <a:pt x="3803" y="3662"/>
                    <a:pt x="3923" y="4155"/>
                  </a:cubicBezTo>
                  <a:lnTo>
                    <a:pt x="4016" y="4612"/>
                  </a:lnTo>
                  <a:lnTo>
                    <a:pt x="1455" y="4993"/>
                  </a:lnTo>
                  <a:cubicBezTo>
                    <a:pt x="483" y="5125"/>
                    <a:pt x="-156" y="5868"/>
                    <a:pt x="33" y="6648"/>
                  </a:cubicBezTo>
                  <a:lnTo>
                    <a:pt x="3164" y="20439"/>
                  </a:lnTo>
                  <a:cubicBezTo>
                    <a:pt x="3311" y="21118"/>
                    <a:pt x="4066" y="21600"/>
                    <a:pt x="4918" y="21600"/>
                  </a:cubicBezTo>
                  <a:cubicBezTo>
                    <a:pt x="5020" y="21600"/>
                    <a:pt x="5122" y="21594"/>
                    <a:pt x="5225" y="21579"/>
                  </a:cubicBezTo>
                  <a:lnTo>
                    <a:pt x="19833" y="19430"/>
                  </a:lnTo>
                  <a:cubicBezTo>
                    <a:pt x="20805" y="19298"/>
                    <a:pt x="21444" y="18536"/>
                    <a:pt x="21255" y="17775"/>
                  </a:cubicBezTo>
                  <a:lnTo>
                    <a:pt x="18124" y="3984"/>
                  </a:lnTo>
                  <a:cubicBezTo>
                    <a:pt x="17979" y="3298"/>
                    <a:pt x="17224" y="2817"/>
                    <a:pt x="16397" y="2817"/>
                  </a:cubicBezTo>
                  <a:cubicBezTo>
                    <a:pt x="16286" y="2817"/>
                    <a:pt x="16174" y="2825"/>
                    <a:pt x="16063" y="2844"/>
                  </a:cubicBezTo>
                  <a:lnTo>
                    <a:pt x="13502" y="3224"/>
                  </a:lnTo>
                  <a:lnTo>
                    <a:pt x="13406" y="2767"/>
                  </a:lnTo>
                  <a:cubicBezTo>
                    <a:pt x="13299" y="2318"/>
                    <a:pt x="12783" y="1995"/>
                    <a:pt x="12227" y="1995"/>
                  </a:cubicBezTo>
                  <a:cubicBezTo>
                    <a:pt x="12170" y="1995"/>
                    <a:pt x="12112" y="1999"/>
                    <a:pt x="12054" y="2007"/>
                  </a:cubicBezTo>
                  <a:lnTo>
                    <a:pt x="10158" y="2291"/>
                  </a:lnTo>
                  <a:cubicBezTo>
                    <a:pt x="10276" y="2026"/>
                    <a:pt x="10299" y="1740"/>
                    <a:pt x="10230" y="1454"/>
                  </a:cubicBezTo>
                  <a:cubicBezTo>
                    <a:pt x="10060" y="607"/>
                    <a:pt x="9136" y="0"/>
                    <a:pt x="808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07" name="Google Shape;440;p2"/>
            <p:cNvSpPr/>
            <p:nvPr/>
          </p:nvSpPr>
          <p:spPr>
            <a:xfrm>
              <a:off x="2954013" y="11512252"/>
              <a:ext cx="134665" cy="1347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15" h="21600" extrusionOk="0">
                  <a:moveTo>
                    <a:pt x="8912" y="0"/>
                  </a:moveTo>
                  <a:cubicBezTo>
                    <a:pt x="8401" y="0"/>
                    <a:pt x="7890" y="56"/>
                    <a:pt x="7380" y="154"/>
                  </a:cubicBezTo>
                  <a:cubicBezTo>
                    <a:pt x="-501" y="1819"/>
                    <a:pt x="-2718" y="14144"/>
                    <a:pt x="3921" y="19641"/>
                  </a:cubicBezTo>
                  <a:cubicBezTo>
                    <a:pt x="5523" y="20998"/>
                    <a:pt x="7275" y="21600"/>
                    <a:pt x="8970" y="21600"/>
                  </a:cubicBezTo>
                  <a:cubicBezTo>
                    <a:pt x="14146" y="21600"/>
                    <a:pt x="18882" y="15962"/>
                    <a:pt x="17745" y="8813"/>
                  </a:cubicBezTo>
                  <a:cubicBezTo>
                    <a:pt x="17002" y="3609"/>
                    <a:pt x="13172" y="0"/>
                    <a:pt x="891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08" name="Google Shape;441;p2"/>
            <p:cNvSpPr/>
            <p:nvPr/>
          </p:nvSpPr>
          <p:spPr>
            <a:xfrm>
              <a:off x="3134045" y="11472643"/>
              <a:ext cx="304533" cy="1172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63" h="21600" extrusionOk="0">
                  <a:moveTo>
                    <a:pt x="17247" y="0"/>
                  </a:moveTo>
                  <a:cubicBezTo>
                    <a:pt x="17051" y="0"/>
                    <a:pt x="16838" y="64"/>
                    <a:pt x="16619" y="209"/>
                  </a:cubicBezTo>
                  <a:lnTo>
                    <a:pt x="16552" y="209"/>
                  </a:lnTo>
                  <a:lnTo>
                    <a:pt x="2008" y="7666"/>
                  </a:lnTo>
                  <a:cubicBezTo>
                    <a:pt x="-1007" y="9289"/>
                    <a:pt x="-419" y="21600"/>
                    <a:pt x="2389" y="21600"/>
                  </a:cubicBezTo>
                  <a:cubicBezTo>
                    <a:pt x="2563" y="21600"/>
                    <a:pt x="2748" y="21552"/>
                    <a:pt x="2939" y="21439"/>
                  </a:cubicBezTo>
                  <a:lnTo>
                    <a:pt x="17421" y="13982"/>
                  </a:lnTo>
                  <a:cubicBezTo>
                    <a:pt x="20593" y="12729"/>
                    <a:pt x="19993" y="0"/>
                    <a:pt x="1724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09" name="Google Shape;442;p2"/>
            <p:cNvSpPr/>
            <p:nvPr/>
          </p:nvSpPr>
          <p:spPr>
            <a:xfrm>
              <a:off x="2988078" y="11700268"/>
              <a:ext cx="134824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36" h="21600" extrusionOk="0">
                  <a:moveTo>
                    <a:pt x="8941" y="0"/>
                  </a:moveTo>
                  <a:cubicBezTo>
                    <a:pt x="8430" y="0"/>
                    <a:pt x="7919" y="56"/>
                    <a:pt x="7409" y="154"/>
                  </a:cubicBezTo>
                  <a:cubicBezTo>
                    <a:pt x="-472" y="1817"/>
                    <a:pt x="-2689" y="14134"/>
                    <a:pt x="3811" y="19629"/>
                  </a:cubicBezTo>
                  <a:cubicBezTo>
                    <a:pt x="5447" y="20985"/>
                    <a:pt x="7223" y="21600"/>
                    <a:pt x="8941" y="21600"/>
                  </a:cubicBezTo>
                  <a:cubicBezTo>
                    <a:pt x="14175" y="21600"/>
                    <a:pt x="18911" y="15952"/>
                    <a:pt x="17762" y="8808"/>
                  </a:cubicBezTo>
                  <a:cubicBezTo>
                    <a:pt x="17031" y="3607"/>
                    <a:pt x="13201" y="0"/>
                    <a:pt x="894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10" name="Google Shape;443;p2"/>
            <p:cNvSpPr/>
            <p:nvPr/>
          </p:nvSpPr>
          <p:spPr>
            <a:xfrm>
              <a:off x="3171780" y="11660571"/>
              <a:ext cx="296509" cy="117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9" h="21600" extrusionOk="0">
                  <a:moveTo>
                    <a:pt x="17013" y="0"/>
                  </a:moveTo>
                  <a:cubicBezTo>
                    <a:pt x="16927" y="0"/>
                    <a:pt x="16835" y="0"/>
                    <a:pt x="16743" y="32"/>
                  </a:cubicBezTo>
                  <a:lnTo>
                    <a:pt x="1826" y="7467"/>
                  </a:lnTo>
                  <a:cubicBezTo>
                    <a:pt x="-1047" y="9887"/>
                    <a:pt x="-329" y="21600"/>
                    <a:pt x="2579" y="21600"/>
                  </a:cubicBezTo>
                  <a:cubicBezTo>
                    <a:pt x="2648" y="21600"/>
                    <a:pt x="2717" y="21600"/>
                    <a:pt x="2786" y="21584"/>
                  </a:cubicBezTo>
                  <a:lnTo>
                    <a:pt x="17703" y="13957"/>
                  </a:lnTo>
                  <a:cubicBezTo>
                    <a:pt x="20553" y="11553"/>
                    <a:pt x="19869" y="0"/>
                    <a:pt x="1701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11" name="Google Shape;444;p2"/>
            <p:cNvSpPr/>
            <p:nvPr/>
          </p:nvSpPr>
          <p:spPr>
            <a:xfrm>
              <a:off x="3025024" y="11900761"/>
              <a:ext cx="135093" cy="1357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3" h="21600" extrusionOk="0">
                  <a:moveTo>
                    <a:pt x="8933" y="0"/>
                  </a:moveTo>
                  <a:cubicBezTo>
                    <a:pt x="8447" y="0"/>
                    <a:pt x="7948" y="56"/>
                    <a:pt x="7450" y="153"/>
                  </a:cubicBezTo>
                  <a:cubicBezTo>
                    <a:pt x="-418" y="1805"/>
                    <a:pt x="-2759" y="14034"/>
                    <a:pt x="3869" y="19657"/>
                  </a:cubicBezTo>
                  <a:cubicBezTo>
                    <a:pt x="5468" y="21003"/>
                    <a:pt x="7207" y="21600"/>
                    <a:pt x="8910" y="21600"/>
                  </a:cubicBezTo>
                  <a:cubicBezTo>
                    <a:pt x="14090" y="21600"/>
                    <a:pt x="18841" y="16006"/>
                    <a:pt x="17798" y="8912"/>
                  </a:cubicBezTo>
                  <a:cubicBezTo>
                    <a:pt x="16929" y="3720"/>
                    <a:pt x="13186" y="0"/>
                    <a:pt x="893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12" name="Google Shape;445;p2"/>
            <p:cNvSpPr/>
            <p:nvPr/>
          </p:nvSpPr>
          <p:spPr>
            <a:xfrm>
              <a:off x="3207123" y="11860977"/>
              <a:ext cx="299138" cy="1180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30" h="21600" extrusionOk="0">
                  <a:moveTo>
                    <a:pt x="17059" y="0"/>
                  </a:moveTo>
                  <a:cubicBezTo>
                    <a:pt x="16950" y="0"/>
                    <a:pt x="16842" y="16"/>
                    <a:pt x="16734" y="48"/>
                  </a:cubicBezTo>
                  <a:lnTo>
                    <a:pt x="1947" y="7647"/>
                  </a:lnTo>
                  <a:cubicBezTo>
                    <a:pt x="-1044" y="9643"/>
                    <a:pt x="-360" y="21600"/>
                    <a:pt x="2448" y="21600"/>
                  </a:cubicBezTo>
                  <a:cubicBezTo>
                    <a:pt x="2567" y="21600"/>
                    <a:pt x="2698" y="21568"/>
                    <a:pt x="2829" y="21520"/>
                  </a:cubicBezTo>
                  <a:lnTo>
                    <a:pt x="17611" y="14113"/>
                  </a:lnTo>
                  <a:cubicBezTo>
                    <a:pt x="20556" y="11910"/>
                    <a:pt x="19907" y="0"/>
                    <a:pt x="1705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13" name="Google Shape;446;p2"/>
            <p:cNvSpPr/>
            <p:nvPr/>
          </p:nvSpPr>
          <p:spPr>
            <a:xfrm>
              <a:off x="2886995" y="12736145"/>
              <a:ext cx="602253" cy="6071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07" h="21600" extrusionOk="0">
                  <a:moveTo>
                    <a:pt x="9721" y="0"/>
                  </a:moveTo>
                  <a:cubicBezTo>
                    <a:pt x="6853" y="0"/>
                    <a:pt x="4037" y="1453"/>
                    <a:pt x="2181" y="4165"/>
                  </a:cubicBezTo>
                  <a:lnTo>
                    <a:pt x="18149" y="15439"/>
                  </a:lnTo>
                  <a:cubicBezTo>
                    <a:pt x="20403" y="10559"/>
                    <a:pt x="18945" y="4572"/>
                    <a:pt x="14805" y="1654"/>
                  </a:cubicBezTo>
                  <a:cubicBezTo>
                    <a:pt x="13227" y="537"/>
                    <a:pt x="11466" y="0"/>
                    <a:pt x="9721" y="0"/>
                  </a:cubicBezTo>
                  <a:close/>
                  <a:moveTo>
                    <a:pt x="1057" y="6161"/>
                  </a:moveTo>
                  <a:cubicBezTo>
                    <a:pt x="-1197" y="11041"/>
                    <a:pt x="261" y="17028"/>
                    <a:pt x="4401" y="19946"/>
                  </a:cubicBezTo>
                  <a:cubicBezTo>
                    <a:pt x="5979" y="21063"/>
                    <a:pt x="7740" y="21600"/>
                    <a:pt x="9485" y="21600"/>
                  </a:cubicBezTo>
                  <a:cubicBezTo>
                    <a:pt x="12353" y="21600"/>
                    <a:pt x="15169" y="20147"/>
                    <a:pt x="17022" y="17435"/>
                  </a:cubicBezTo>
                  <a:lnTo>
                    <a:pt x="1057" y="6161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14" name="Google Shape;447;p2"/>
            <p:cNvSpPr/>
            <p:nvPr/>
          </p:nvSpPr>
          <p:spPr>
            <a:xfrm>
              <a:off x="4143129" y="11433207"/>
              <a:ext cx="505542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2" h="21600" extrusionOk="0">
                  <a:moveTo>
                    <a:pt x="11778" y="0"/>
                  </a:moveTo>
                  <a:lnTo>
                    <a:pt x="3282" y="6250"/>
                  </a:lnTo>
                  <a:cubicBezTo>
                    <a:pt x="-140" y="8755"/>
                    <a:pt x="-1028" y="13772"/>
                    <a:pt x="1294" y="17464"/>
                  </a:cubicBezTo>
                  <a:lnTo>
                    <a:pt x="1677" y="18057"/>
                  </a:lnTo>
                  <a:cubicBezTo>
                    <a:pt x="3126" y="20359"/>
                    <a:pt x="5476" y="21600"/>
                    <a:pt x="7873" y="21600"/>
                  </a:cubicBezTo>
                  <a:cubicBezTo>
                    <a:pt x="9321" y="21600"/>
                    <a:pt x="10784" y="21148"/>
                    <a:pt x="12076" y="20202"/>
                  </a:cubicBezTo>
                  <a:lnTo>
                    <a:pt x="20572" y="13956"/>
                  </a:lnTo>
                  <a:lnTo>
                    <a:pt x="11778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15" name="Google Shape;448;p2"/>
            <p:cNvSpPr/>
            <p:nvPr/>
          </p:nvSpPr>
          <p:spPr>
            <a:xfrm>
              <a:off x="4477230" y="11228963"/>
              <a:ext cx="504530" cy="4919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2692" y="0"/>
                  </a:moveTo>
                  <a:cubicBezTo>
                    <a:pt x="11248" y="0"/>
                    <a:pt x="9790" y="452"/>
                    <a:pt x="8513" y="1398"/>
                  </a:cubicBezTo>
                  <a:lnTo>
                    <a:pt x="0" y="7646"/>
                  </a:lnTo>
                  <a:lnTo>
                    <a:pt x="8811" y="21600"/>
                  </a:lnTo>
                  <a:lnTo>
                    <a:pt x="17324" y="15353"/>
                  </a:lnTo>
                  <a:cubicBezTo>
                    <a:pt x="20711" y="12844"/>
                    <a:pt x="21600" y="7829"/>
                    <a:pt x="19270" y="4179"/>
                  </a:cubicBezTo>
                  <a:lnTo>
                    <a:pt x="18889" y="3543"/>
                  </a:lnTo>
                  <a:cubicBezTo>
                    <a:pt x="17438" y="1241"/>
                    <a:pt x="15083" y="0"/>
                    <a:pt x="1269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16" name="Google Shape;449;p2"/>
            <p:cNvSpPr/>
            <p:nvPr/>
          </p:nvSpPr>
          <p:spPr>
            <a:xfrm>
              <a:off x="3964881" y="12448668"/>
              <a:ext cx="931188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15" h="21600" extrusionOk="0">
                  <a:moveTo>
                    <a:pt x="10034" y="0"/>
                  </a:moveTo>
                  <a:cubicBezTo>
                    <a:pt x="9675" y="0"/>
                    <a:pt x="9361" y="273"/>
                    <a:pt x="9319" y="662"/>
                  </a:cubicBezTo>
                  <a:lnTo>
                    <a:pt x="8383" y="7696"/>
                  </a:lnTo>
                  <a:lnTo>
                    <a:pt x="1374" y="6756"/>
                  </a:lnTo>
                  <a:cubicBezTo>
                    <a:pt x="1344" y="6754"/>
                    <a:pt x="1314" y="6752"/>
                    <a:pt x="1285" y="6752"/>
                  </a:cubicBezTo>
                  <a:cubicBezTo>
                    <a:pt x="913" y="6752"/>
                    <a:pt x="578" y="7027"/>
                    <a:pt x="534" y="7407"/>
                  </a:cubicBezTo>
                  <a:lnTo>
                    <a:pt x="5" y="11405"/>
                  </a:lnTo>
                  <a:cubicBezTo>
                    <a:pt x="-41" y="11816"/>
                    <a:pt x="245" y="12200"/>
                    <a:pt x="654" y="12249"/>
                  </a:cubicBezTo>
                  <a:lnTo>
                    <a:pt x="7662" y="13187"/>
                  </a:lnTo>
                  <a:lnTo>
                    <a:pt x="6750" y="20222"/>
                  </a:lnTo>
                  <a:cubicBezTo>
                    <a:pt x="6678" y="20631"/>
                    <a:pt x="6966" y="21017"/>
                    <a:pt x="7398" y="21066"/>
                  </a:cubicBezTo>
                  <a:lnTo>
                    <a:pt x="11359" y="21596"/>
                  </a:lnTo>
                  <a:cubicBezTo>
                    <a:pt x="11389" y="21598"/>
                    <a:pt x="11419" y="21600"/>
                    <a:pt x="11447" y="21600"/>
                  </a:cubicBezTo>
                  <a:cubicBezTo>
                    <a:pt x="11820" y="21600"/>
                    <a:pt x="12155" y="21325"/>
                    <a:pt x="12199" y="20944"/>
                  </a:cubicBezTo>
                  <a:lnTo>
                    <a:pt x="13135" y="13912"/>
                  </a:lnTo>
                  <a:lnTo>
                    <a:pt x="20144" y="14826"/>
                  </a:lnTo>
                  <a:cubicBezTo>
                    <a:pt x="20182" y="14832"/>
                    <a:pt x="20222" y="14836"/>
                    <a:pt x="20261" y="14836"/>
                  </a:cubicBezTo>
                  <a:cubicBezTo>
                    <a:pt x="20624" y="14836"/>
                    <a:pt x="20940" y="14545"/>
                    <a:pt x="20982" y="14177"/>
                  </a:cubicBezTo>
                  <a:lnTo>
                    <a:pt x="21511" y="10201"/>
                  </a:lnTo>
                  <a:cubicBezTo>
                    <a:pt x="21559" y="9768"/>
                    <a:pt x="21271" y="9406"/>
                    <a:pt x="20864" y="9333"/>
                  </a:cubicBezTo>
                  <a:lnTo>
                    <a:pt x="13854" y="8419"/>
                  </a:lnTo>
                  <a:lnTo>
                    <a:pt x="14768" y="1384"/>
                  </a:lnTo>
                  <a:cubicBezTo>
                    <a:pt x="14838" y="951"/>
                    <a:pt x="14552" y="589"/>
                    <a:pt x="14118" y="518"/>
                  </a:cubicBezTo>
                  <a:lnTo>
                    <a:pt x="10159" y="12"/>
                  </a:lnTo>
                  <a:cubicBezTo>
                    <a:pt x="10117" y="4"/>
                    <a:pt x="10075" y="0"/>
                    <a:pt x="1003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17" name="Google Shape;450;p2"/>
            <p:cNvSpPr/>
            <p:nvPr/>
          </p:nvSpPr>
          <p:spPr>
            <a:xfrm>
              <a:off x="0" y="2093"/>
              <a:ext cx="934073" cy="11767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1" h="21600" extrusionOk="0">
                  <a:moveTo>
                    <a:pt x="8128" y="658"/>
                  </a:moveTo>
                  <a:cubicBezTo>
                    <a:pt x="8703" y="658"/>
                    <a:pt x="9267" y="934"/>
                    <a:pt x="9369" y="1553"/>
                  </a:cubicBezTo>
                  <a:cubicBezTo>
                    <a:pt x="9440" y="1877"/>
                    <a:pt x="9321" y="2183"/>
                    <a:pt x="9084" y="2429"/>
                  </a:cubicBezTo>
                  <a:lnTo>
                    <a:pt x="7496" y="2658"/>
                  </a:lnTo>
                  <a:cubicBezTo>
                    <a:pt x="7164" y="2506"/>
                    <a:pt x="6927" y="2239"/>
                    <a:pt x="6831" y="1935"/>
                  </a:cubicBezTo>
                  <a:cubicBezTo>
                    <a:pt x="6602" y="1134"/>
                    <a:pt x="7375" y="658"/>
                    <a:pt x="8128" y="658"/>
                  </a:cubicBezTo>
                  <a:close/>
                  <a:moveTo>
                    <a:pt x="15502" y="4364"/>
                  </a:moveTo>
                  <a:cubicBezTo>
                    <a:pt x="16024" y="4364"/>
                    <a:pt x="16492" y="4654"/>
                    <a:pt x="16578" y="5099"/>
                  </a:cubicBezTo>
                  <a:lnTo>
                    <a:pt x="19352" y="17207"/>
                  </a:lnTo>
                  <a:cubicBezTo>
                    <a:pt x="19446" y="17683"/>
                    <a:pt x="19043" y="18141"/>
                    <a:pt x="18450" y="18218"/>
                  </a:cubicBezTo>
                  <a:lnTo>
                    <a:pt x="5979" y="20048"/>
                  </a:lnTo>
                  <a:cubicBezTo>
                    <a:pt x="5907" y="20059"/>
                    <a:pt x="5838" y="20064"/>
                    <a:pt x="5770" y="20064"/>
                  </a:cubicBezTo>
                  <a:cubicBezTo>
                    <a:pt x="5258" y="20064"/>
                    <a:pt x="4802" y="19763"/>
                    <a:pt x="4698" y="19342"/>
                  </a:cubicBezTo>
                  <a:lnTo>
                    <a:pt x="1994" y="7235"/>
                  </a:lnTo>
                  <a:cubicBezTo>
                    <a:pt x="1876" y="6739"/>
                    <a:pt x="2279" y="6300"/>
                    <a:pt x="2872" y="6206"/>
                  </a:cubicBezTo>
                  <a:lnTo>
                    <a:pt x="4366" y="5996"/>
                  </a:lnTo>
                  <a:cubicBezTo>
                    <a:pt x="4428" y="6330"/>
                    <a:pt x="4784" y="6563"/>
                    <a:pt x="5190" y="6563"/>
                  </a:cubicBezTo>
                  <a:cubicBezTo>
                    <a:pt x="5246" y="6563"/>
                    <a:pt x="5304" y="6558"/>
                    <a:pt x="5362" y="6548"/>
                  </a:cubicBezTo>
                  <a:lnTo>
                    <a:pt x="13162" y="5405"/>
                  </a:lnTo>
                  <a:cubicBezTo>
                    <a:pt x="13612" y="5328"/>
                    <a:pt x="13921" y="4966"/>
                    <a:pt x="13849" y="4604"/>
                  </a:cubicBezTo>
                  <a:lnTo>
                    <a:pt x="15321" y="4375"/>
                  </a:lnTo>
                  <a:cubicBezTo>
                    <a:pt x="15381" y="4367"/>
                    <a:pt x="15443" y="4364"/>
                    <a:pt x="15502" y="4364"/>
                  </a:cubicBezTo>
                  <a:close/>
                  <a:moveTo>
                    <a:pt x="8100" y="0"/>
                  </a:moveTo>
                  <a:cubicBezTo>
                    <a:pt x="7970" y="0"/>
                    <a:pt x="7841" y="8"/>
                    <a:pt x="7710" y="27"/>
                  </a:cubicBezTo>
                  <a:cubicBezTo>
                    <a:pt x="6547" y="199"/>
                    <a:pt x="5764" y="1115"/>
                    <a:pt x="5979" y="2048"/>
                  </a:cubicBezTo>
                  <a:cubicBezTo>
                    <a:pt x="6049" y="2335"/>
                    <a:pt x="6192" y="2583"/>
                    <a:pt x="6405" y="2810"/>
                  </a:cubicBezTo>
                  <a:lnTo>
                    <a:pt x="4864" y="3059"/>
                  </a:lnTo>
                  <a:cubicBezTo>
                    <a:pt x="4224" y="3155"/>
                    <a:pt x="3820" y="3630"/>
                    <a:pt x="3916" y="4146"/>
                  </a:cubicBezTo>
                  <a:lnTo>
                    <a:pt x="4033" y="4604"/>
                  </a:lnTo>
                  <a:lnTo>
                    <a:pt x="1448" y="4966"/>
                  </a:lnTo>
                  <a:cubicBezTo>
                    <a:pt x="500" y="5099"/>
                    <a:pt x="-139" y="5844"/>
                    <a:pt x="26" y="6625"/>
                  </a:cubicBezTo>
                  <a:lnTo>
                    <a:pt x="3181" y="20449"/>
                  </a:lnTo>
                  <a:cubicBezTo>
                    <a:pt x="3348" y="21120"/>
                    <a:pt x="4085" y="21600"/>
                    <a:pt x="4908" y="21600"/>
                  </a:cubicBezTo>
                  <a:cubicBezTo>
                    <a:pt x="5019" y="21600"/>
                    <a:pt x="5131" y="21592"/>
                    <a:pt x="5242" y="21573"/>
                  </a:cubicBezTo>
                  <a:lnTo>
                    <a:pt x="19874" y="19438"/>
                  </a:lnTo>
                  <a:cubicBezTo>
                    <a:pt x="20822" y="19284"/>
                    <a:pt x="21461" y="18541"/>
                    <a:pt x="21296" y="17760"/>
                  </a:cubicBezTo>
                  <a:lnTo>
                    <a:pt x="18141" y="3975"/>
                  </a:lnTo>
                  <a:cubicBezTo>
                    <a:pt x="17972" y="3275"/>
                    <a:pt x="17215" y="2790"/>
                    <a:pt x="16363" y="2790"/>
                  </a:cubicBezTo>
                  <a:cubicBezTo>
                    <a:pt x="16261" y="2790"/>
                    <a:pt x="16160" y="2798"/>
                    <a:pt x="16056" y="2810"/>
                  </a:cubicBezTo>
                  <a:lnTo>
                    <a:pt x="13519" y="3193"/>
                  </a:lnTo>
                  <a:lnTo>
                    <a:pt x="13423" y="2754"/>
                  </a:lnTo>
                  <a:cubicBezTo>
                    <a:pt x="13318" y="2296"/>
                    <a:pt x="12822" y="1976"/>
                    <a:pt x="12280" y="1976"/>
                  </a:cubicBezTo>
                  <a:cubicBezTo>
                    <a:pt x="12210" y="1976"/>
                    <a:pt x="12141" y="1981"/>
                    <a:pt x="12071" y="1992"/>
                  </a:cubicBezTo>
                  <a:lnTo>
                    <a:pt x="10175" y="2258"/>
                  </a:lnTo>
                  <a:cubicBezTo>
                    <a:pt x="10271" y="1992"/>
                    <a:pt x="10295" y="1706"/>
                    <a:pt x="10247" y="1438"/>
                  </a:cubicBezTo>
                  <a:cubicBezTo>
                    <a:pt x="10036" y="591"/>
                    <a:pt x="9132" y="0"/>
                    <a:pt x="810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18" name="Google Shape;451;p2"/>
            <p:cNvSpPr/>
            <p:nvPr/>
          </p:nvSpPr>
          <p:spPr>
            <a:xfrm>
              <a:off x="182358" y="425151"/>
              <a:ext cx="134866" cy="1348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2" h="21600" extrusionOk="0">
                  <a:moveTo>
                    <a:pt x="9087" y="0"/>
                  </a:moveTo>
                  <a:cubicBezTo>
                    <a:pt x="8530" y="0"/>
                    <a:pt x="7973" y="56"/>
                    <a:pt x="7404" y="196"/>
                  </a:cubicBezTo>
                  <a:cubicBezTo>
                    <a:pt x="-477" y="1858"/>
                    <a:pt x="-2682" y="14167"/>
                    <a:pt x="3806" y="19658"/>
                  </a:cubicBezTo>
                  <a:cubicBezTo>
                    <a:pt x="5431" y="20999"/>
                    <a:pt x="7184" y="21600"/>
                    <a:pt x="8878" y="21600"/>
                  </a:cubicBezTo>
                  <a:cubicBezTo>
                    <a:pt x="14148" y="21600"/>
                    <a:pt x="18918" y="15886"/>
                    <a:pt x="17769" y="8844"/>
                  </a:cubicBezTo>
                  <a:cubicBezTo>
                    <a:pt x="16910" y="3702"/>
                    <a:pt x="13254" y="0"/>
                    <a:pt x="908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19" name="Google Shape;452;p2"/>
            <p:cNvSpPr/>
            <p:nvPr/>
          </p:nvSpPr>
          <p:spPr>
            <a:xfrm>
              <a:off x="362494" y="385803"/>
              <a:ext cx="304203" cy="1180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77" h="21600" extrusionOk="0">
                  <a:moveTo>
                    <a:pt x="17284" y="0"/>
                  </a:moveTo>
                  <a:cubicBezTo>
                    <a:pt x="17087" y="0"/>
                    <a:pt x="16874" y="64"/>
                    <a:pt x="16655" y="208"/>
                  </a:cubicBezTo>
                  <a:lnTo>
                    <a:pt x="16588" y="208"/>
                  </a:lnTo>
                  <a:lnTo>
                    <a:pt x="2017" y="7807"/>
                  </a:lnTo>
                  <a:cubicBezTo>
                    <a:pt x="-1026" y="9243"/>
                    <a:pt x="-403" y="21600"/>
                    <a:pt x="2399" y="21600"/>
                  </a:cubicBezTo>
                  <a:cubicBezTo>
                    <a:pt x="2556" y="21600"/>
                    <a:pt x="2713" y="21568"/>
                    <a:pt x="2882" y="21488"/>
                  </a:cubicBezTo>
                  <a:lnTo>
                    <a:pt x="17458" y="13889"/>
                  </a:lnTo>
                  <a:cubicBezTo>
                    <a:pt x="20574" y="12644"/>
                    <a:pt x="20029" y="0"/>
                    <a:pt x="1728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20" name="Google Shape;453;p2"/>
            <p:cNvSpPr/>
            <p:nvPr/>
          </p:nvSpPr>
          <p:spPr>
            <a:xfrm>
              <a:off x="216608" y="613429"/>
              <a:ext cx="134887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4" h="21600" extrusionOk="0">
                  <a:moveTo>
                    <a:pt x="8941" y="0"/>
                  </a:moveTo>
                  <a:cubicBezTo>
                    <a:pt x="8430" y="0"/>
                    <a:pt x="7919" y="42"/>
                    <a:pt x="7409" y="154"/>
                  </a:cubicBezTo>
                  <a:cubicBezTo>
                    <a:pt x="-472" y="1819"/>
                    <a:pt x="-2689" y="14144"/>
                    <a:pt x="3811" y="19641"/>
                  </a:cubicBezTo>
                  <a:cubicBezTo>
                    <a:pt x="5447" y="20998"/>
                    <a:pt x="7223" y="21600"/>
                    <a:pt x="8941" y="21600"/>
                  </a:cubicBezTo>
                  <a:cubicBezTo>
                    <a:pt x="14175" y="21600"/>
                    <a:pt x="18911" y="15962"/>
                    <a:pt x="17774" y="8813"/>
                  </a:cubicBezTo>
                  <a:cubicBezTo>
                    <a:pt x="17031" y="3609"/>
                    <a:pt x="13201" y="0"/>
                    <a:pt x="894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21" name="Google Shape;454;p2"/>
            <p:cNvSpPr/>
            <p:nvPr/>
          </p:nvSpPr>
          <p:spPr>
            <a:xfrm>
              <a:off x="400245" y="573732"/>
              <a:ext cx="295964" cy="117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34" h="21600" extrusionOk="0">
                  <a:moveTo>
                    <a:pt x="16991" y="0"/>
                  </a:moveTo>
                  <a:cubicBezTo>
                    <a:pt x="16921" y="0"/>
                    <a:pt x="16852" y="16"/>
                    <a:pt x="16783" y="32"/>
                  </a:cubicBezTo>
                  <a:lnTo>
                    <a:pt x="1840" y="7659"/>
                  </a:lnTo>
                  <a:cubicBezTo>
                    <a:pt x="-1045" y="9903"/>
                    <a:pt x="-325" y="21600"/>
                    <a:pt x="2525" y="21600"/>
                  </a:cubicBezTo>
                  <a:cubicBezTo>
                    <a:pt x="2594" y="21600"/>
                    <a:pt x="2658" y="21600"/>
                    <a:pt x="2727" y="21584"/>
                  </a:cubicBezTo>
                  <a:lnTo>
                    <a:pt x="17676" y="13957"/>
                  </a:lnTo>
                  <a:cubicBezTo>
                    <a:pt x="20555" y="11713"/>
                    <a:pt x="19904" y="0"/>
                    <a:pt x="1699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22" name="Google Shape;455;p2"/>
            <p:cNvSpPr/>
            <p:nvPr/>
          </p:nvSpPr>
          <p:spPr>
            <a:xfrm>
              <a:off x="253276" y="813921"/>
              <a:ext cx="135364" cy="1356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79" h="21600" extrusionOk="0">
                  <a:moveTo>
                    <a:pt x="9017" y="0"/>
                  </a:moveTo>
                  <a:cubicBezTo>
                    <a:pt x="8518" y="0"/>
                    <a:pt x="8008" y="42"/>
                    <a:pt x="7487" y="153"/>
                  </a:cubicBezTo>
                  <a:cubicBezTo>
                    <a:pt x="-509" y="1806"/>
                    <a:pt x="-2722" y="14043"/>
                    <a:pt x="3906" y="19669"/>
                  </a:cubicBezTo>
                  <a:cubicBezTo>
                    <a:pt x="5482" y="21003"/>
                    <a:pt x="7209" y="21600"/>
                    <a:pt x="8889" y="21600"/>
                  </a:cubicBezTo>
                  <a:cubicBezTo>
                    <a:pt x="14092" y="21600"/>
                    <a:pt x="18878" y="15919"/>
                    <a:pt x="17835" y="8918"/>
                  </a:cubicBezTo>
                  <a:cubicBezTo>
                    <a:pt x="16978" y="3598"/>
                    <a:pt x="13246" y="0"/>
                    <a:pt x="901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23" name="Google Shape;456;p2"/>
            <p:cNvSpPr/>
            <p:nvPr/>
          </p:nvSpPr>
          <p:spPr>
            <a:xfrm>
              <a:off x="435144" y="774050"/>
              <a:ext cx="299576" cy="1190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38" h="21600" extrusionOk="0">
                  <a:moveTo>
                    <a:pt x="17011" y="0"/>
                  </a:moveTo>
                  <a:cubicBezTo>
                    <a:pt x="16903" y="0"/>
                    <a:pt x="16794" y="16"/>
                    <a:pt x="16681" y="63"/>
                  </a:cubicBezTo>
                  <a:lnTo>
                    <a:pt x="1909" y="7601"/>
                  </a:lnTo>
                  <a:cubicBezTo>
                    <a:pt x="-1033" y="9596"/>
                    <a:pt x="-379" y="21600"/>
                    <a:pt x="2529" y="21600"/>
                  </a:cubicBezTo>
                  <a:cubicBezTo>
                    <a:pt x="2637" y="21600"/>
                    <a:pt x="2745" y="21584"/>
                    <a:pt x="2859" y="21552"/>
                  </a:cubicBezTo>
                  <a:lnTo>
                    <a:pt x="17631" y="14015"/>
                  </a:lnTo>
                  <a:cubicBezTo>
                    <a:pt x="20567" y="12004"/>
                    <a:pt x="19918" y="0"/>
                    <a:pt x="1701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24" name="Google Shape;457;p2"/>
            <p:cNvSpPr/>
            <p:nvPr/>
          </p:nvSpPr>
          <p:spPr>
            <a:xfrm>
              <a:off x="115525" y="1649742"/>
              <a:ext cx="602219" cy="6069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06" h="21600" extrusionOk="0">
                  <a:moveTo>
                    <a:pt x="9707" y="0"/>
                  </a:moveTo>
                  <a:cubicBezTo>
                    <a:pt x="6850" y="0"/>
                    <a:pt x="4037" y="1441"/>
                    <a:pt x="2184" y="4151"/>
                  </a:cubicBezTo>
                  <a:lnTo>
                    <a:pt x="18149" y="15425"/>
                  </a:lnTo>
                  <a:cubicBezTo>
                    <a:pt x="20403" y="10547"/>
                    <a:pt x="18945" y="4558"/>
                    <a:pt x="14771" y="1636"/>
                  </a:cubicBezTo>
                  <a:cubicBezTo>
                    <a:pt x="13205" y="534"/>
                    <a:pt x="11449" y="0"/>
                    <a:pt x="9707" y="0"/>
                  </a:cubicBezTo>
                  <a:close/>
                  <a:moveTo>
                    <a:pt x="1057" y="6185"/>
                  </a:moveTo>
                  <a:cubicBezTo>
                    <a:pt x="-1197" y="11028"/>
                    <a:pt x="261" y="17014"/>
                    <a:pt x="4401" y="19973"/>
                  </a:cubicBezTo>
                  <a:cubicBezTo>
                    <a:pt x="5959" y="21072"/>
                    <a:pt x="7710" y="21600"/>
                    <a:pt x="9443" y="21600"/>
                  </a:cubicBezTo>
                  <a:cubicBezTo>
                    <a:pt x="12323" y="21600"/>
                    <a:pt x="15164" y="20144"/>
                    <a:pt x="17025" y="17421"/>
                  </a:cubicBezTo>
                  <a:lnTo>
                    <a:pt x="1057" y="6185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25" name="Google Shape;458;p2"/>
            <p:cNvSpPr/>
            <p:nvPr/>
          </p:nvSpPr>
          <p:spPr>
            <a:xfrm>
              <a:off x="1371680" y="346368"/>
              <a:ext cx="505521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77" y="0"/>
                  </a:moveTo>
                  <a:lnTo>
                    <a:pt x="3281" y="6246"/>
                  </a:lnTo>
                  <a:cubicBezTo>
                    <a:pt x="-141" y="8755"/>
                    <a:pt x="-1029" y="13772"/>
                    <a:pt x="1296" y="17464"/>
                  </a:cubicBezTo>
                  <a:lnTo>
                    <a:pt x="1676" y="18057"/>
                  </a:lnTo>
                  <a:cubicBezTo>
                    <a:pt x="3125" y="20359"/>
                    <a:pt x="5475" y="21600"/>
                    <a:pt x="7872" y="21600"/>
                  </a:cubicBezTo>
                  <a:cubicBezTo>
                    <a:pt x="9320" y="21600"/>
                    <a:pt x="10783" y="21144"/>
                    <a:pt x="12075" y="20202"/>
                  </a:cubicBezTo>
                  <a:lnTo>
                    <a:pt x="20571" y="13956"/>
                  </a:lnTo>
                  <a:lnTo>
                    <a:pt x="11777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26" name="Google Shape;459;p2"/>
            <p:cNvSpPr/>
            <p:nvPr/>
          </p:nvSpPr>
          <p:spPr>
            <a:xfrm>
              <a:off x="1704714" y="143171"/>
              <a:ext cx="505541" cy="4909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2" h="21600" extrusionOk="0">
                  <a:moveTo>
                    <a:pt x="12699" y="0"/>
                  </a:moveTo>
                  <a:cubicBezTo>
                    <a:pt x="11251" y="0"/>
                    <a:pt x="9788" y="453"/>
                    <a:pt x="8499" y="1401"/>
                  </a:cubicBezTo>
                  <a:lnTo>
                    <a:pt x="0" y="7616"/>
                  </a:lnTo>
                  <a:lnTo>
                    <a:pt x="8837" y="21600"/>
                  </a:lnTo>
                  <a:lnTo>
                    <a:pt x="17290" y="15385"/>
                  </a:lnTo>
                  <a:cubicBezTo>
                    <a:pt x="20712" y="12871"/>
                    <a:pt x="21600" y="7842"/>
                    <a:pt x="19278" y="4142"/>
                  </a:cubicBezTo>
                  <a:lnTo>
                    <a:pt x="18895" y="3547"/>
                  </a:lnTo>
                  <a:cubicBezTo>
                    <a:pt x="17446" y="1240"/>
                    <a:pt x="15096" y="0"/>
                    <a:pt x="1269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27" name="Google Shape;460;p2"/>
            <p:cNvSpPr/>
            <p:nvPr/>
          </p:nvSpPr>
          <p:spPr>
            <a:xfrm>
              <a:off x="1193164" y="1362876"/>
              <a:ext cx="931690" cy="9303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79" h="21600" extrusionOk="0">
                  <a:moveTo>
                    <a:pt x="10017" y="0"/>
                  </a:moveTo>
                  <a:cubicBezTo>
                    <a:pt x="9659" y="0"/>
                    <a:pt x="9345" y="273"/>
                    <a:pt x="9303" y="662"/>
                  </a:cubicBezTo>
                  <a:lnTo>
                    <a:pt x="8370" y="7705"/>
                  </a:lnTo>
                  <a:lnTo>
                    <a:pt x="1376" y="6763"/>
                  </a:lnTo>
                  <a:cubicBezTo>
                    <a:pt x="1346" y="6759"/>
                    <a:pt x="1318" y="6759"/>
                    <a:pt x="1288" y="6759"/>
                  </a:cubicBezTo>
                  <a:cubicBezTo>
                    <a:pt x="916" y="6759"/>
                    <a:pt x="582" y="7035"/>
                    <a:pt x="537" y="7415"/>
                  </a:cubicBezTo>
                  <a:lnTo>
                    <a:pt x="10" y="11418"/>
                  </a:lnTo>
                  <a:cubicBezTo>
                    <a:pt x="-60" y="11827"/>
                    <a:pt x="228" y="12214"/>
                    <a:pt x="658" y="12262"/>
                  </a:cubicBezTo>
                  <a:lnTo>
                    <a:pt x="658" y="12238"/>
                  </a:lnTo>
                  <a:lnTo>
                    <a:pt x="7652" y="13178"/>
                  </a:lnTo>
                  <a:lnTo>
                    <a:pt x="6716" y="20221"/>
                  </a:lnTo>
                  <a:cubicBezTo>
                    <a:pt x="6668" y="20630"/>
                    <a:pt x="6956" y="21017"/>
                    <a:pt x="7364" y="21065"/>
                  </a:cubicBezTo>
                  <a:lnTo>
                    <a:pt x="11338" y="21596"/>
                  </a:lnTo>
                  <a:cubicBezTo>
                    <a:pt x="11369" y="21598"/>
                    <a:pt x="11399" y="21600"/>
                    <a:pt x="11427" y="21600"/>
                  </a:cubicBezTo>
                  <a:cubicBezTo>
                    <a:pt x="11801" y="21600"/>
                    <a:pt x="12133" y="21325"/>
                    <a:pt x="12177" y="20944"/>
                  </a:cubicBezTo>
                  <a:lnTo>
                    <a:pt x="13110" y="13901"/>
                  </a:lnTo>
                  <a:lnTo>
                    <a:pt x="20104" y="14843"/>
                  </a:lnTo>
                  <a:cubicBezTo>
                    <a:pt x="20134" y="14847"/>
                    <a:pt x="20162" y="14847"/>
                    <a:pt x="20192" y="14847"/>
                  </a:cubicBezTo>
                  <a:cubicBezTo>
                    <a:pt x="20564" y="14847"/>
                    <a:pt x="20898" y="14571"/>
                    <a:pt x="20965" y="14191"/>
                  </a:cubicBezTo>
                  <a:lnTo>
                    <a:pt x="21468" y="10188"/>
                  </a:lnTo>
                  <a:cubicBezTo>
                    <a:pt x="21540" y="9777"/>
                    <a:pt x="21252" y="9392"/>
                    <a:pt x="20822" y="9344"/>
                  </a:cubicBezTo>
                  <a:lnTo>
                    <a:pt x="13828" y="8404"/>
                  </a:lnTo>
                  <a:lnTo>
                    <a:pt x="14764" y="1361"/>
                  </a:lnTo>
                  <a:cubicBezTo>
                    <a:pt x="14812" y="952"/>
                    <a:pt x="14524" y="565"/>
                    <a:pt x="14116" y="517"/>
                  </a:cubicBezTo>
                  <a:lnTo>
                    <a:pt x="10142" y="10"/>
                  </a:lnTo>
                  <a:cubicBezTo>
                    <a:pt x="10099" y="4"/>
                    <a:pt x="10057" y="0"/>
                    <a:pt x="1001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28" name="Google Shape;461;p2"/>
            <p:cNvSpPr/>
            <p:nvPr/>
          </p:nvSpPr>
          <p:spPr>
            <a:xfrm>
              <a:off x="0" y="2773476"/>
              <a:ext cx="934073" cy="11775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1" h="21600" extrusionOk="0">
                  <a:moveTo>
                    <a:pt x="8120" y="663"/>
                  </a:moveTo>
                  <a:cubicBezTo>
                    <a:pt x="8697" y="663"/>
                    <a:pt x="9265" y="943"/>
                    <a:pt x="9369" y="1572"/>
                  </a:cubicBezTo>
                  <a:cubicBezTo>
                    <a:pt x="9440" y="1877"/>
                    <a:pt x="9345" y="2200"/>
                    <a:pt x="9084" y="2429"/>
                  </a:cubicBezTo>
                  <a:lnTo>
                    <a:pt x="7496" y="2677"/>
                  </a:lnTo>
                  <a:cubicBezTo>
                    <a:pt x="7164" y="2525"/>
                    <a:pt x="6927" y="2258"/>
                    <a:pt x="6831" y="1935"/>
                  </a:cubicBezTo>
                  <a:cubicBezTo>
                    <a:pt x="6604" y="1136"/>
                    <a:pt x="7369" y="663"/>
                    <a:pt x="8120" y="663"/>
                  </a:cubicBezTo>
                  <a:close/>
                  <a:moveTo>
                    <a:pt x="15528" y="4375"/>
                  </a:moveTo>
                  <a:cubicBezTo>
                    <a:pt x="16042" y="4375"/>
                    <a:pt x="16496" y="4678"/>
                    <a:pt x="16602" y="5097"/>
                  </a:cubicBezTo>
                  <a:lnTo>
                    <a:pt x="19352" y="17197"/>
                  </a:lnTo>
                  <a:cubicBezTo>
                    <a:pt x="19446" y="17673"/>
                    <a:pt x="19043" y="18130"/>
                    <a:pt x="18450" y="18207"/>
                  </a:cubicBezTo>
                  <a:lnTo>
                    <a:pt x="5979" y="20036"/>
                  </a:lnTo>
                  <a:cubicBezTo>
                    <a:pt x="5907" y="20048"/>
                    <a:pt x="5838" y="20052"/>
                    <a:pt x="5770" y="20052"/>
                  </a:cubicBezTo>
                  <a:cubicBezTo>
                    <a:pt x="5258" y="20052"/>
                    <a:pt x="4802" y="19752"/>
                    <a:pt x="4698" y="19331"/>
                  </a:cubicBezTo>
                  <a:lnTo>
                    <a:pt x="1994" y="7232"/>
                  </a:lnTo>
                  <a:cubicBezTo>
                    <a:pt x="1876" y="6755"/>
                    <a:pt x="2279" y="6297"/>
                    <a:pt x="2872" y="6222"/>
                  </a:cubicBezTo>
                  <a:lnTo>
                    <a:pt x="4366" y="5993"/>
                  </a:lnTo>
                  <a:cubicBezTo>
                    <a:pt x="4430" y="6337"/>
                    <a:pt x="4804" y="6573"/>
                    <a:pt x="5226" y="6573"/>
                  </a:cubicBezTo>
                  <a:cubicBezTo>
                    <a:pt x="5270" y="6573"/>
                    <a:pt x="5316" y="6569"/>
                    <a:pt x="5362" y="6565"/>
                  </a:cubicBezTo>
                  <a:lnTo>
                    <a:pt x="13162" y="5420"/>
                  </a:lnTo>
                  <a:cubicBezTo>
                    <a:pt x="13612" y="5345"/>
                    <a:pt x="13921" y="4984"/>
                    <a:pt x="13849" y="4620"/>
                  </a:cubicBezTo>
                  <a:lnTo>
                    <a:pt x="15321" y="4393"/>
                  </a:lnTo>
                  <a:cubicBezTo>
                    <a:pt x="15391" y="4380"/>
                    <a:pt x="15461" y="4375"/>
                    <a:pt x="15528" y="4375"/>
                  </a:cubicBezTo>
                  <a:close/>
                  <a:moveTo>
                    <a:pt x="8100" y="0"/>
                  </a:moveTo>
                  <a:cubicBezTo>
                    <a:pt x="7970" y="0"/>
                    <a:pt x="7841" y="10"/>
                    <a:pt x="7710" y="29"/>
                  </a:cubicBezTo>
                  <a:cubicBezTo>
                    <a:pt x="6547" y="200"/>
                    <a:pt x="5764" y="1115"/>
                    <a:pt x="5979" y="2068"/>
                  </a:cubicBezTo>
                  <a:cubicBezTo>
                    <a:pt x="6049" y="2335"/>
                    <a:pt x="6192" y="2601"/>
                    <a:pt x="6405" y="2829"/>
                  </a:cubicBezTo>
                  <a:lnTo>
                    <a:pt x="4864" y="3058"/>
                  </a:lnTo>
                  <a:cubicBezTo>
                    <a:pt x="4224" y="3154"/>
                    <a:pt x="3820" y="3649"/>
                    <a:pt x="3916" y="4164"/>
                  </a:cubicBezTo>
                  <a:lnTo>
                    <a:pt x="4033" y="4601"/>
                  </a:lnTo>
                  <a:lnTo>
                    <a:pt x="1448" y="4984"/>
                  </a:lnTo>
                  <a:cubicBezTo>
                    <a:pt x="500" y="5116"/>
                    <a:pt x="-139" y="5859"/>
                    <a:pt x="26" y="6640"/>
                  </a:cubicBezTo>
                  <a:lnTo>
                    <a:pt x="3181" y="20417"/>
                  </a:lnTo>
                  <a:cubicBezTo>
                    <a:pt x="3328" y="21115"/>
                    <a:pt x="4083" y="21600"/>
                    <a:pt x="4935" y="21600"/>
                  </a:cubicBezTo>
                  <a:cubicBezTo>
                    <a:pt x="5037" y="21600"/>
                    <a:pt x="5141" y="21594"/>
                    <a:pt x="5242" y="21579"/>
                  </a:cubicBezTo>
                  <a:lnTo>
                    <a:pt x="19874" y="19427"/>
                  </a:lnTo>
                  <a:cubicBezTo>
                    <a:pt x="20822" y="19292"/>
                    <a:pt x="21461" y="18531"/>
                    <a:pt x="21296" y="17769"/>
                  </a:cubicBezTo>
                  <a:lnTo>
                    <a:pt x="18141" y="3954"/>
                  </a:lnTo>
                  <a:cubicBezTo>
                    <a:pt x="17994" y="3255"/>
                    <a:pt x="17239" y="2770"/>
                    <a:pt x="16387" y="2770"/>
                  </a:cubicBezTo>
                  <a:cubicBezTo>
                    <a:pt x="16285" y="2770"/>
                    <a:pt x="16181" y="2778"/>
                    <a:pt x="16080" y="2791"/>
                  </a:cubicBezTo>
                  <a:lnTo>
                    <a:pt x="13519" y="3191"/>
                  </a:lnTo>
                  <a:lnTo>
                    <a:pt x="13423" y="2754"/>
                  </a:lnTo>
                  <a:cubicBezTo>
                    <a:pt x="13316" y="2290"/>
                    <a:pt x="12804" y="1980"/>
                    <a:pt x="12252" y="1980"/>
                  </a:cubicBezTo>
                  <a:cubicBezTo>
                    <a:pt x="12192" y="1980"/>
                    <a:pt x="12133" y="1984"/>
                    <a:pt x="12071" y="1991"/>
                  </a:cubicBezTo>
                  <a:lnTo>
                    <a:pt x="10175" y="2277"/>
                  </a:lnTo>
                  <a:cubicBezTo>
                    <a:pt x="10271" y="1991"/>
                    <a:pt x="10295" y="1706"/>
                    <a:pt x="10247" y="1439"/>
                  </a:cubicBezTo>
                  <a:cubicBezTo>
                    <a:pt x="10036" y="592"/>
                    <a:pt x="9132" y="0"/>
                    <a:pt x="810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29" name="Google Shape;462;p2"/>
            <p:cNvSpPr/>
            <p:nvPr/>
          </p:nvSpPr>
          <p:spPr>
            <a:xfrm>
              <a:off x="182358" y="3196883"/>
              <a:ext cx="134849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9" h="21600" extrusionOk="0">
                  <a:moveTo>
                    <a:pt x="8942" y="0"/>
                  </a:moveTo>
                  <a:cubicBezTo>
                    <a:pt x="8442" y="0"/>
                    <a:pt x="7920" y="42"/>
                    <a:pt x="7409" y="154"/>
                  </a:cubicBezTo>
                  <a:cubicBezTo>
                    <a:pt x="-477" y="1819"/>
                    <a:pt x="-2683" y="14144"/>
                    <a:pt x="3809" y="19641"/>
                  </a:cubicBezTo>
                  <a:cubicBezTo>
                    <a:pt x="5446" y="20998"/>
                    <a:pt x="7223" y="21600"/>
                    <a:pt x="8942" y="21600"/>
                  </a:cubicBezTo>
                  <a:cubicBezTo>
                    <a:pt x="14179" y="21600"/>
                    <a:pt x="18917" y="15962"/>
                    <a:pt x="17779" y="8813"/>
                  </a:cubicBezTo>
                  <a:cubicBezTo>
                    <a:pt x="17036" y="3609"/>
                    <a:pt x="13203" y="0"/>
                    <a:pt x="894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30" name="Google Shape;463;p2"/>
            <p:cNvSpPr/>
            <p:nvPr/>
          </p:nvSpPr>
          <p:spPr>
            <a:xfrm>
              <a:off x="361271" y="3156837"/>
              <a:ext cx="306620" cy="1190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75" h="21600" extrusionOk="0">
                  <a:moveTo>
                    <a:pt x="17312" y="0"/>
                  </a:moveTo>
                  <a:cubicBezTo>
                    <a:pt x="17090" y="0"/>
                    <a:pt x="16850" y="95"/>
                    <a:pt x="16600" y="269"/>
                  </a:cubicBezTo>
                  <a:lnTo>
                    <a:pt x="16533" y="269"/>
                  </a:lnTo>
                  <a:lnTo>
                    <a:pt x="2079" y="7823"/>
                  </a:lnTo>
                  <a:cubicBezTo>
                    <a:pt x="-1018" y="9042"/>
                    <a:pt x="-416" y="21600"/>
                    <a:pt x="2313" y="21600"/>
                  </a:cubicBezTo>
                  <a:cubicBezTo>
                    <a:pt x="2513" y="21600"/>
                    <a:pt x="2719" y="21537"/>
                    <a:pt x="2937" y="21394"/>
                  </a:cubicBezTo>
                  <a:lnTo>
                    <a:pt x="17396" y="13856"/>
                  </a:lnTo>
                  <a:cubicBezTo>
                    <a:pt x="20582" y="12811"/>
                    <a:pt x="20031" y="0"/>
                    <a:pt x="1731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31" name="Google Shape;464;p2"/>
            <p:cNvSpPr/>
            <p:nvPr/>
          </p:nvSpPr>
          <p:spPr>
            <a:xfrm>
              <a:off x="216608" y="3384899"/>
              <a:ext cx="134890" cy="1347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5" h="21600" extrusionOk="0">
                  <a:moveTo>
                    <a:pt x="8941" y="0"/>
                  </a:moveTo>
                  <a:cubicBezTo>
                    <a:pt x="8430" y="0"/>
                    <a:pt x="7919" y="42"/>
                    <a:pt x="7409" y="154"/>
                  </a:cubicBezTo>
                  <a:cubicBezTo>
                    <a:pt x="-472" y="1819"/>
                    <a:pt x="-2689" y="14144"/>
                    <a:pt x="3811" y="19641"/>
                  </a:cubicBezTo>
                  <a:cubicBezTo>
                    <a:pt x="5447" y="20998"/>
                    <a:pt x="7223" y="21600"/>
                    <a:pt x="8952" y="21600"/>
                  </a:cubicBezTo>
                  <a:cubicBezTo>
                    <a:pt x="14187" y="21600"/>
                    <a:pt x="18911" y="16004"/>
                    <a:pt x="17774" y="8981"/>
                  </a:cubicBezTo>
                  <a:cubicBezTo>
                    <a:pt x="17031" y="3623"/>
                    <a:pt x="13201" y="0"/>
                    <a:pt x="894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32" name="Google Shape;465;p2"/>
            <p:cNvSpPr/>
            <p:nvPr/>
          </p:nvSpPr>
          <p:spPr>
            <a:xfrm>
              <a:off x="400249" y="3345202"/>
              <a:ext cx="295960" cy="1176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5" h="21600" extrusionOk="0">
                  <a:moveTo>
                    <a:pt x="17009" y="0"/>
                  </a:moveTo>
                  <a:cubicBezTo>
                    <a:pt x="16940" y="0"/>
                    <a:pt x="16870" y="16"/>
                    <a:pt x="16801" y="32"/>
                  </a:cubicBezTo>
                  <a:lnTo>
                    <a:pt x="1842" y="7654"/>
                  </a:lnTo>
                  <a:cubicBezTo>
                    <a:pt x="-1023" y="10055"/>
                    <a:pt x="-337" y="21600"/>
                    <a:pt x="2465" y="21600"/>
                  </a:cubicBezTo>
                  <a:cubicBezTo>
                    <a:pt x="2551" y="21600"/>
                    <a:pt x="2643" y="21584"/>
                    <a:pt x="2730" y="21568"/>
                  </a:cubicBezTo>
                  <a:lnTo>
                    <a:pt x="17695" y="14138"/>
                  </a:lnTo>
                  <a:cubicBezTo>
                    <a:pt x="20577" y="11705"/>
                    <a:pt x="19926" y="0"/>
                    <a:pt x="1700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33" name="Google Shape;466;p2"/>
            <p:cNvSpPr/>
            <p:nvPr/>
          </p:nvSpPr>
          <p:spPr>
            <a:xfrm>
              <a:off x="253276" y="3586351"/>
              <a:ext cx="135371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0" h="21600" extrusionOk="0">
                  <a:moveTo>
                    <a:pt x="9028" y="0"/>
                  </a:moveTo>
                  <a:cubicBezTo>
                    <a:pt x="8518" y="0"/>
                    <a:pt x="8008" y="56"/>
                    <a:pt x="7487" y="168"/>
                  </a:cubicBezTo>
                  <a:cubicBezTo>
                    <a:pt x="-509" y="1831"/>
                    <a:pt x="-2722" y="14148"/>
                    <a:pt x="3906" y="19643"/>
                  </a:cubicBezTo>
                  <a:cubicBezTo>
                    <a:pt x="5505" y="20999"/>
                    <a:pt x="7244" y="21600"/>
                    <a:pt x="8947" y="21600"/>
                  </a:cubicBezTo>
                  <a:cubicBezTo>
                    <a:pt x="14127" y="21600"/>
                    <a:pt x="18878" y="15966"/>
                    <a:pt x="17835" y="8822"/>
                  </a:cubicBezTo>
                  <a:cubicBezTo>
                    <a:pt x="16978" y="3621"/>
                    <a:pt x="13246" y="0"/>
                    <a:pt x="902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34" name="Google Shape;467;p2"/>
            <p:cNvSpPr/>
            <p:nvPr/>
          </p:nvSpPr>
          <p:spPr>
            <a:xfrm>
              <a:off x="435924" y="3545607"/>
              <a:ext cx="298030" cy="1188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25" h="21600" extrusionOk="0">
                  <a:moveTo>
                    <a:pt x="16979" y="0"/>
                  </a:moveTo>
                  <a:cubicBezTo>
                    <a:pt x="16888" y="0"/>
                    <a:pt x="16796" y="16"/>
                    <a:pt x="16705" y="32"/>
                  </a:cubicBezTo>
                  <a:lnTo>
                    <a:pt x="16705" y="222"/>
                  </a:lnTo>
                  <a:lnTo>
                    <a:pt x="1867" y="7596"/>
                  </a:lnTo>
                  <a:cubicBezTo>
                    <a:pt x="-1037" y="9785"/>
                    <a:pt x="-357" y="21600"/>
                    <a:pt x="2553" y="21600"/>
                  </a:cubicBezTo>
                  <a:cubicBezTo>
                    <a:pt x="2638" y="21600"/>
                    <a:pt x="2730" y="21584"/>
                    <a:pt x="2821" y="21568"/>
                  </a:cubicBezTo>
                  <a:lnTo>
                    <a:pt x="17659" y="14004"/>
                  </a:lnTo>
                  <a:cubicBezTo>
                    <a:pt x="20563" y="11625"/>
                    <a:pt x="19877" y="0"/>
                    <a:pt x="1697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35" name="Google Shape;468;p2"/>
            <p:cNvSpPr/>
            <p:nvPr/>
          </p:nvSpPr>
          <p:spPr>
            <a:xfrm>
              <a:off x="116854" y="4421473"/>
              <a:ext cx="600890" cy="60592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53" h="21600" extrusionOk="0">
                  <a:moveTo>
                    <a:pt x="9744" y="0"/>
                  </a:moveTo>
                  <a:cubicBezTo>
                    <a:pt x="6862" y="0"/>
                    <a:pt x="4019" y="1459"/>
                    <a:pt x="2152" y="4186"/>
                  </a:cubicBezTo>
                  <a:lnTo>
                    <a:pt x="18192" y="15442"/>
                  </a:lnTo>
                  <a:cubicBezTo>
                    <a:pt x="20456" y="10556"/>
                    <a:pt x="18991" y="4556"/>
                    <a:pt x="14798" y="1630"/>
                  </a:cubicBezTo>
                  <a:cubicBezTo>
                    <a:pt x="13233" y="532"/>
                    <a:pt x="11480" y="0"/>
                    <a:pt x="9744" y="0"/>
                  </a:cubicBezTo>
                  <a:close/>
                  <a:moveTo>
                    <a:pt x="1020" y="6186"/>
                  </a:moveTo>
                  <a:cubicBezTo>
                    <a:pt x="-1144" y="11035"/>
                    <a:pt x="220" y="17034"/>
                    <a:pt x="4315" y="19961"/>
                  </a:cubicBezTo>
                  <a:cubicBezTo>
                    <a:pt x="5900" y="21068"/>
                    <a:pt x="7673" y="21600"/>
                    <a:pt x="9428" y="21600"/>
                  </a:cubicBezTo>
                  <a:cubicBezTo>
                    <a:pt x="12316" y="21600"/>
                    <a:pt x="15159" y="20160"/>
                    <a:pt x="17062" y="17442"/>
                  </a:cubicBezTo>
                  <a:lnTo>
                    <a:pt x="1020" y="6186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36" name="Google Shape;469;p2"/>
            <p:cNvSpPr/>
            <p:nvPr/>
          </p:nvSpPr>
          <p:spPr>
            <a:xfrm>
              <a:off x="1371680" y="3118885"/>
              <a:ext cx="505521" cy="4910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77" y="0"/>
                  </a:moveTo>
                  <a:lnTo>
                    <a:pt x="3281" y="6214"/>
                  </a:lnTo>
                  <a:cubicBezTo>
                    <a:pt x="-141" y="8728"/>
                    <a:pt x="-1029" y="13755"/>
                    <a:pt x="1296" y="17455"/>
                  </a:cubicBezTo>
                  <a:lnTo>
                    <a:pt x="1676" y="18050"/>
                  </a:lnTo>
                  <a:cubicBezTo>
                    <a:pt x="3125" y="20357"/>
                    <a:pt x="5475" y="21600"/>
                    <a:pt x="7872" y="21600"/>
                  </a:cubicBezTo>
                  <a:cubicBezTo>
                    <a:pt x="9320" y="21600"/>
                    <a:pt x="10783" y="21143"/>
                    <a:pt x="12075" y="20199"/>
                  </a:cubicBezTo>
                  <a:lnTo>
                    <a:pt x="20571" y="13982"/>
                  </a:lnTo>
                  <a:lnTo>
                    <a:pt x="11777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37" name="Google Shape;470;p2"/>
            <p:cNvSpPr/>
            <p:nvPr/>
          </p:nvSpPr>
          <p:spPr>
            <a:xfrm>
              <a:off x="1704714" y="2915339"/>
              <a:ext cx="505541" cy="4912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2" h="21600" extrusionOk="0">
                  <a:moveTo>
                    <a:pt x="12738" y="0"/>
                  </a:moveTo>
                  <a:cubicBezTo>
                    <a:pt x="11279" y="0"/>
                    <a:pt x="9799" y="456"/>
                    <a:pt x="8499" y="1412"/>
                  </a:cubicBezTo>
                  <a:lnTo>
                    <a:pt x="0" y="7626"/>
                  </a:lnTo>
                  <a:lnTo>
                    <a:pt x="8837" y="21600"/>
                  </a:lnTo>
                  <a:lnTo>
                    <a:pt x="17290" y="15344"/>
                  </a:lnTo>
                  <a:cubicBezTo>
                    <a:pt x="20712" y="12831"/>
                    <a:pt x="21600" y="7806"/>
                    <a:pt x="19278" y="4108"/>
                  </a:cubicBezTo>
                  <a:lnTo>
                    <a:pt x="19278" y="4154"/>
                  </a:lnTo>
                  <a:lnTo>
                    <a:pt x="18895" y="3514"/>
                  </a:lnTo>
                  <a:cubicBezTo>
                    <a:pt x="17457" y="1220"/>
                    <a:pt x="15121" y="0"/>
                    <a:pt x="1273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38" name="Google Shape;471;p2"/>
            <p:cNvSpPr/>
            <p:nvPr/>
          </p:nvSpPr>
          <p:spPr>
            <a:xfrm>
              <a:off x="1193412" y="4134346"/>
              <a:ext cx="931442" cy="9306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7" h="21600" extrusionOk="0">
                  <a:moveTo>
                    <a:pt x="10021" y="0"/>
                  </a:moveTo>
                  <a:cubicBezTo>
                    <a:pt x="9665" y="0"/>
                    <a:pt x="9350" y="269"/>
                    <a:pt x="9308" y="638"/>
                  </a:cubicBezTo>
                  <a:lnTo>
                    <a:pt x="8374" y="7701"/>
                  </a:lnTo>
                  <a:lnTo>
                    <a:pt x="1373" y="6761"/>
                  </a:lnTo>
                  <a:cubicBezTo>
                    <a:pt x="1342" y="6757"/>
                    <a:pt x="1314" y="6755"/>
                    <a:pt x="1284" y="6755"/>
                  </a:cubicBezTo>
                  <a:cubicBezTo>
                    <a:pt x="913" y="6755"/>
                    <a:pt x="601" y="7033"/>
                    <a:pt x="533" y="7411"/>
                  </a:cubicBezTo>
                  <a:lnTo>
                    <a:pt x="5" y="11390"/>
                  </a:lnTo>
                  <a:cubicBezTo>
                    <a:pt x="-41" y="11799"/>
                    <a:pt x="247" y="12186"/>
                    <a:pt x="654" y="12235"/>
                  </a:cubicBezTo>
                  <a:lnTo>
                    <a:pt x="7655" y="13174"/>
                  </a:lnTo>
                  <a:lnTo>
                    <a:pt x="6719" y="20215"/>
                  </a:lnTo>
                  <a:cubicBezTo>
                    <a:pt x="6670" y="20624"/>
                    <a:pt x="6958" y="21011"/>
                    <a:pt x="7367" y="21057"/>
                  </a:cubicBezTo>
                  <a:lnTo>
                    <a:pt x="11346" y="21588"/>
                  </a:lnTo>
                  <a:cubicBezTo>
                    <a:pt x="11388" y="21596"/>
                    <a:pt x="11431" y="21600"/>
                    <a:pt x="11471" y="21600"/>
                  </a:cubicBezTo>
                  <a:cubicBezTo>
                    <a:pt x="11829" y="21600"/>
                    <a:pt x="12141" y="21327"/>
                    <a:pt x="12186" y="20938"/>
                  </a:cubicBezTo>
                  <a:lnTo>
                    <a:pt x="13120" y="13897"/>
                  </a:lnTo>
                  <a:lnTo>
                    <a:pt x="20121" y="14839"/>
                  </a:lnTo>
                  <a:cubicBezTo>
                    <a:pt x="20151" y="14841"/>
                    <a:pt x="20180" y="14843"/>
                    <a:pt x="20210" y="14843"/>
                  </a:cubicBezTo>
                  <a:cubicBezTo>
                    <a:pt x="20582" y="14843"/>
                    <a:pt x="20917" y="14567"/>
                    <a:pt x="20983" y="14187"/>
                  </a:cubicBezTo>
                  <a:lnTo>
                    <a:pt x="21487" y="10185"/>
                  </a:lnTo>
                  <a:cubicBezTo>
                    <a:pt x="21559" y="9774"/>
                    <a:pt x="21271" y="9390"/>
                    <a:pt x="20840" y="9341"/>
                  </a:cubicBezTo>
                  <a:lnTo>
                    <a:pt x="13839" y="8401"/>
                  </a:lnTo>
                  <a:lnTo>
                    <a:pt x="14751" y="1385"/>
                  </a:lnTo>
                  <a:cubicBezTo>
                    <a:pt x="14823" y="952"/>
                    <a:pt x="14536" y="589"/>
                    <a:pt x="14103" y="516"/>
                  </a:cubicBezTo>
                  <a:lnTo>
                    <a:pt x="10148" y="10"/>
                  </a:lnTo>
                  <a:cubicBezTo>
                    <a:pt x="10106" y="4"/>
                    <a:pt x="10063" y="0"/>
                    <a:pt x="1002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39" name="Google Shape;472;p2"/>
            <p:cNvSpPr/>
            <p:nvPr/>
          </p:nvSpPr>
          <p:spPr>
            <a:xfrm>
              <a:off x="0" y="5545993"/>
              <a:ext cx="934073" cy="11765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1" h="21600" extrusionOk="0">
                  <a:moveTo>
                    <a:pt x="8116" y="652"/>
                  </a:moveTo>
                  <a:cubicBezTo>
                    <a:pt x="8693" y="652"/>
                    <a:pt x="9265" y="931"/>
                    <a:pt x="9369" y="1554"/>
                  </a:cubicBezTo>
                  <a:cubicBezTo>
                    <a:pt x="9440" y="1860"/>
                    <a:pt x="9321" y="2183"/>
                    <a:pt x="9084" y="2412"/>
                  </a:cubicBezTo>
                  <a:lnTo>
                    <a:pt x="7496" y="2661"/>
                  </a:lnTo>
                  <a:cubicBezTo>
                    <a:pt x="7164" y="2508"/>
                    <a:pt x="6927" y="2241"/>
                    <a:pt x="6831" y="1935"/>
                  </a:cubicBezTo>
                  <a:lnTo>
                    <a:pt x="6831" y="1916"/>
                  </a:lnTo>
                  <a:cubicBezTo>
                    <a:pt x="6604" y="1120"/>
                    <a:pt x="7365" y="652"/>
                    <a:pt x="8116" y="652"/>
                  </a:cubicBezTo>
                  <a:close/>
                  <a:moveTo>
                    <a:pt x="15502" y="4346"/>
                  </a:moveTo>
                  <a:cubicBezTo>
                    <a:pt x="16026" y="4346"/>
                    <a:pt x="16492" y="4636"/>
                    <a:pt x="16578" y="5063"/>
                  </a:cubicBezTo>
                  <a:lnTo>
                    <a:pt x="19352" y="17192"/>
                  </a:lnTo>
                  <a:cubicBezTo>
                    <a:pt x="19446" y="17669"/>
                    <a:pt x="19043" y="18127"/>
                    <a:pt x="18450" y="18203"/>
                  </a:cubicBezTo>
                  <a:lnTo>
                    <a:pt x="5979" y="20033"/>
                  </a:lnTo>
                  <a:cubicBezTo>
                    <a:pt x="5907" y="20045"/>
                    <a:pt x="5838" y="20051"/>
                    <a:pt x="5770" y="20051"/>
                  </a:cubicBezTo>
                  <a:cubicBezTo>
                    <a:pt x="5258" y="20051"/>
                    <a:pt x="4802" y="19748"/>
                    <a:pt x="4698" y="19329"/>
                  </a:cubicBezTo>
                  <a:lnTo>
                    <a:pt x="1994" y="7218"/>
                  </a:lnTo>
                  <a:cubicBezTo>
                    <a:pt x="1876" y="6742"/>
                    <a:pt x="2279" y="6284"/>
                    <a:pt x="2872" y="6207"/>
                  </a:cubicBezTo>
                  <a:lnTo>
                    <a:pt x="4366" y="5978"/>
                  </a:lnTo>
                  <a:cubicBezTo>
                    <a:pt x="4430" y="6324"/>
                    <a:pt x="4804" y="6559"/>
                    <a:pt x="5226" y="6559"/>
                  </a:cubicBezTo>
                  <a:cubicBezTo>
                    <a:pt x="5270" y="6559"/>
                    <a:pt x="5316" y="6556"/>
                    <a:pt x="5362" y="6551"/>
                  </a:cubicBezTo>
                  <a:lnTo>
                    <a:pt x="13162" y="5406"/>
                  </a:lnTo>
                  <a:cubicBezTo>
                    <a:pt x="13612" y="5331"/>
                    <a:pt x="13921" y="4967"/>
                    <a:pt x="13849" y="4586"/>
                  </a:cubicBezTo>
                  <a:lnTo>
                    <a:pt x="15321" y="4357"/>
                  </a:lnTo>
                  <a:cubicBezTo>
                    <a:pt x="15381" y="4350"/>
                    <a:pt x="15443" y="4346"/>
                    <a:pt x="15502" y="4346"/>
                  </a:cubicBezTo>
                  <a:close/>
                  <a:moveTo>
                    <a:pt x="8108" y="0"/>
                  </a:moveTo>
                  <a:cubicBezTo>
                    <a:pt x="7976" y="0"/>
                    <a:pt x="7843" y="10"/>
                    <a:pt x="7710" y="29"/>
                  </a:cubicBezTo>
                  <a:cubicBezTo>
                    <a:pt x="6547" y="200"/>
                    <a:pt x="5764" y="1096"/>
                    <a:pt x="5979" y="2050"/>
                  </a:cubicBezTo>
                  <a:cubicBezTo>
                    <a:pt x="6049" y="2316"/>
                    <a:pt x="6192" y="2584"/>
                    <a:pt x="6405" y="2813"/>
                  </a:cubicBezTo>
                  <a:lnTo>
                    <a:pt x="4864" y="3042"/>
                  </a:lnTo>
                  <a:cubicBezTo>
                    <a:pt x="4224" y="3136"/>
                    <a:pt x="3820" y="3614"/>
                    <a:pt x="3916" y="4129"/>
                  </a:cubicBezTo>
                  <a:lnTo>
                    <a:pt x="4033" y="4586"/>
                  </a:lnTo>
                  <a:lnTo>
                    <a:pt x="1448" y="4949"/>
                  </a:lnTo>
                  <a:cubicBezTo>
                    <a:pt x="500" y="5102"/>
                    <a:pt x="-139" y="5845"/>
                    <a:pt x="26" y="6607"/>
                  </a:cubicBezTo>
                  <a:lnTo>
                    <a:pt x="3181" y="20434"/>
                  </a:lnTo>
                  <a:cubicBezTo>
                    <a:pt x="3328" y="21131"/>
                    <a:pt x="4077" y="21600"/>
                    <a:pt x="4927" y="21600"/>
                  </a:cubicBezTo>
                  <a:cubicBezTo>
                    <a:pt x="5031" y="21600"/>
                    <a:pt x="5137" y="21594"/>
                    <a:pt x="5242" y="21579"/>
                  </a:cubicBezTo>
                  <a:lnTo>
                    <a:pt x="19874" y="19423"/>
                  </a:lnTo>
                  <a:cubicBezTo>
                    <a:pt x="20822" y="19290"/>
                    <a:pt x="21461" y="18547"/>
                    <a:pt x="21296" y="17764"/>
                  </a:cubicBezTo>
                  <a:lnTo>
                    <a:pt x="18141" y="3937"/>
                  </a:lnTo>
                  <a:cubicBezTo>
                    <a:pt x="17996" y="3248"/>
                    <a:pt x="17259" y="2766"/>
                    <a:pt x="16422" y="2766"/>
                  </a:cubicBezTo>
                  <a:cubicBezTo>
                    <a:pt x="16309" y="2766"/>
                    <a:pt x="16193" y="2776"/>
                    <a:pt x="16080" y="2794"/>
                  </a:cubicBezTo>
                  <a:lnTo>
                    <a:pt x="13519" y="3175"/>
                  </a:lnTo>
                  <a:lnTo>
                    <a:pt x="13423" y="2736"/>
                  </a:lnTo>
                  <a:cubicBezTo>
                    <a:pt x="13316" y="2271"/>
                    <a:pt x="12804" y="1962"/>
                    <a:pt x="12252" y="1962"/>
                  </a:cubicBezTo>
                  <a:cubicBezTo>
                    <a:pt x="12192" y="1962"/>
                    <a:pt x="12133" y="1965"/>
                    <a:pt x="12071" y="1973"/>
                  </a:cubicBezTo>
                  <a:lnTo>
                    <a:pt x="10175" y="2260"/>
                  </a:lnTo>
                  <a:cubicBezTo>
                    <a:pt x="10271" y="1993"/>
                    <a:pt x="10295" y="1706"/>
                    <a:pt x="10247" y="1421"/>
                  </a:cubicBezTo>
                  <a:cubicBezTo>
                    <a:pt x="10036" y="575"/>
                    <a:pt x="9135" y="0"/>
                    <a:pt x="810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40" name="Google Shape;473;p2"/>
            <p:cNvSpPr/>
            <p:nvPr/>
          </p:nvSpPr>
          <p:spPr>
            <a:xfrm>
              <a:off x="182358" y="5969313"/>
              <a:ext cx="134849" cy="1347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9" h="21600" extrusionOk="0">
                  <a:moveTo>
                    <a:pt x="8942" y="0"/>
                  </a:moveTo>
                  <a:cubicBezTo>
                    <a:pt x="8431" y="0"/>
                    <a:pt x="7920" y="56"/>
                    <a:pt x="7409" y="168"/>
                  </a:cubicBezTo>
                  <a:cubicBezTo>
                    <a:pt x="-477" y="1831"/>
                    <a:pt x="-2683" y="14148"/>
                    <a:pt x="3809" y="19643"/>
                  </a:cubicBezTo>
                  <a:cubicBezTo>
                    <a:pt x="5446" y="20999"/>
                    <a:pt x="7223" y="21600"/>
                    <a:pt x="8942" y="21600"/>
                  </a:cubicBezTo>
                  <a:cubicBezTo>
                    <a:pt x="14179" y="21600"/>
                    <a:pt x="18917" y="15966"/>
                    <a:pt x="17779" y="8822"/>
                  </a:cubicBezTo>
                  <a:cubicBezTo>
                    <a:pt x="16908" y="3607"/>
                    <a:pt x="13180" y="0"/>
                    <a:pt x="894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41" name="Google Shape;474;p2"/>
            <p:cNvSpPr/>
            <p:nvPr/>
          </p:nvSpPr>
          <p:spPr>
            <a:xfrm>
              <a:off x="362490" y="5928830"/>
              <a:ext cx="304209" cy="1181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82" h="21600" extrusionOk="0">
                  <a:moveTo>
                    <a:pt x="17243" y="0"/>
                  </a:moveTo>
                  <a:cubicBezTo>
                    <a:pt x="17058" y="0"/>
                    <a:pt x="16861" y="64"/>
                    <a:pt x="16659" y="175"/>
                  </a:cubicBezTo>
                  <a:lnTo>
                    <a:pt x="16592" y="175"/>
                  </a:lnTo>
                  <a:lnTo>
                    <a:pt x="2018" y="7769"/>
                  </a:lnTo>
                  <a:cubicBezTo>
                    <a:pt x="-1004" y="9380"/>
                    <a:pt x="-414" y="21600"/>
                    <a:pt x="2343" y="21600"/>
                  </a:cubicBezTo>
                  <a:cubicBezTo>
                    <a:pt x="2517" y="21600"/>
                    <a:pt x="2697" y="21552"/>
                    <a:pt x="2882" y="21456"/>
                  </a:cubicBezTo>
                  <a:lnTo>
                    <a:pt x="17462" y="13847"/>
                  </a:lnTo>
                  <a:cubicBezTo>
                    <a:pt x="20596" y="12603"/>
                    <a:pt x="20029" y="0"/>
                    <a:pt x="17243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42" name="Google Shape;475;p2"/>
            <p:cNvSpPr/>
            <p:nvPr/>
          </p:nvSpPr>
          <p:spPr>
            <a:xfrm>
              <a:off x="216608" y="6157067"/>
              <a:ext cx="134887" cy="1350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4" h="21600" extrusionOk="0">
                  <a:moveTo>
                    <a:pt x="9092" y="0"/>
                  </a:moveTo>
                  <a:cubicBezTo>
                    <a:pt x="8535" y="0"/>
                    <a:pt x="7978" y="70"/>
                    <a:pt x="7409" y="209"/>
                  </a:cubicBezTo>
                  <a:cubicBezTo>
                    <a:pt x="-472" y="1702"/>
                    <a:pt x="-2689" y="14163"/>
                    <a:pt x="3811" y="19647"/>
                  </a:cubicBezTo>
                  <a:cubicBezTo>
                    <a:pt x="5447" y="21000"/>
                    <a:pt x="7223" y="21600"/>
                    <a:pt x="8941" y="21600"/>
                  </a:cubicBezTo>
                  <a:cubicBezTo>
                    <a:pt x="14175" y="21600"/>
                    <a:pt x="18911" y="15977"/>
                    <a:pt x="17774" y="8847"/>
                  </a:cubicBezTo>
                  <a:cubicBezTo>
                    <a:pt x="17042" y="3712"/>
                    <a:pt x="13293" y="0"/>
                    <a:pt x="909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43" name="Google Shape;476;p2"/>
            <p:cNvSpPr/>
            <p:nvPr/>
          </p:nvSpPr>
          <p:spPr>
            <a:xfrm>
              <a:off x="400249" y="6116671"/>
              <a:ext cx="295960" cy="117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5" h="21600" extrusionOk="0">
                  <a:moveTo>
                    <a:pt x="17009" y="0"/>
                  </a:moveTo>
                  <a:cubicBezTo>
                    <a:pt x="16940" y="0"/>
                    <a:pt x="16870" y="16"/>
                    <a:pt x="16801" y="16"/>
                  </a:cubicBezTo>
                  <a:lnTo>
                    <a:pt x="1842" y="7654"/>
                  </a:lnTo>
                  <a:cubicBezTo>
                    <a:pt x="-1023" y="10055"/>
                    <a:pt x="-337" y="21600"/>
                    <a:pt x="2465" y="21600"/>
                  </a:cubicBezTo>
                  <a:cubicBezTo>
                    <a:pt x="2551" y="21600"/>
                    <a:pt x="2643" y="21584"/>
                    <a:pt x="2730" y="21568"/>
                  </a:cubicBezTo>
                  <a:lnTo>
                    <a:pt x="17695" y="14122"/>
                  </a:lnTo>
                  <a:cubicBezTo>
                    <a:pt x="20577" y="11705"/>
                    <a:pt x="19926" y="0"/>
                    <a:pt x="1700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44" name="Google Shape;477;p2"/>
            <p:cNvSpPr/>
            <p:nvPr/>
          </p:nvSpPr>
          <p:spPr>
            <a:xfrm>
              <a:off x="253276" y="6357821"/>
              <a:ext cx="135371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0" h="21600" extrusionOk="0">
                  <a:moveTo>
                    <a:pt x="9028" y="0"/>
                  </a:moveTo>
                  <a:cubicBezTo>
                    <a:pt x="8518" y="0"/>
                    <a:pt x="8008" y="56"/>
                    <a:pt x="7487" y="154"/>
                  </a:cubicBezTo>
                  <a:cubicBezTo>
                    <a:pt x="-509" y="1831"/>
                    <a:pt x="-2722" y="14148"/>
                    <a:pt x="3906" y="19629"/>
                  </a:cubicBezTo>
                  <a:cubicBezTo>
                    <a:pt x="5505" y="20985"/>
                    <a:pt x="7244" y="21600"/>
                    <a:pt x="8947" y="21600"/>
                  </a:cubicBezTo>
                  <a:cubicBezTo>
                    <a:pt x="14127" y="21600"/>
                    <a:pt x="18878" y="15966"/>
                    <a:pt x="17835" y="8822"/>
                  </a:cubicBezTo>
                  <a:cubicBezTo>
                    <a:pt x="16978" y="3607"/>
                    <a:pt x="13246" y="0"/>
                    <a:pt x="902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45" name="Google Shape;478;p2"/>
            <p:cNvSpPr/>
            <p:nvPr/>
          </p:nvSpPr>
          <p:spPr>
            <a:xfrm>
              <a:off x="435172" y="6317949"/>
              <a:ext cx="299548" cy="1180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7" h="21600" extrusionOk="0">
                  <a:moveTo>
                    <a:pt x="17084" y="0"/>
                  </a:moveTo>
                  <a:cubicBezTo>
                    <a:pt x="16959" y="0"/>
                    <a:pt x="16828" y="16"/>
                    <a:pt x="16697" y="64"/>
                  </a:cubicBezTo>
                  <a:lnTo>
                    <a:pt x="1909" y="7471"/>
                  </a:lnTo>
                  <a:cubicBezTo>
                    <a:pt x="-1030" y="9675"/>
                    <a:pt x="-381" y="21600"/>
                    <a:pt x="2524" y="21600"/>
                  </a:cubicBezTo>
                  <a:cubicBezTo>
                    <a:pt x="2633" y="21600"/>
                    <a:pt x="2747" y="21584"/>
                    <a:pt x="2861" y="21552"/>
                  </a:cubicBezTo>
                  <a:lnTo>
                    <a:pt x="17648" y="13937"/>
                  </a:lnTo>
                  <a:cubicBezTo>
                    <a:pt x="20570" y="11941"/>
                    <a:pt x="19943" y="0"/>
                    <a:pt x="17084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46" name="Google Shape;479;p2"/>
            <p:cNvSpPr/>
            <p:nvPr/>
          </p:nvSpPr>
          <p:spPr>
            <a:xfrm>
              <a:off x="115525" y="7192681"/>
              <a:ext cx="602219" cy="607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06" h="21600" extrusionOk="0">
                  <a:moveTo>
                    <a:pt x="9718" y="0"/>
                  </a:moveTo>
                  <a:cubicBezTo>
                    <a:pt x="6855" y="0"/>
                    <a:pt x="4040" y="1449"/>
                    <a:pt x="2184" y="4187"/>
                  </a:cubicBezTo>
                  <a:lnTo>
                    <a:pt x="18149" y="15418"/>
                  </a:lnTo>
                  <a:cubicBezTo>
                    <a:pt x="20403" y="10577"/>
                    <a:pt x="18945" y="4556"/>
                    <a:pt x="14771" y="1636"/>
                  </a:cubicBezTo>
                  <a:cubicBezTo>
                    <a:pt x="13208" y="534"/>
                    <a:pt x="11455" y="0"/>
                    <a:pt x="9718" y="0"/>
                  </a:cubicBezTo>
                  <a:close/>
                  <a:moveTo>
                    <a:pt x="1057" y="6182"/>
                  </a:moveTo>
                  <a:cubicBezTo>
                    <a:pt x="-1197" y="11058"/>
                    <a:pt x="261" y="17044"/>
                    <a:pt x="4401" y="19964"/>
                  </a:cubicBezTo>
                  <a:cubicBezTo>
                    <a:pt x="5968" y="21066"/>
                    <a:pt x="7729" y="21600"/>
                    <a:pt x="9476" y="21600"/>
                  </a:cubicBezTo>
                  <a:cubicBezTo>
                    <a:pt x="12345" y="21600"/>
                    <a:pt x="15169" y="20160"/>
                    <a:pt x="17025" y="17451"/>
                  </a:cubicBezTo>
                  <a:lnTo>
                    <a:pt x="1057" y="6182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47" name="Google Shape;480;p2"/>
            <p:cNvSpPr/>
            <p:nvPr/>
          </p:nvSpPr>
          <p:spPr>
            <a:xfrm>
              <a:off x="1371680" y="5890355"/>
              <a:ext cx="505521" cy="4910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77" y="0"/>
                  </a:moveTo>
                  <a:lnTo>
                    <a:pt x="3281" y="6214"/>
                  </a:lnTo>
                  <a:cubicBezTo>
                    <a:pt x="-141" y="8728"/>
                    <a:pt x="-1029" y="13755"/>
                    <a:pt x="1296" y="17455"/>
                  </a:cubicBezTo>
                  <a:lnTo>
                    <a:pt x="1676" y="18096"/>
                  </a:lnTo>
                  <a:cubicBezTo>
                    <a:pt x="3121" y="20368"/>
                    <a:pt x="5468" y="21600"/>
                    <a:pt x="7861" y="21600"/>
                  </a:cubicBezTo>
                  <a:cubicBezTo>
                    <a:pt x="9313" y="21600"/>
                    <a:pt x="10779" y="21147"/>
                    <a:pt x="12075" y="20195"/>
                  </a:cubicBezTo>
                  <a:lnTo>
                    <a:pt x="20571" y="13982"/>
                  </a:lnTo>
                  <a:lnTo>
                    <a:pt x="11777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48" name="Google Shape;481;p2"/>
            <p:cNvSpPr/>
            <p:nvPr/>
          </p:nvSpPr>
          <p:spPr>
            <a:xfrm>
              <a:off x="1704714" y="5686023"/>
              <a:ext cx="505541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2" h="21600" extrusionOk="0">
                  <a:moveTo>
                    <a:pt x="12699" y="0"/>
                  </a:moveTo>
                  <a:cubicBezTo>
                    <a:pt x="11251" y="0"/>
                    <a:pt x="9788" y="456"/>
                    <a:pt x="8499" y="1398"/>
                  </a:cubicBezTo>
                  <a:lnTo>
                    <a:pt x="0" y="7644"/>
                  </a:lnTo>
                  <a:lnTo>
                    <a:pt x="8837" y="21600"/>
                  </a:lnTo>
                  <a:lnTo>
                    <a:pt x="17290" y="15354"/>
                  </a:lnTo>
                  <a:cubicBezTo>
                    <a:pt x="20712" y="12845"/>
                    <a:pt x="21600" y="7828"/>
                    <a:pt x="19278" y="4136"/>
                  </a:cubicBezTo>
                  <a:lnTo>
                    <a:pt x="18895" y="3543"/>
                  </a:lnTo>
                  <a:cubicBezTo>
                    <a:pt x="17446" y="1241"/>
                    <a:pt x="15096" y="0"/>
                    <a:pt x="1269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49" name="Google Shape;482;p2"/>
            <p:cNvSpPr/>
            <p:nvPr/>
          </p:nvSpPr>
          <p:spPr>
            <a:xfrm>
              <a:off x="1193412" y="6905031"/>
              <a:ext cx="931442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7" h="21600" extrusionOk="0">
                  <a:moveTo>
                    <a:pt x="10059" y="0"/>
                  </a:moveTo>
                  <a:cubicBezTo>
                    <a:pt x="9685" y="0"/>
                    <a:pt x="9352" y="275"/>
                    <a:pt x="9308" y="656"/>
                  </a:cubicBezTo>
                  <a:lnTo>
                    <a:pt x="8374" y="7688"/>
                  </a:lnTo>
                  <a:lnTo>
                    <a:pt x="1373" y="6774"/>
                  </a:lnTo>
                  <a:cubicBezTo>
                    <a:pt x="1330" y="6766"/>
                    <a:pt x="1288" y="6762"/>
                    <a:pt x="1248" y="6762"/>
                  </a:cubicBezTo>
                  <a:cubicBezTo>
                    <a:pt x="889" y="6762"/>
                    <a:pt x="577" y="7035"/>
                    <a:pt x="533" y="7423"/>
                  </a:cubicBezTo>
                  <a:lnTo>
                    <a:pt x="5" y="11399"/>
                  </a:lnTo>
                  <a:cubicBezTo>
                    <a:pt x="-41" y="11808"/>
                    <a:pt x="247" y="12194"/>
                    <a:pt x="654" y="12243"/>
                  </a:cubicBezTo>
                  <a:lnTo>
                    <a:pt x="654" y="12265"/>
                  </a:lnTo>
                  <a:lnTo>
                    <a:pt x="7655" y="13181"/>
                  </a:lnTo>
                  <a:lnTo>
                    <a:pt x="6719" y="20238"/>
                  </a:lnTo>
                  <a:cubicBezTo>
                    <a:pt x="6670" y="20649"/>
                    <a:pt x="6958" y="21009"/>
                    <a:pt x="7367" y="21082"/>
                  </a:cubicBezTo>
                  <a:lnTo>
                    <a:pt x="11346" y="21588"/>
                  </a:lnTo>
                  <a:cubicBezTo>
                    <a:pt x="11388" y="21596"/>
                    <a:pt x="11431" y="21600"/>
                    <a:pt x="11471" y="21600"/>
                  </a:cubicBezTo>
                  <a:cubicBezTo>
                    <a:pt x="11829" y="21600"/>
                    <a:pt x="12141" y="21329"/>
                    <a:pt x="12186" y="20963"/>
                  </a:cubicBezTo>
                  <a:lnTo>
                    <a:pt x="13120" y="13904"/>
                  </a:lnTo>
                  <a:lnTo>
                    <a:pt x="20121" y="14842"/>
                  </a:lnTo>
                  <a:cubicBezTo>
                    <a:pt x="20151" y="14846"/>
                    <a:pt x="20180" y="14848"/>
                    <a:pt x="20210" y="14848"/>
                  </a:cubicBezTo>
                  <a:cubicBezTo>
                    <a:pt x="20582" y="14848"/>
                    <a:pt x="20917" y="14573"/>
                    <a:pt x="20983" y="14193"/>
                  </a:cubicBezTo>
                  <a:lnTo>
                    <a:pt x="21487" y="10193"/>
                  </a:lnTo>
                  <a:cubicBezTo>
                    <a:pt x="21559" y="9784"/>
                    <a:pt x="21271" y="9400"/>
                    <a:pt x="20840" y="9351"/>
                  </a:cubicBezTo>
                  <a:lnTo>
                    <a:pt x="13839" y="8411"/>
                  </a:lnTo>
                  <a:lnTo>
                    <a:pt x="14775" y="1378"/>
                  </a:lnTo>
                  <a:cubicBezTo>
                    <a:pt x="14823" y="967"/>
                    <a:pt x="14536" y="583"/>
                    <a:pt x="14127" y="534"/>
                  </a:cubicBezTo>
                  <a:lnTo>
                    <a:pt x="10148" y="4"/>
                  </a:lnTo>
                  <a:cubicBezTo>
                    <a:pt x="10118" y="0"/>
                    <a:pt x="10087" y="0"/>
                    <a:pt x="1005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50" name="Google Shape;483;p2"/>
            <p:cNvSpPr/>
            <p:nvPr/>
          </p:nvSpPr>
          <p:spPr>
            <a:xfrm>
              <a:off x="0" y="8317463"/>
              <a:ext cx="934073" cy="11767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1" h="21600" extrusionOk="0">
                  <a:moveTo>
                    <a:pt x="8128" y="658"/>
                  </a:moveTo>
                  <a:cubicBezTo>
                    <a:pt x="8703" y="658"/>
                    <a:pt x="9267" y="935"/>
                    <a:pt x="9369" y="1553"/>
                  </a:cubicBezTo>
                  <a:cubicBezTo>
                    <a:pt x="9440" y="1877"/>
                    <a:pt x="9345" y="2183"/>
                    <a:pt x="9084" y="2431"/>
                  </a:cubicBezTo>
                  <a:lnTo>
                    <a:pt x="7496" y="2660"/>
                  </a:lnTo>
                  <a:cubicBezTo>
                    <a:pt x="7164" y="2506"/>
                    <a:pt x="6927" y="2240"/>
                    <a:pt x="6831" y="1935"/>
                  </a:cubicBezTo>
                  <a:cubicBezTo>
                    <a:pt x="6602" y="1134"/>
                    <a:pt x="7375" y="658"/>
                    <a:pt x="8128" y="658"/>
                  </a:cubicBezTo>
                  <a:close/>
                  <a:moveTo>
                    <a:pt x="15544" y="4359"/>
                  </a:moveTo>
                  <a:cubicBezTo>
                    <a:pt x="16042" y="4359"/>
                    <a:pt x="16496" y="4660"/>
                    <a:pt x="16602" y="5081"/>
                  </a:cubicBezTo>
                  <a:lnTo>
                    <a:pt x="19352" y="17207"/>
                  </a:lnTo>
                  <a:cubicBezTo>
                    <a:pt x="19446" y="17685"/>
                    <a:pt x="19043" y="18141"/>
                    <a:pt x="18450" y="18218"/>
                  </a:cubicBezTo>
                  <a:lnTo>
                    <a:pt x="5979" y="20048"/>
                  </a:lnTo>
                  <a:cubicBezTo>
                    <a:pt x="5917" y="20056"/>
                    <a:pt x="5857" y="20059"/>
                    <a:pt x="5798" y="20059"/>
                  </a:cubicBezTo>
                  <a:cubicBezTo>
                    <a:pt x="5274" y="20059"/>
                    <a:pt x="4804" y="19768"/>
                    <a:pt x="4698" y="19324"/>
                  </a:cubicBezTo>
                  <a:lnTo>
                    <a:pt x="1994" y="7216"/>
                  </a:lnTo>
                  <a:cubicBezTo>
                    <a:pt x="1876" y="6740"/>
                    <a:pt x="2279" y="6282"/>
                    <a:pt x="2872" y="6206"/>
                  </a:cubicBezTo>
                  <a:lnTo>
                    <a:pt x="4366" y="5977"/>
                  </a:lnTo>
                  <a:cubicBezTo>
                    <a:pt x="4430" y="6321"/>
                    <a:pt x="4804" y="6558"/>
                    <a:pt x="5226" y="6558"/>
                  </a:cubicBezTo>
                  <a:cubicBezTo>
                    <a:pt x="5270" y="6558"/>
                    <a:pt x="5316" y="6555"/>
                    <a:pt x="5362" y="6548"/>
                  </a:cubicBezTo>
                  <a:lnTo>
                    <a:pt x="13162" y="5405"/>
                  </a:lnTo>
                  <a:cubicBezTo>
                    <a:pt x="13612" y="5328"/>
                    <a:pt x="13945" y="4966"/>
                    <a:pt x="13849" y="4585"/>
                  </a:cubicBezTo>
                  <a:lnTo>
                    <a:pt x="15345" y="4375"/>
                  </a:lnTo>
                  <a:cubicBezTo>
                    <a:pt x="15411" y="4364"/>
                    <a:pt x="15478" y="4359"/>
                    <a:pt x="15544" y="4359"/>
                  </a:cubicBezTo>
                  <a:close/>
                  <a:moveTo>
                    <a:pt x="8100" y="0"/>
                  </a:moveTo>
                  <a:cubicBezTo>
                    <a:pt x="7970" y="0"/>
                    <a:pt x="7841" y="10"/>
                    <a:pt x="7710" y="29"/>
                  </a:cubicBezTo>
                  <a:cubicBezTo>
                    <a:pt x="6547" y="200"/>
                    <a:pt x="5764" y="1095"/>
                    <a:pt x="5979" y="2050"/>
                  </a:cubicBezTo>
                  <a:cubicBezTo>
                    <a:pt x="6049" y="2316"/>
                    <a:pt x="6192" y="2583"/>
                    <a:pt x="6405" y="2812"/>
                  </a:cubicBezTo>
                  <a:lnTo>
                    <a:pt x="4864" y="3041"/>
                  </a:lnTo>
                  <a:cubicBezTo>
                    <a:pt x="4224" y="3155"/>
                    <a:pt x="3820" y="3632"/>
                    <a:pt x="3916" y="4146"/>
                  </a:cubicBezTo>
                  <a:lnTo>
                    <a:pt x="4033" y="4585"/>
                  </a:lnTo>
                  <a:lnTo>
                    <a:pt x="1448" y="4966"/>
                  </a:lnTo>
                  <a:cubicBezTo>
                    <a:pt x="500" y="5118"/>
                    <a:pt x="-139" y="5863"/>
                    <a:pt x="26" y="6644"/>
                  </a:cubicBezTo>
                  <a:lnTo>
                    <a:pt x="3181" y="20429"/>
                  </a:lnTo>
                  <a:cubicBezTo>
                    <a:pt x="3326" y="21118"/>
                    <a:pt x="4063" y="21600"/>
                    <a:pt x="4902" y="21600"/>
                  </a:cubicBezTo>
                  <a:cubicBezTo>
                    <a:pt x="5013" y="21600"/>
                    <a:pt x="5129" y="21592"/>
                    <a:pt x="5242" y="21574"/>
                  </a:cubicBezTo>
                  <a:lnTo>
                    <a:pt x="19874" y="19438"/>
                  </a:lnTo>
                  <a:cubicBezTo>
                    <a:pt x="20822" y="19286"/>
                    <a:pt x="21461" y="18541"/>
                    <a:pt x="21296" y="17760"/>
                  </a:cubicBezTo>
                  <a:lnTo>
                    <a:pt x="18141" y="3936"/>
                  </a:lnTo>
                  <a:cubicBezTo>
                    <a:pt x="17996" y="3248"/>
                    <a:pt x="17259" y="2766"/>
                    <a:pt x="16422" y="2766"/>
                  </a:cubicBezTo>
                  <a:cubicBezTo>
                    <a:pt x="16309" y="2766"/>
                    <a:pt x="16193" y="2775"/>
                    <a:pt x="16080" y="2793"/>
                  </a:cubicBezTo>
                  <a:lnTo>
                    <a:pt x="13519" y="3193"/>
                  </a:lnTo>
                  <a:lnTo>
                    <a:pt x="13423" y="2754"/>
                  </a:lnTo>
                  <a:cubicBezTo>
                    <a:pt x="13316" y="2288"/>
                    <a:pt x="12800" y="1962"/>
                    <a:pt x="12244" y="1962"/>
                  </a:cubicBezTo>
                  <a:cubicBezTo>
                    <a:pt x="12187" y="1962"/>
                    <a:pt x="12129" y="1965"/>
                    <a:pt x="12071" y="1973"/>
                  </a:cubicBezTo>
                  <a:lnTo>
                    <a:pt x="10175" y="2260"/>
                  </a:lnTo>
                  <a:cubicBezTo>
                    <a:pt x="10271" y="1992"/>
                    <a:pt x="10295" y="1706"/>
                    <a:pt x="10247" y="1420"/>
                  </a:cubicBezTo>
                  <a:cubicBezTo>
                    <a:pt x="10036" y="589"/>
                    <a:pt x="9132" y="0"/>
                    <a:pt x="810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51" name="Google Shape;484;p2"/>
            <p:cNvSpPr/>
            <p:nvPr/>
          </p:nvSpPr>
          <p:spPr>
            <a:xfrm>
              <a:off x="182358" y="8740521"/>
              <a:ext cx="134849" cy="135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9" h="21600" extrusionOk="0">
                  <a:moveTo>
                    <a:pt x="9092" y="0"/>
                  </a:moveTo>
                  <a:cubicBezTo>
                    <a:pt x="8535" y="0"/>
                    <a:pt x="7978" y="70"/>
                    <a:pt x="7409" y="195"/>
                  </a:cubicBezTo>
                  <a:cubicBezTo>
                    <a:pt x="-477" y="1856"/>
                    <a:pt x="-2683" y="14149"/>
                    <a:pt x="3809" y="19633"/>
                  </a:cubicBezTo>
                  <a:cubicBezTo>
                    <a:pt x="5446" y="20986"/>
                    <a:pt x="7223" y="21600"/>
                    <a:pt x="8942" y="21600"/>
                  </a:cubicBezTo>
                  <a:cubicBezTo>
                    <a:pt x="14179" y="21600"/>
                    <a:pt x="18917" y="15977"/>
                    <a:pt x="17779" y="8833"/>
                  </a:cubicBezTo>
                  <a:cubicBezTo>
                    <a:pt x="17047" y="3712"/>
                    <a:pt x="13296" y="0"/>
                    <a:pt x="909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52" name="Google Shape;485;p2"/>
            <p:cNvSpPr/>
            <p:nvPr/>
          </p:nvSpPr>
          <p:spPr>
            <a:xfrm>
              <a:off x="361297" y="8700998"/>
              <a:ext cx="306618" cy="1177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60" h="21600" extrusionOk="0">
                  <a:moveTo>
                    <a:pt x="17248" y="0"/>
                  </a:moveTo>
                  <a:cubicBezTo>
                    <a:pt x="17042" y="0"/>
                    <a:pt x="16819" y="80"/>
                    <a:pt x="16585" y="240"/>
                  </a:cubicBezTo>
                  <a:lnTo>
                    <a:pt x="16519" y="48"/>
                  </a:lnTo>
                  <a:lnTo>
                    <a:pt x="2076" y="7664"/>
                  </a:lnTo>
                  <a:cubicBezTo>
                    <a:pt x="-1013" y="9088"/>
                    <a:pt x="-417" y="21600"/>
                    <a:pt x="2304" y="21600"/>
                  </a:cubicBezTo>
                  <a:cubicBezTo>
                    <a:pt x="2504" y="21600"/>
                    <a:pt x="2716" y="21520"/>
                    <a:pt x="2933" y="21392"/>
                  </a:cubicBezTo>
                  <a:lnTo>
                    <a:pt x="17381" y="13952"/>
                  </a:lnTo>
                  <a:cubicBezTo>
                    <a:pt x="20587" y="13072"/>
                    <a:pt x="20008" y="0"/>
                    <a:pt x="1724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53" name="Google Shape;486;p2"/>
            <p:cNvSpPr/>
            <p:nvPr/>
          </p:nvSpPr>
          <p:spPr>
            <a:xfrm>
              <a:off x="216608" y="8928537"/>
              <a:ext cx="134887" cy="135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4" h="21600" extrusionOk="0">
                  <a:moveTo>
                    <a:pt x="9092" y="0"/>
                  </a:moveTo>
                  <a:cubicBezTo>
                    <a:pt x="8535" y="0"/>
                    <a:pt x="7978" y="70"/>
                    <a:pt x="7409" y="195"/>
                  </a:cubicBezTo>
                  <a:cubicBezTo>
                    <a:pt x="-472" y="1856"/>
                    <a:pt x="-2689" y="14149"/>
                    <a:pt x="3811" y="19633"/>
                  </a:cubicBezTo>
                  <a:cubicBezTo>
                    <a:pt x="5447" y="20986"/>
                    <a:pt x="7223" y="21600"/>
                    <a:pt x="8941" y="21600"/>
                  </a:cubicBezTo>
                  <a:cubicBezTo>
                    <a:pt x="14175" y="21600"/>
                    <a:pt x="18911" y="15977"/>
                    <a:pt x="17774" y="8847"/>
                  </a:cubicBezTo>
                  <a:cubicBezTo>
                    <a:pt x="17042" y="3712"/>
                    <a:pt x="13293" y="0"/>
                    <a:pt x="909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54" name="Google Shape;487;p2"/>
            <p:cNvSpPr/>
            <p:nvPr/>
          </p:nvSpPr>
          <p:spPr>
            <a:xfrm>
              <a:off x="400245" y="8889101"/>
              <a:ext cx="295941" cy="117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4" h="21600" extrusionOk="0">
                  <a:moveTo>
                    <a:pt x="17078" y="0"/>
                  </a:moveTo>
                  <a:cubicBezTo>
                    <a:pt x="16986" y="0"/>
                    <a:pt x="16893" y="16"/>
                    <a:pt x="16801" y="32"/>
                  </a:cubicBezTo>
                  <a:lnTo>
                    <a:pt x="1842" y="7462"/>
                  </a:lnTo>
                  <a:cubicBezTo>
                    <a:pt x="-1046" y="9895"/>
                    <a:pt x="-325" y="21600"/>
                    <a:pt x="2528" y="21600"/>
                  </a:cubicBezTo>
                  <a:cubicBezTo>
                    <a:pt x="2597" y="21600"/>
                    <a:pt x="2661" y="21584"/>
                    <a:pt x="2730" y="21568"/>
                  </a:cubicBezTo>
                  <a:lnTo>
                    <a:pt x="17695" y="13946"/>
                  </a:lnTo>
                  <a:cubicBezTo>
                    <a:pt x="20554" y="11545"/>
                    <a:pt x="19931" y="0"/>
                    <a:pt x="1707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55" name="Google Shape;488;p2"/>
            <p:cNvSpPr/>
            <p:nvPr/>
          </p:nvSpPr>
          <p:spPr>
            <a:xfrm>
              <a:off x="253276" y="9129290"/>
              <a:ext cx="135371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0" h="21600" extrusionOk="0">
                  <a:moveTo>
                    <a:pt x="9017" y="0"/>
                  </a:moveTo>
                  <a:cubicBezTo>
                    <a:pt x="8518" y="0"/>
                    <a:pt x="8008" y="56"/>
                    <a:pt x="7487" y="154"/>
                  </a:cubicBezTo>
                  <a:cubicBezTo>
                    <a:pt x="-509" y="1817"/>
                    <a:pt x="-2722" y="14134"/>
                    <a:pt x="3906" y="19629"/>
                  </a:cubicBezTo>
                  <a:cubicBezTo>
                    <a:pt x="5505" y="20985"/>
                    <a:pt x="7255" y="21600"/>
                    <a:pt x="8959" y="21600"/>
                  </a:cubicBezTo>
                  <a:cubicBezTo>
                    <a:pt x="14127" y="21600"/>
                    <a:pt x="18878" y="15994"/>
                    <a:pt x="17835" y="8976"/>
                  </a:cubicBezTo>
                  <a:cubicBezTo>
                    <a:pt x="16978" y="3621"/>
                    <a:pt x="13246" y="0"/>
                    <a:pt x="901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56" name="Google Shape;489;p2"/>
            <p:cNvSpPr/>
            <p:nvPr/>
          </p:nvSpPr>
          <p:spPr>
            <a:xfrm>
              <a:off x="435917" y="9089768"/>
              <a:ext cx="298027" cy="117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45" h="21600" extrusionOk="0">
                  <a:moveTo>
                    <a:pt x="16724" y="0"/>
                  </a:moveTo>
                  <a:lnTo>
                    <a:pt x="1870" y="7633"/>
                  </a:lnTo>
                  <a:cubicBezTo>
                    <a:pt x="-1037" y="9862"/>
                    <a:pt x="-356" y="21600"/>
                    <a:pt x="2551" y="21600"/>
                  </a:cubicBezTo>
                  <a:cubicBezTo>
                    <a:pt x="2642" y="21600"/>
                    <a:pt x="2734" y="21600"/>
                    <a:pt x="2825" y="21568"/>
                  </a:cubicBezTo>
                  <a:lnTo>
                    <a:pt x="17679" y="14127"/>
                  </a:lnTo>
                  <a:cubicBezTo>
                    <a:pt x="20563" y="11914"/>
                    <a:pt x="19911" y="144"/>
                    <a:pt x="17056" y="144"/>
                  </a:cubicBezTo>
                  <a:cubicBezTo>
                    <a:pt x="16947" y="144"/>
                    <a:pt x="16838" y="160"/>
                    <a:pt x="16724" y="192"/>
                  </a:cubicBezTo>
                  <a:lnTo>
                    <a:pt x="16724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57" name="Google Shape;490;p2"/>
            <p:cNvSpPr/>
            <p:nvPr/>
          </p:nvSpPr>
          <p:spPr>
            <a:xfrm>
              <a:off x="116854" y="9964413"/>
              <a:ext cx="600890" cy="6060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53" h="21600" extrusionOk="0">
                  <a:moveTo>
                    <a:pt x="9744" y="0"/>
                  </a:moveTo>
                  <a:cubicBezTo>
                    <a:pt x="6862" y="0"/>
                    <a:pt x="4019" y="1458"/>
                    <a:pt x="2152" y="4183"/>
                  </a:cubicBezTo>
                  <a:lnTo>
                    <a:pt x="18192" y="15477"/>
                  </a:lnTo>
                  <a:cubicBezTo>
                    <a:pt x="20456" y="10589"/>
                    <a:pt x="18991" y="4590"/>
                    <a:pt x="14798" y="1629"/>
                  </a:cubicBezTo>
                  <a:cubicBezTo>
                    <a:pt x="13233" y="529"/>
                    <a:pt x="11480" y="0"/>
                    <a:pt x="9744" y="0"/>
                  </a:cubicBezTo>
                  <a:close/>
                  <a:moveTo>
                    <a:pt x="1020" y="6182"/>
                  </a:moveTo>
                  <a:cubicBezTo>
                    <a:pt x="-1144" y="11071"/>
                    <a:pt x="220" y="17032"/>
                    <a:pt x="4315" y="19955"/>
                  </a:cubicBezTo>
                  <a:cubicBezTo>
                    <a:pt x="5903" y="21065"/>
                    <a:pt x="7678" y="21600"/>
                    <a:pt x="9439" y="21600"/>
                  </a:cubicBezTo>
                  <a:cubicBezTo>
                    <a:pt x="12321" y="21600"/>
                    <a:pt x="15159" y="20166"/>
                    <a:pt x="17062" y="17477"/>
                  </a:cubicBezTo>
                  <a:lnTo>
                    <a:pt x="1020" y="6182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58" name="Google Shape;491;p2"/>
            <p:cNvSpPr/>
            <p:nvPr/>
          </p:nvSpPr>
          <p:spPr>
            <a:xfrm>
              <a:off x="1371680" y="8660777"/>
              <a:ext cx="505521" cy="4923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77" y="0"/>
                  </a:moveTo>
                  <a:lnTo>
                    <a:pt x="3281" y="6243"/>
                  </a:lnTo>
                  <a:cubicBezTo>
                    <a:pt x="-141" y="8750"/>
                    <a:pt x="-1029" y="13761"/>
                    <a:pt x="1296" y="17455"/>
                  </a:cubicBezTo>
                  <a:lnTo>
                    <a:pt x="1676" y="18090"/>
                  </a:lnTo>
                  <a:cubicBezTo>
                    <a:pt x="3128" y="20371"/>
                    <a:pt x="5489" y="21600"/>
                    <a:pt x="7893" y="21600"/>
                  </a:cubicBezTo>
                  <a:cubicBezTo>
                    <a:pt x="9334" y="21600"/>
                    <a:pt x="10790" y="21156"/>
                    <a:pt x="12075" y="20233"/>
                  </a:cubicBezTo>
                  <a:lnTo>
                    <a:pt x="20571" y="13990"/>
                  </a:lnTo>
                  <a:lnTo>
                    <a:pt x="11777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59" name="Google Shape;492;p2"/>
            <p:cNvSpPr/>
            <p:nvPr/>
          </p:nvSpPr>
          <p:spPr>
            <a:xfrm>
              <a:off x="1704714" y="8457493"/>
              <a:ext cx="505541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2" h="21600" extrusionOk="0">
                  <a:moveTo>
                    <a:pt x="12699" y="0"/>
                  </a:moveTo>
                  <a:cubicBezTo>
                    <a:pt x="11251" y="0"/>
                    <a:pt x="9788" y="452"/>
                    <a:pt x="8499" y="1398"/>
                  </a:cubicBezTo>
                  <a:lnTo>
                    <a:pt x="0" y="7644"/>
                  </a:lnTo>
                  <a:lnTo>
                    <a:pt x="8837" y="21600"/>
                  </a:lnTo>
                  <a:lnTo>
                    <a:pt x="17290" y="15350"/>
                  </a:lnTo>
                  <a:cubicBezTo>
                    <a:pt x="20712" y="12845"/>
                    <a:pt x="21600" y="7828"/>
                    <a:pt x="19278" y="4178"/>
                  </a:cubicBezTo>
                  <a:lnTo>
                    <a:pt x="18895" y="3543"/>
                  </a:lnTo>
                  <a:cubicBezTo>
                    <a:pt x="17446" y="1241"/>
                    <a:pt x="15096" y="0"/>
                    <a:pt x="1269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60" name="Google Shape;493;p2"/>
            <p:cNvSpPr/>
            <p:nvPr/>
          </p:nvSpPr>
          <p:spPr>
            <a:xfrm>
              <a:off x="1193412" y="9677198"/>
              <a:ext cx="931442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7" h="21600" extrusionOk="0">
                  <a:moveTo>
                    <a:pt x="10021" y="0"/>
                  </a:moveTo>
                  <a:cubicBezTo>
                    <a:pt x="9665" y="0"/>
                    <a:pt x="9350" y="271"/>
                    <a:pt x="9308" y="637"/>
                  </a:cubicBezTo>
                  <a:lnTo>
                    <a:pt x="8374" y="7696"/>
                  </a:lnTo>
                  <a:lnTo>
                    <a:pt x="1373" y="6758"/>
                  </a:lnTo>
                  <a:cubicBezTo>
                    <a:pt x="1342" y="6754"/>
                    <a:pt x="1314" y="6752"/>
                    <a:pt x="1284" y="6752"/>
                  </a:cubicBezTo>
                  <a:cubicBezTo>
                    <a:pt x="911" y="6752"/>
                    <a:pt x="577" y="7027"/>
                    <a:pt x="533" y="7407"/>
                  </a:cubicBezTo>
                  <a:lnTo>
                    <a:pt x="5" y="11407"/>
                  </a:lnTo>
                  <a:cubicBezTo>
                    <a:pt x="-41" y="11816"/>
                    <a:pt x="247" y="12178"/>
                    <a:pt x="654" y="12249"/>
                  </a:cubicBezTo>
                  <a:lnTo>
                    <a:pt x="7655" y="13189"/>
                  </a:lnTo>
                  <a:lnTo>
                    <a:pt x="6719" y="20222"/>
                  </a:lnTo>
                  <a:cubicBezTo>
                    <a:pt x="6670" y="20633"/>
                    <a:pt x="6958" y="21017"/>
                    <a:pt x="7367" y="21066"/>
                  </a:cubicBezTo>
                  <a:lnTo>
                    <a:pt x="11346" y="21596"/>
                  </a:lnTo>
                  <a:cubicBezTo>
                    <a:pt x="11376" y="21600"/>
                    <a:pt x="11406" y="21600"/>
                    <a:pt x="11435" y="21600"/>
                  </a:cubicBezTo>
                  <a:cubicBezTo>
                    <a:pt x="11809" y="21600"/>
                    <a:pt x="12141" y="21325"/>
                    <a:pt x="12186" y="20944"/>
                  </a:cubicBezTo>
                  <a:lnTo>
                    <a:pt x="13120" y="13912"/>
                  </a:lnTo>
                  <a:lnTo>
                    <a:pt x="20121" y="14826"/>
                  </a:lnTo>
                  <a:cubicBezTo>
                    <a:pt x="20151" y="14830"/>
                    <a:pt x="20180" y="14832"/>
                    <a:pt x="20210" y="14832"/>
                  </a:cubicBezTo>
                  <a:cubicBezTo>
                    <a:pt x="20582" y="14832"/>
                    <a:pt x="20917" y="14555"/>
                    <a:pt x="20983" y="14177"/>
                  </a:cubicBezTo>
                  <a:lnTo>
                    <a:pt x="21487" y="10201"/>
                  </a:lnTo>
                  <a:cubicBezTo>
                    <a:pt x="21559" y="9768"/>
                    <a:pt x="21271" y="9406"/>
                    <a:pt x="20840" y="9335"/>
                  </a:cubicBezTo>
                  <a:lnTo>
                    <a:pt x="13839" y="8419"/>
                  </a:lnTo>
                  <a:lnTo>
                    <a:pt x="14775" y="1386"/>
                  </a:lnTo>
                  <a:cubicBezTo>
                    <a:pt x="14823" y="951"/>
                    <a:pt x="14536" y="591"/>
                    <a:pt x="14127" y="518"/>
                  </a:cubicBezTo>
                  <a:lnTo>
                    <a:pt x="10148" y="12"/>
                  </a:lnTo>
                  <a:cubicBezTo>
                    <a:pt x="10106" y="4"/>
                    <a:pt x="10063" y="0"/>
                    <a:pt x="1002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61" name="Google Shape;494;p2"/>
            <p:cNvSpPr/>
            <p:nvPr/>
          </p:nvSpPr>
          <p:spPr>
            <a:xfrm>
              <a:off x="0" y="11088932"/>
              <a:ext cx="934073" cy="11767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1" h="21600" extrusionOk="0">
                  <a:moveTo>
                    <a:pt x="8128" y="658"/>
                  </a:moveTo>
                  <a:cubicBezTo>
                    <a:pt x="8703" y="658"/>
                    <a:pt x="9267" y="935"/>
                    <a:pt x="9369" y="1553"/>
                  </a:cubicBezTo>
                  <a:cubicBezTo>
                    <a:pt x="9440" y="1858"/>
                    <a:pt x="9321" y="2183"/>
                    <a:pt x="9084" y="2431"/>
                  </a:cubicBezTo>
                  <a:lnTo>
                    <a:pt x="7496" y="2658"/>
                  </a:lnTo>
                  <a:cubicBezTo>
                    <a:pt x="7164" y="2506"/>
                    <a:pt x="6927" y="2258"/>
                    <a:pt x="6831" y="1954"/>
                  </a:cubicBezTo>
                  <a:lnTo>
                    <a:pt x="6831" y="1935"/>
                  </a:lnTo>
                  <a:cubicBezTo>
                    <a:pt x="6602" y="1134"/>
                    <a:pt x="7375" y="658"/>
                    <a:pt x="8128" y="658"/>
                  </a:cubicBezTo>
                  <a:close/>
                  <a:moveTo>
                    <a:pt x="15552" y="4359"/>
                  </a:moveTo>
                  <a:cubicBezTo>
                    <a:pt x="16064" y="4359"/>
                    <a:pt x="16518" y="4660"/>
                    <a:pt x="16602" y="5080"/>
                  </a:cubicBezTo>
                  <a:lnTo>
                    <a:pt x="19352" y="17188"/>
                  </a:lnTo>
                  <a:cubicBezTo>
                    <a:pt x="19446" y="17683"/>
                    <a:pt x="19043" y="18141"/>
                    <a:pt x="18450" y="18218"/>
                  </a:cubicBezTo>
                  <a:lnTo>
                    <a:pt x="5979" y="20048"/>
                  </a:lnTo>
                  <a:cubicBezTo>
                    <a:pt x="5917" y="20056"/>
                    <a:pt x="5855" y="20059"/>
                    <a:pt x="5796" y="20059"/>
                  </a:cubicBezTo>
                  <a:cubicBezTo>
                    <a:pt x="5272" y="20059"/>
                    <a:pt x="4804" y="19770"/>
                    <a:pt x="4698" y="19342"/>
                  </a:cubicBezTo>
                  <a:lnTo>
                    <a:pt x="1994" y="7216"/>
                  </a:lnTo>
                  <a:cubicBezTo>
                    <a:pt x="1876" y="6739"/>
                    <a:pt x="2279" y="6282"/>
                    <a:pt x="2872" y="6206"/>
                  </a:cubicBezTo>
                  <a:lnTo>
                    <a:pt x="4366" y="5996"/>
                  </a:lnTo>
                  <a:cubicBezTo>
                    <a:pt x="4430" y="6316"/>
                    <a:pt x="4788" y="6561"/>
                    <a:pt x="5198" y="6561"/>
                  </a:cubicBezTo>
                  <a:cubicBezTo>
                    <a:pt x="5252" y="6561"/>
                    <a:pt x="5306" y="6558"/>
                    <a:pt x="5362" y="6548"/>
                  </a:cubicBezTo>
                  <a:lnTo>
                    <a:pt x="13162" y="5405"/>
                  </a:lnTo>
                  <a:cubicBezTo>
                    <a:pt x="13612" y="5328"/>
                    <a:pt x="13945" y="4966"/>
                    <a:pt x="13849" y="4585"/>
                  </a:cubicBezTo>
                  <a:lnTo>
                    <a:pt x="15345" y="4375"/>
                  </a:lnTo>
                  <a:cubicBezTo>
                    <a:pt x="15415" y="4364"/>
                    <a:pt x="15484" y="4359"/>
                    <a:pt x="15552" y="4359"/>
                  </a:cubicBezTo>
                  <a:close/>
                  <a:moveTo>
                    <a:pt x="8100" y="0"/>
                  </a:moveTo>
                  <a:cubicBezTo>
                    <a:pt x="7970" y="0"/>
                    <a:pt x="7841" y="8"/>
                    <a:pt x="7710" y="27"/>
                  </a:cubicBezTo>
                  <a:cubicBezTo>
                    <a:pt x="6547" y="199"/>
                    <a:pt x="5764" y="1115"/>
                    <a:pt x="5979" y="2048"/>
                  </a:cubicBezTo>
                  <a:cubicBezTo>
                    <a:pt x="6049" y="2335"/>
                    <a:pt x="6192" y="2583"/>
                    <a:pt x="6405" y="2812"/>
                  </a:cubicBezTo>
                  <a:lnTo>
                    <a:pt x="4864" y="3041"/>
                  </a:lnTo>
                  <a:cubicBezTo>
                    <a:pt x="4224" y="3136"/>
                    <a:pt x="3820" y="3632"/>
                    <a:pt x="3916" y="4127"/>
                  </a:cubicBezTo>
                  <a:lnTo>
                    <a:pt x="4033" y="4585"/>
                  </a:lnTo>
                  <a:lnTo>
                    <a:pt x="1448" y="4966"/>
                  </a:lnTo>
                  <a:cubicBezTo>
                    <a:pt x="500" y="5099"/>
                    <a:pt x="-139" y="5844"/>
                    <a:pt x="26" y="6625"/>
                  </a:cubicBezTo>
                  <a:lnTo>
                    <a:pt x="3181" y="20449"/>
                  </a:lnTo>
                  <a:cubicBezTo>
                    <a:pt x="3326" y="21121"/>
                    <a:pt x="4061" y="21600"/>
                    <a:pt x="4900" y="21600"/>
                  </a:cubicBezTo>
                  <a:cubicBezTo>
                    <a:pt x="5013" y="21600"/>
                    <a:pt x="5129" y="21592"/>
                    <a:pt x="5242" y="21573"/>
                  </a:cubicBezTo>
                  <a:lnTo>
                    <a:pt x="19874" y="19438"/>
                  </a:lnTo>
                  <a:cubicBezTo>
                    <a:pt x="20822" y="19286"/>
                    <a:pt x="21461" y="18541"/>
                    <a:pt x="21296" y="17760"/>
                  </a:cubicBezTo>
                  <a:lnTo>
                    <a:pt x="18141" y="3936"/>
                  </a:lnTo>
                  <a:cubicBezTo>
                    <a:pt x="17996" y="3248"/>
                    <a:pt x="17259" y="2766"/>
                    <a:pt x="16422" y="2766"/>
                  </a:cubicBezTo>
                  <a:cubicBezTo>
                    <a:pt x="16309" y="2766"/>
                    <a:pt x="16193" y="2774"/>
                    <a:pt x="16080" y="2793"/>
                  </a:cubicBezTo>
                  <a:lnTo>
                    <a:pt x="13519" y="3193"/>
                  </a:lnTo>
                  <a:lnTo>
                    <a:pt x="13423" y="2735"/>
                  </a:lnTo>
                  <a:cubicBezTo>
                    <a:pt x="13318" y="2295"/>
                    <a:pt x="12822" y="1976"/>
                    <a:pt x="12280" y="1976"/>
                  </a:cubicBezTo>
                  <a:cubicBezTo>
                    <a:pt x="12210" y="1976"/>
                    <a:pt x="12141" y="1981"/>
                    <a:pt x="12071" y="1992"/>
                  </a:cubicBezTo>
                  <a:lnTo>
                    <a:pt x="10175" y="2258"/>
                  </a:lnTo>
                  <a:cubicBezTo>
                    <a:pt x="10271" y="1992"/>
                    <a:pt x="10295" y="1706"/>
                    <a:pt x="10247" y="1419"/>
                  </a:cubicBezTo>
                  <a:cubicBezTo>
                    <a:pt x="10036" y="589"/>
                    <a:pt x="9132" y="0"/>
                    <a:pt x="810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62" name="Google Shape;495;p2"/>
            <p:cNvSpPr/>
            <p:nvPr/>
          </p:nvSpPr>
          <p:spPr>
            <a:xfrm>
              <a:off x="182358" y="11512252"/>
              <a:ext cx="134849" cy="1347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9" h="21600" extrusionOk="0">
                  <a:moveTo>
                    <a:pt x="8942" y="0"/>
                  </a:moveTo>
                  <a:cubicBezTo>
                    <a:pt x="8431" y="0"/>
                    <a:pt x="7920" y="56"/>
                    <a:pt x="7409" y="154"/>
                  </a:cubicBezTo>
                  <a:cubicBezTo>
                    <a:pt x="-477" y="1819"/>
                    <a:pt x="-2683" y="14144"/>
                    <a:pt x="3809" y="19641"/>
                  </a:cubicBezTo>
                  <a:cubicBezTo>
                    <a:pt x="5446" y="20998"/>
                    <a:pt x="7223" y="21600"/>
                    <a:pt x="8942" y="21600"/>
                  </a:cubicBezTo>
                  <a:cubicBezTo>
                    <a:pt x="14179" y="21600"/>
                    <a:pt x="18917" y="15962"/>
                    <a:pt x="17779" y="8813"/>
                  </a:cubicBezTo>
                  <a:cubicBezTo>
                    <a:pt x="16908" y="3609"/>
                    <a:pt x="13180" y="0"/>
                    <a:pt x="8942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63" name="Google Shape;496;p2"/>
            <p:cNvSpPr/>
            <p:nvPr/>
          </p:nvSpPr>
          <p:spPr>
            <a:xfrm>
              <a:off x="362490" y="11472643"/>
              <a:ext cx="304207" cy="1172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98" h="21600" extrusionOk="0">
                  <a:moveTo>
                    <a:pt x="17301" y="0"/>
                  </a:moveTo>
                  <a:cubicBezTo>
                    <a:pt x="17105" y="0"/>
                    <a:pt x="16891" y="64"/>
                    <a:pt x="16672" y="209"/>
                  </a:cubicBezTo>
                  <a:lnTo>
                    <a:pt x="16604" y="209"/>
                  </a:lnTo>
                  <a:lnTo>
                    <a:pt x="2019" y="7666"/>
                  </a:lnTo>
                  <a:cubicBezTo>
                    <a:pt x="-1005" y="9289"/>
                    <a:pt x="-415" y="21600"/>
                    <a:pt x="2345" y="21600"/>
                  </a:cubicBezTo>
                  <a:cubicBezTo>
                    <a:pt x="2519" y="21600"/>
                    <a:pt x="2699" y="21552"/>
                    <a:pt x="2884" y="21439"/>
                  </a:cubicBezTo>
                  <a:lnTo>
                    <a:pt x="17476" y="13982"/>
                  </a:lnTo>
                  <a:cubicBezTo>
                    <a:pt x="20595" y="12729"/>
                    <a:pt x="20050" y="0"/>
                    <a:pt x="1730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64" name="Google Shape;497;p2"/>
            <p:cNvSpPr/>
            <p:nvPr/>
          </p:nvSpPr>
          <p:spPr>
            <a:xfrm>
              <a:off x="216608" y="11700268"/>
              <a:ext cx="134887" cy="134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4" h="21600" extrusionOk="0">
                  <a:moveTo>
                    <a:pt x="8941" y="0"/>
                  </a:moveTo>
                  <a:cubicBezTo>
                    <a:pt x="8430" y="0"/>
                    <a:pt x="7919" y="56"/>
                    <a:pt x="7409" y="154"/>
                  </a:cubicBezTo>
                  <a:cubicBezTo>
                    <a:pt x="-472" y="1817"/>
                    <a:pt x="-2689" y="14134"/>
                    <a:pt x="3811" y="19629"/>
                  </a:cubicBezTo>
                  <a:cubicBezTo>
                    <a:pt x="5447" y="20985"/>
                    <a:pt x="7223" y="21600"/>
                    <a:pt x="8941" y="21600"/>
                  </a:cubicBezTo>
                  <a:cubicBezTo>
                    <a:pt x="14175" y="21600"/>
                    <a:pt x="18911" y="15952"/>
                    <a:pt x="17774" y="8808"/>
                  </a:cubicBezTo>
                  <a:cubicBezTo>
                    <a:pt x="17031" y="3607"/>
                    <a:pt x="13201" y="0"/>
                    <a:pt x="8941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65" name="Google Shape;498;p2"/>
            <p:cNvSpPr/>
            <p:nvPr/>
          </p:nvSpPr>
          <p:spPr>
            <a:xfrm>
              <a:off x="400245" y="11660571"/>
              <a:ext cx="295941" cy="117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54" h="21600" extrusionOk="0">
                  <a:moveTo>
                    <a:pt x="17078" y="0"/>
                  </a:moveTo>
                  <a:cubicBezTo>
                    <a:pt x="16986" y="0"/>
                    <a:pt x="16893" y="0"/>
                    <a:pt x="16801" y="32"/>
                  </a:cubicBezTo>
                  <a:lnTo>
                    <a:pt x="1842" y="7467"/>
                  </a:lnTo>
                  <a:cubicBezTo>
                    <a:pt x="-1046" y="9887"/>
                    <a:pt x="-325" y="21600"/>
                    <a:pt x="2528" y="21600"/>
                  </a:cubicBezTo>
                  <a:cubicBezTo>
                    <a:pt x="2597" y="21600"/>
                    <a:pt x="2661" y="21600"/>
                    <a:pt x="2730" y="21584"/>
                  </a:cubicBezTo>
                  <a:lnTo>
                    <a:pt x="17695" y="13957"/>
                  </a:lnTo>
                  <a:cubicBezTo>
                    <a:pt x="20554" y="11553"/>
                    <a:pt x="19931" y="0"/>
                    <a:pt x="1707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66" name="Google Shape;499;p2"/>
            <p:cNvSpPr/>
            <p:nvPr/>
          </p:nvSpPr>
          <p:spPr>
            <a:xfrm>
              <a:off x="253276" y="11900761"/>
              <a:ext cx="135371" cy="1357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80" h="21600" extrusionOk="0">
                  <a:moveTo>
                    <a:pt x="8970" y="0"/>
                  </a:moveTo>
                  <a:cubicBezTo>
                    <a:pt x="8484" y="0"/>
                    <a:pt x="7985" y="56"/>
                    <a:pt x="7487" y="153"/>
                  </a:cubicBezTo>
                  <a:cubicBezTo>
                    <a:pt x="-509" y="1805"/>
                    <a:pt x="-2722" y="14034"/>
                    <a:pt x="3906" y="19657"/>
                  </a:cubicBezTo>
                  <a:cubicBezTo>
                    <a:pt x="5505" y="21003"/>
                    <a:pt x="7244" y="21600"/>
                    <a:pt x="8947" y="21600"/>
                  </a:cubicBezTo>
                  <a:cubicBezTo>
                    <a:pt x="14127" y="21600"/>
                    <a:pt x="18878" y="16006"/>
                    <a:pt x="17835" y="8912"/>
                  </a:cubicBezTo>
                  <a:cubicBezTo>
                    <a:pt x="16966" y="3720"/>
                    <a:pt x="13223" y="0"/>
                    <a:pt x="8970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67" name="Google Shape;500;p2"/>
            <p:cNvSpPr/>
            <p:nvPr/>
          </p:nvSpPr>
          <p:spPr>
            <a:xfrm>
              <a:off x="435180" y="11860802"/>
              <a:ext cx="299540" cy="1182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72" h="21600" extrusionOk="0">
                  <a:moveTo>
                    <a:pt x="17097" y="0"/>
                  </a:moveTo>
                  <a:cubicBezTo>
                    <a:pt x="16972" y="0"/>
                    <a:pt x="16841" y="32"/>
                    <a:pt x="16710" y="80"/>
                  </a:cubicBezTo>
                  <a:lnTo>
                    <a:pt x="1910" y="7668"/>
                  </a:lnTo>
                  <a:cubicBezTo>
                    <a:pt x="-1014" y="9660"/>
                    <a:pt x="-387" y="21600"/>
                    <a:pt x="2475" y="21600"/>
                  </a:cubicBezTo>
                  <a:cubicBezTo>
                    <a:pt x="2600" y="21600"/>
                    <a:pt x="2726" y="21568"/>
                    <a:pt x="2862" y="21520"/>
                  </a:cubicBezTo>
                  <a:lnTo>
                    <a:pt x="17662" y="14124"/>
                  </a:lnTo>
                  <a:cubicBezTo>
                    <a:pt x="20586" y="11940"/>
                    <a:pt x="19959" y="0"/>
                    <a:pt x="17097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68" name="Google Shape;501;p2"/>
            <p:cNvSpPr/>
            <p:nvPr/>
          </p:nvSpPr>
          <p:spPr>
            <a:xfrm>
              <a:off x="115525" y="12736145"/>
              <a:ext cx="602219" cy="6071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206" h="21600" extrusionOk="0">
                  <a:moveTo>
                    <a:pt x="9713" y="0"/>
                  </a:moveTo>
                  <a:cubicBezTo>
                    <a:pt x="6853" y="0"/>
                    <a:pt x="4037" y="1453"/>
                    <a:pt x="2184" y="4165"/>
                  </a:cubicBezTo>
                  <a:lnTo>
                    <a:pt x="18149" y="15439"/>
                  </a:lnTo>
                  <a:cubicBezTo>
                    <a:pt x="20403" y="10559"/>
                    <a:pt x="18945" y="4572"/>
                    <a:pt x="14771" y="1654"/>
                  </a:cubicBezTo>
                  <a:cubicBezTo>
                    <a:pt x="13208" y="537"/>
                    <a:pt x="11452" y="0"/>
                    <a:pt x="9713" y="0"/>
                  </a:cubicBezTo>
                  <a:close/>
                  <a:moveTo>
                    <a:pt x="1057" y="6161"/>
                  </a:moveTo>
                  <a:cubicBezTo>
                    <a:pt x="-1197" y="11041"/>
                    <a:pt x="261" y="17028"/>
                    <a:pt x="4401" y="19946"/>
                  </a:cubicBezTo>
                  <a:cubicBezTo>
                    <a:pt x="5968" y="21063"/>
                    <a:pt x="7726" y="21600"/>
                    <a:pt x="9471" y="21600"/>
                  </a:cubicBezTo>
                  <a:cubicBezTo>
                    <a:pt x="12340" y="21600"/>
                    <a:pt x="15169" y="20147"/>
                    <a:pt x="17025" y="17435"/>
                  </a:cubicBezTo>
                  <a:lnTo>
                    <a:pt x="1057" y="6161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69" name="Google Shape;502;p2"/>
            <p:cNvSpPr/>
            <p:nvPr/>
          </p:nvSpPr>
          <p:spPr>
            <a:xfrm>
              <a:off x="1371680" y="11433207"/>
              <a:ext cx="505521" cy="4920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1" h="21600" extrusionOk="0">
                  <a:moveTo>
                    <a:pt x="11777" y="0"/>
                  </a:moveTo>
                  <a:lnTo>
                    <a:pt x="3281" y="6250"/>
                  </a:lnTo>
                  <a:cubicBezTo>
                    <a:pt x="-141" y="8755"/>
                    <a:pt x="-1029" y="13772"/>
                    <a:pt x="1296" y="17464"/>
                  </a:cubicBezTo>
                  <a:lnTo>
                    <a:pt x="1676" y="18057"/>
                  </a:lnTo>
                  <a:cubicBezTo>
                    <a:pt x="3125" y="20359"/>
                    <a:pt x="5475" y="21600"/>
                    <a:pt x="7872" y="21600"/>
                  </a:cubicBezTo>
                  <a:cubicBezTo>
                    <a:pt x="9320" y="21600"/>
                    <a:pt x="10783" y="21148"/>
                    <a:pt x="12075" y="20202"/>
                  </a:cubicBezTo>
                  <a:lnTo>
                    <a:pt x="20571" y="13956"/>
                  </a:lnTo>
                  <a:lnTo>
                    <a:pt x="11777" y="0"/>
                  </a:ln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70" name="Google Shape;503;p2"/>
            <p:cNvSpPr/>
            <p:nvPr/>
          </p:nvSpPr>
          <p:spPr>
            <a:xfrm>
              <a:off x="1704714" y="11228963"/>
              <a:ext cx="505541" cy="4919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72" h="21600" extrusionOk="0">
                  <a:moveTo>
                    <a:pt x="12699" y="0"/>
                  </a:moveTo>
                  <a:cubicBezTo>
                    <a:pt x="11251" y="0"/>
                    <a:pt x="9788" y="452"/>
                    <a:pt x="8499" y="1398"/>
                  </a:cubicBezTo>
                  <a:lnTo>
                    <a:pt x="0" y="7646"/>
                  </a:lnTo>
                  <a:lnTo>
                    <a:pt x="8837" y="21600"/>
                  </a:lnTo>
                  <a:lnTo>
                    <a:pt x="17290" y="15353"/>
                  </a:lnTo>
                  <a:cubicBezTo>
                    <a:pt x="20712" y="12844"/>
                    <a:pt x="21600" y="7829"/>
                    <a:pt x="19278" y="4179"/>
                  </a:cubicBezTo>
                  <a:lnTo>
                    <a:pt x="18895" y="3543"/>
                  </a:lnTo>
                  <a:cubicBezTo>
                    <a:pt x="17446" y="1241"/>
                    <a:pt x="15096" y="0"/>
                    <a:pt x="12699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  <p:sp>
          <p:nvSpPr>
            <p:cNvPr id="1271" name="Google Shape;504;p2"/>
            <p:cNvSpPr/>
            <p:nvPr/>
          </p:nvSpPr>
          <p:spPr>
            <a:xfrm>
              <a:off x="1193164" y="12448668"/>
              <a:ext cx="931435" cy="93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97" h="21600" extrusionOk="0">
                  <a:moveTo>
                    <a:pt x="10028" y="0"/>
                  </a:moveTo>
                  <a:cubicBezTo>
                    <a:pt x="9670" y="0"/>
                    <a:pt x="9356" y="273"/>
                    <a:pt x="9313" y="662"/>
                  </a:cubicBezTo>
                  <a:lnTo>
                    <a:pt x="8379" y="7696"/>
                  </a:lnTo>
                  <a:lnTo>
                    <a:pt x="1378" y="6756"/>
                  </a:lnTo>
                  <a:cubicBezTo>
                    <a:pt x="1348" y="6754"/>
                    <a:pt x="1319" y="6752"/>
                    <a:pt x="1289" y="6752"/>
                  </a:cubicBezTo>
                  <a:cubicBezTo>
                    <a:pt x="917" y="6752"/>
                    <a:pt x="582" y="7027"/>
                    <a:pt x="538" y="7407"/>
                  </a:cubicBezTo>
                  <a:lnTo>
                    <a:pt x="10" y="11405"/>
                  </a:lnTo>
                  <a:cubicBezTo>
                    <a:pt x="-60" y="11816"/>
                    <a:pt x="228" y="12200"/>
                    <a:pt x="659" y="12249"/>
                  </a:cubicBezTo>
                  <a:lnTo>
                    <a:pt x="7660" y="13187"/>
                  </a:lnTo>
                  <a:lnTo>
                    <a:pt x="6724" y="20222"/>
                  </a:lnTo>
                  <a:cubicBezTo>
                    <a:pt x="6676" y="20631"/>
                    <a:pt x="6963" y="21017"/>
                    <a:pt x="7372" y="21066"/>
                  </a:cubicBezTo>
                  <a:lnTo>
                    <a:pt x="11351" y="21596"/>
                  </a:lnTo>
                  <a:cubicBezTo>
                    <a:pt x="11381" y="21598"/>
                    <a:pt x="11412" y="21600"/>
                    <a:pt x="11440" y="21600"/>
                  </a:cubicBezTo>
                  <a:cubicBezTo>
                    <a:pt x="11814" y="21600"/>
                    <a:pt x="12147" y="21325"/>
                    <a:pt x="12191" y="20944"/>
                  </a:cubicBezTo>
                  <a:lnTo>
                    <a:pt x="13125" y="13912"/>
                  </a:lnTo>
                  <a:lnTo>
                    <a:pt x="20126" y="14826"/>
                  </a:lnTo>
                  <a:cubicBezTo>
                    <a:pt x="20167" y="14832"/>
                    <a:pt x="20205" y="14836"/>
                    <a:pt x="20243" y="14836"/>
                  </a:cubicBezTo>
                  <a:cubicBezTo>
                    <a:pt x="20606" y="14836"/>
                    <a:pt x="20922" y="14545"/>
                    <a:pt x="20966" y="14177"/>
                  </a:cubicBezTo>
                  <a:lnTo>
                    <a:pt x="21492" y="10201"/>
                  </a:lnTo>
                  <a:cubicBezTo>
                    <a:pt x="21540" y="9768"/>
                    <a:pt x="21252" y="9406"/>
                    <a:pt x="20845" y="9333"/>
                  </a:cubicBezTo>
                  <a:lnTo>
                    <a:pt x="13844" y="8419"/>
                  </a:lnTo>
                  <a:lnTo>
                    <a:pt x="14756" y="1384"/>
                  </a:lnTo>
                  <a:cubicBezTo>
                    <a:pt x="14829" y="951"/>
                    <a:pt x="14541" y="589"/>
                    <a:pt x="14108" y="518"/>
                  </a:cubicBezTo>
                  <a:lnTo>
                    <a:pt x="10153" y="12"/>
                  </a:lnTo>
                  <a:cubicBezTo>
                    <a:pt x="10111" y="4"/>
                    <a:pt x="10068" y="0"/>
                    <a:pt x="10028" y="0"/>
                  </a:cubicBezTo>
                  <a:close/>
                </a:path>
              </a:pathLst>
            </a:custGeom>
            <a:solidFill>
              <a:srgbClr val="D9D9D9">
                <a:alpha val="2768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>
                  <a:solidFill>
                    <a:srgbClr val="000000"/>
                  </a:solidFill>
                </a:defRPr>
              </a:pPr>
              <a:endParaRPr kumimoji="0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sym typeface="Helvetica"/>
              </a:endParaRPr>
            </a:p>
          </p:txBody>
        </p:sp>
      </p:grpSp>
      <p:sp>
        <p:nvSpPr>
          <p:cNvPr id="1274" name="Google Shape;348;p29"/>
          <p:cNvSpPr/>
          <p:nvPr/>
        </p:nvSpPr>
        <p:spPr>
          <a:xfrm>
            <a:off x="5243157" y="5933350"/>
            <a:ext cx="9945534" cy="1"/>
          </a:xfrm>
          <a:prstGeom prst="line">
            <a:avLst/>
          </a:prstGeom>
          <a:ln w="76200">
            <a:solidFill>
              <a:srgbClr val="020F94"/>
            </a:solidFill>
          </a:ln>
        </p:spPr>
        <p:txBody>
          <a:bodyPr lIns="0" tIns="0" rIns="0" bIns="0"/>
          <a:lstStyle/>
          <a:p>
            <a:pPr marL="0" marR="0" lvl="0" indent="0" algn="l" defTabSz="2438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211E42"/>
                </a:solidFill>
              </a:defRPr>
            </a:pPr>
            <a:endParaRPr kumimoji="0" sz="3600" b="1" i="0" u="none" strike="noStrike" kern="0" cap="none" spc="0" normalizeH="0" baseline="0" noProof="0">
              <a:ln>
                <a:noFill/>
              </a:ln>
              <a:solidFill>
                <a:srgbClr val="211E42"/>
              </a:solidFill>
              <a:effectLst/>
              <a:uLnTx/>
              <a:uFillTx/>
              <a:latin typeface="Helvetica"/>
              <a:sym typeface="Helvetica"/>
            </a:endParaRPr>
          </a:p>
        </p:txBody>
      </p:sp>
      <p:sp>
        <p:nvSpPr>
          <p:cNvPr id="1275" name="Google Shape;4907;p31"/>
          <p:cNvSpPr/>
          <p:nvPr/>
        </p:nvSpPr>
        <p:spPr>
          <a:xfrm>
            <a:off x="-134" y="13223600"/>
            <a:ext cx="24384001" cy="492801"/>
          </a:xfrm>
          <a:prstGeom prst="rect">
            <a:avLst/>
          </a:prstGeom>
          <a:solidFill>
            <a:srgbClr val="020F94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2438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000000"/>
                </a:solidFill>
              </a:defRPr>
            </a:pPr>
            <a:endParaRPr kumimoji="0" sz="3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sym typeface="Helvetica"/>
            </a:endParaRPr>
          </a:p>
        </p:txBody>
      </p:sp>
      <p:sp>
        <p:nvSpPr>
          <p:cNvPr id="1276" name="Google Shape;4908;p31"/>
          <p:cNvSpPr/>
          <p:nvPr/>
        </p:nvSpPr>
        <p:spPr>
          <a:xfrm>
            <a:off x="-134" y="12982223"/>
            <a:ext cx="24384001" cy="97601"/>
          </a:xfrm>
          <a:prstGeom prst="rect">
            <a:avLst/>
          </a:prstGeom>
          <a:solidFill>
            <a:srgbClr val="FFDD47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l" defTabSz="2438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rgbClr val="000000"/>
                </a:solidFill>
              </a:defRPr>
            </a:pPr>
            <a:endParaRPr kumimoji="0" sz="3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sym typeface="Helvetica"/>
            </a:endParaRPr>
          </a:p>
        </p:txBody>
      </p:sp>
      <p:sp>
        <p:nvSpPr>
          <p:cNvPr id="1277" name="Modelling patient preference for luspatercept amongst transfusion dependent β – thalassaemia patients in Greece"/>
          <p:cNvSpPr txBox="1"/>
          <p:nvPr/>
        </p:nvSpPr>
        <p:spPr>
          <a:xfrm>
            <a:off x="5238183" y="2015643"/>
            <a:ext cx="16131391" cy="59195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 algn="l" defTabSz="2438400">
              <a:defRPr sz="6000" b="1">
                <a:solidFill>
                  <a:srgbClr val="000000"/>
                </a:solidFill>
              </a:defRPr>
            </a:lvl1pPr>
          </a:lstStyle>
          <a:p>
            <a:pPr lvl="0">
              <a:defRPr/>
            </a:pPr>
            <a:r>
              <a:rPr lang="el-GR" sz="54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ΕΡΕΥΝΑ ΑΠΟΨΕΩΝ ΚΑΙ ΣΤΑΣΕΩΝ ΚΟΙΝΟΥ </a:t>
            </a:r>
          </a:p>
          <a:p>
            <a:pPr lvl="0">
              <a:defRPr/>
            </a:pPr>
            <a:r>
              <a:rPr lang="el-GR" sz="54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ΓΙΑ ΤΗΝ ΠΡΟΣΒΑΣΗ,</a:t>
            </a:r>
            <a:r>
              <a:rPr lang="en-US" sz="54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  <a:r>
              <a:rPr lang="el-GR" sz="54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ΤΗ ΧΡΗΣΗ ΥΠΗΡΕΣΙΩΝ </a:t>
            </a:r>
          </a:p>
          <a:p>
            <a:pPr lvl="0">
              <a:defRPr/>
            </a:pPr>
            <a:r>
              <a:rPr lang="el-GR" sz="54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ΚΑΙ ΤΗΝ ΙΚΑΝΟΠΟΙΗΣΗ </a:t>
            </a:r>
          </a:p>
          <a:p>
            <a:pPr lvl="0">
              <a:defRPr/>
            </a:pPr>
            <a:r>
              <a:rPr lang="el-GR" sz="54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ΑΠΟ ΤΑ ΙΔΙΩΤΙΚΑ ΦΑΡΜΑΚΕΙΑ</a:t>
            </a:r>
          </a:p>
          <a:p>
            <a:pPr lvl="0">
              <a:defRPr/>
            </a:pPr>
            <a:endParaRPr kumimoji="0" lang="el-GR" sz="5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Helvetica"/>
            </a:endParaRPr>
          </a:p>
          <a:p>
            <a:pPr marL="0" marR="0" lvl="0" indent="0" algn="l" defTabSz="2438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Helvetica"/>
            </a:endParaRPr>
          </a:p>
          <a:p>
            <a:pPr marL="0" marR="0" lvl="0" indent="0" algn="l" defTabSz="2438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5400" dirty="0">
                <a:solidFill>
                  <a:srgbClr val="020F94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Έκθεση Αποτελεσμάτων</a:t>
            </a:r>
            <a:endParaRPr kumimoji="0" sz="5400" b="1" i="0" u="none" strike="noStrike" kern="0" cap="none" spc="0" normalizeH="0" baseline="0" noProof="0" dirty="0">
              <a:ln>
                <a:noFill/>
              </a:ln>
              <a:solidFill>
                <a:srgbClr val="020F94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  <a:sym typeface="Helvetica"/>
            </a:endParaRPr>
          </a:p>
        </p:txBody>
      </p:sp>
      <p:pic>
        <p:nvPicPr>
          <p:cNvPr id="1278" name="health-policy-institute_LOGO copy_preview_rev_1.png" descr="health-policy-institute_LOGO copy_preview_rev_1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1762409" y="10852159"/>
            <a:ext cx="2271271" cy="1644859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ectangle 1"/>
          <p:cNvSpPr/>
          <p:nvPr/>
        </p:nvSpPr>
        <p:spPr>
          <a:xfrm>
            <a:off x="5223542" y="8214172"/>
            <a:ext cx="16077051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el-GR" sz="4400" b="1" dirty="0">
                <a:solidFill>
                  <a:srgbClr val="020F94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Κυριάκος Σουλιώτης</a:t>
            </a:r>
            <a:r>
              <a:rPr lang="el-GR" sz="4400" b="1" dirty="0"/>
              <a:t/>
            </a:r>
            <a:br>
              <a:rPr lang="el-GR" sz="4400" b="1" dirty="0"/>
            </a:br>
            <a:r>
              <a:rPr lang="el-GR" sz="3200" dirty="0"/>
              <a:t>Καθηγητής Πολιτικής Υγείας</a:t>
            </a:r>
            <a:br>
              <a:rPr lang="el-GR" sz="3200" dirty="0"/>
            </a:br>
            <a:r>
              <a:rPr lang="el-GR" sz="3200" dirty="0"/>
              <a:t>Κοσμήτωρ Σχολής Κοινωνικών και Πολιτικών Επιστημών, Πανεπιστήμιο Πελοποννήσου</a:t>
            </a:r>
          </a:p>
          <a:p>
            <a:pPr algn="l">
              <a:lnSpc>
                <a:spcPct val="150000"/>
              </a:lnSpc>
            </a:pPr>
            <a:endParaRPr lang="el-GR" sz="3200" dirty="0"/>
          </a:p>
          <a:p>
            <a:pPr algn="l">
              <a:lnSpc>
                <a:spcPct val="150000"/>
              </a:lnSpc>
            </a:pPr>
            <a:r>
              <a:rPr lang="el-GR" sz="3200" dirty="0"/>
              <a:t>Αθήνα, </a:t>
            </a:r>
            <a:r>
              <a:rPr lang="en-GB" sz="3200" dirty="0"/>
              <a:t>26</a:t>
            </a:r>
            <a:r>
              <a:rPr lang="el-GR" sz="3200" dirty="0"/>
              <a:t> Απριλίου 2023</a:t>
            </a:r>
          </a:p>
        </p:txBody>
      </p:sp>
    </p:spTree>
    <p:extLst>
      <p:ext uri="{BB962C8B-B14F-4D97-AF65-F5344CB8AC3E}">
        <p14:creationId xmlns:p14="http://schemas.microsoft.com/office/powerpoint/2010/main" val="371211591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350">
            <a:extLst>
              <a:ext uri="{FF2B5EF4-FFF2-40B4-BE49-F238E27FC236}">
                <a16:creationId xmlns:a16="http://schemas.microsoft.com/office/drawing/2014/main" xmlns="" id="{8AD2983E-D591-E443-9BB2-4494207430EF}"/>
              </a:ext>
            </a:extLst>
          </p:cNvPr>
          <p:cNvSpPr txBox="1"/>
          <p:nvPr/>
        </p:nvSpPr>
        <p:spPr>
          <a:xfrm>
            <a:off x="1399336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1AB5DBC-14DC-134F-9718-D272DCBB189C}"/>
              </a:ext>
            </a:extLst>
          </p:cNvPr>
          <p:cNvSpPr txBox="1"/>
          <p:nvPr/>
        </p:nvSpPr>
        <p:spPr>
          <a:xfrm>
            <a:off x="1399336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ap current patient pathway to care, including from diagnosis to referral &amp; to administration to identify areas for optimization</a:t>
            </a:r>
          </a:p>
        </p:txBody>
      </p:sp>
      <p:sp>
        <p:nvSpPr>
          <p:cNvPr id="8" name="CuadroTexto 351">
            <a:extLst>
              <a:ext uri="{FF2B5EF4-FFF2-40B4-BE49-F238E27FC236}">
                <a16:creationId xmlns:a16="http://schemas.microsoft.com/office/drawing/2014/main" xmlns="" id="{B3FB0433-90AF-B34A-A542-47254409958D}"/>
              </a:ext>
            </a:extLst>
          </p:cNvPr>
          <p:cNvSpPr txBox="1"/>
          <p:nvPr/>
        </p:nvSpPr>
        <p:spPr>
          <a:xfrm>
            <a:off x="1399336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Map</a:t>
            </a:r>
          </a:p>
        </p:txBody>
      </p:sp>
      <p:sp>
        <p:nvSpPr>
          <p:cNvPr id="11" name="CuadroTexto 350">
            <a:extLst>
              <a:ext uri="{FF2B5EF4-FFF2-40B4-BE49-F238E27FC236}">
                <a16:creationId xmlns:a16="http://schemas.microsoft.com/office/drawing/2014/main" xmlns="" id="{25629FDF-E755-BF47-9ADB-454346411CE8}"/>
              </a:ext>
            </a:extLst>
          </p:cNvPr>
          <p:cNvSpPr txBox="1"/>
          <p:nvPr/>
        </p:nvSpPr>
        <p:spPr>
          <a:xfrm>
            <a:off x="6885675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7E6BB7F-CCA4-0F40-AD32-E8E1DEABA946}"/>
              </a:ext>
            </a:extLst>
          </p:cNvPr>
          <p:cNvSpPr txBox="1"/>
          <p:nvPr/>
        </p:nvSpPr>
        <p:spPr>
          <a:xfrm>
            <a:off x="6885673" y="9840977"/>
            <a:ext cx="5985195" cy="3186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sign a standardized process for patient access to care, including full process flows (e.g., referral pathways), R&amp;Rs &amp; required infrastructure (e.g., patient registry, incl. with longer term clinical outcomes)</a:t>
            </a:r>
          </a:p>
        </p:txBody>
      </p:sp>
      <p:sp>
        <p:nvSpPr>
          <p:cNvPr id="13" name="CuadroTexto 351">
            <a:extLst>
              <a:ext uri="{FF2B5EF4-FFF2-40B4-BE49-F238E27FC236}">
                <a16:creationId xmlns:a16="http://schemas.microsoft.com/office/drawing/2014/main" xmlns="" id="{2177F7D8-279A-4F4A-B585-21C67CD5F91B}"/>
              </a:ext>
            </a:extLst>
          </p:cNvPr>
          <p:cNvSpPr txBox="1"/>
          <p:nvPr/>
        </p:nvSpPr>
        <p:spPr>
          <a:xfrm>
            <a:off x="6885675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Design</a:t>
            </a:r>
          </a:p>
        </p:txBody>
      </p:sp>
      <p:sp>
        <p:nvSpPr>
          <p:cNvPr id="15" name="CuadroTexto 350">
            <a:extLst>
              <a:ext uri="{FF2B5EF4-FFF2-40B4-BE49-F238E27FC236}">
                <a16:creationId xmlns:a16="http://schemas.microsoft.com/office/drawing/2014/main" xmlns="" id="{81A9E447-F9FE-4E44-8053-2C7B322F56D5}"/>
              </a:ext>
            </a:extLst>
          </p:cNvPr>
          <p:cNvSpPr txBox="1"/>
          <p:nvPr/>
        </p:nvSpPr>
        <p:spPr>
          <a:xfrm>
            <a:off x="12981622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1AB533C9-FB31-4349-A7F1-FC58E91730C0}"/>
              </a:ext>
            </a:extLst>
          </p:cNvPr>
          <p:cNvSpPr txBox="1"/>
          <p:nvPr/>
        </p:nvSpPr>
        <p:spPr>
          <a:xfrm>
            <a:off x="12981621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iscuss the proposed paradigm with select clinical / health policy experts to validate principles and proof of concept</a:t>
            </a:r>
          </a:p>
        </p:txBody>
      </p:sp>
      <p:sp>
        <p:nvSpPr>
          <p:cNvPr id="17" name="CuadroTexto 351">
            <a:extLst>
              <a:ext uri="{FF2B5EF4-FFF2-40B4-BE49-F238E27FC236}">
                <a16:creationId xmlns:a16="http://schemas.microsoft.com/office/drawing/2014/main" xmlns="" id="{3DCCBA54-04B8-E54C-AE8C-F0E2AFE36F83}"/>
              </a:ext>
            </a:extLst>
          </p:cNvPr>
          <p:cNvSpPr txBox="1"/>
          <p:nvPr/>
        </p:nvSpPr>
        <p:spPr>
          <a:xfrm>
            <a:off x="12981622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Vali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488CAA4-B19A-F06E-F7D0-5E13D51CE056}"/>
              </a:ext>
            </a:extLst>
          </p:cNvPr>
          <p:cNvSpPr txBox="1"/>
          <p:nvPr/>
        </p:nvSpPr>
        <p:spPr>
          <a:xfrm>
            <a:off x="436098" y="13316328"/>
            <a:ext cx="8877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Poppins" pitchFamily="2" charset="0"/>
                <a:cs typeface="Poppins" pitchFamily="2" charset="0"/>
              </a:rPr>
              <a:t>© The Health Policy Institute. Confidential and Proprietary. Submitted for discussion purposes only.</a:t>
            </a:r>
            <a:endParaRPr lang="el-GR" sz="1400" dirty="0">
              <a:solidFill>
                <a:schemeClr val="bg1"/>
              </a:solidFill>
              <a:cs typeface="Poppins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865847" y="408158"/>
            <a:ext cx="7532832" cy="8002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el-GR" sz="40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. Λόγοι επίσκεψης σε φαρμακείο</a:t>
            </a:r>
          </a:p>
        </p:txBody>
      </p:sp>
      <p:graphicFrame>
        <p:nvGraphicFramePr>
          <p:cNvPr id="3" name="Γράφημα 2">
            <a:extLst>
              <a:ext uri="{FF2B5EF4-FFF2-40B4-BE49-F238E27FC236}">
                <a16:creationId xmlns:a16="http://schemas.microsoft.com/office/drawing/2014/main" xmlns="" id="{2D3F3471-08F5-1F3D-DE0A-9DCFFC68CD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55937"/>
              </p:ext>
            </p:extLst>
          </p:nvPr>
        </p:nvGraphicFramePr>
        <p:xfrm>
          <a:off x="280588" y="3420122"/>
          <a:ext cx="24103412" cy="10519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82DDF830-1D87-36E1-9BAA-5DECCB0A5FF7}"/>
              </a:ext>
            </a:extLst>
          </p:cNvPr>
          <p:cNvSpPr txBox="1"/>
          <p:nvPr/>
        </p:nvSpPr>
        <p:spPr>
          <a:xfrm>
            <a:off x="5552475" y="1081790"/>
            <a:ext cx="19070192" cy="24679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Aft>
                <a:spcPts val="1000"/>
              </a:spcAft>
            </a:pPr>
            <a:r>
              <a:rPr lang="el-GR" sz="6600" b="1" dirty="0">
                <a:solidFill>
                  <a:srgbClr val="92CDDC"/>
                </a:solidFill>
                <a:latin typeface="Wide Latin" panose="020A0A070505050204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el-GR" sz="6600" b="1" dirty="0">
                <a:solidFill>
                  <a:srgbClr val="92CDDC"/>
                </a:solidFill>
                <a:effectLst/>
                <a:latin typeface="Wide Latin" panose="020A0A070505050204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  <a:r>
              <a:rPr lang="el-GR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ΕΡΩΤΗΣΗ</a:t>
            </a:r>
            <a:r>
              <a:rPr lang="el-GR" sz="32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l-GR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3600" b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Έχετε κάνει ποτέ χρήση κάποιων από τις παρακάτω υπηρεσίες στο φαρμακείο;</a:t>
            </a:r>
            <a:endParaRPr lang="en-GB" sz="3600" dirty="0">
              <a:solidFill>
                <a:srgbClr val="0070C0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2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Πολλαπλή Απάντηση</a:t>
            </a:r>
            <a:endParaRPr lang="el-GR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Ευθεία γραμμή σύνδεσης 13">
            <a:extLst>
              <a:ext uri="{FF2B5EF4-FFF2-40B4-BE49-F238E27FC236}">
                <a16:creationId xmlns:a16="http://schemas.microsoft.com/office/drawing/2014/main" xmlns="" id="{8BEE8C50-5666-7385-6C07-709F106C6C29}"/>
              </a:ext>
            </a:extLst>
          </p:cNvPr>
          <p:cNvCxnSpPr>
            <a:cxnSpLocks/>
          </p:cNvCxnSpPr>
          <p:nvPr/>
        </p:nvCxnSpPr>
        <p:spPr>
          <a:xfrm>
            <a:off x="5611234" y="3012670"/>
            <a:ext cx="15281964" cy="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55742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350">
            <a:extLst>
              <a:ext uri="{FF2B5EF4-FFF2-40B4-BE49-F238E27FC236}">
                <a16:creationId xmlns:a16="http://schemas.microsoft.com/office/drawing/2014/main" xmlns="" id="{8AD2983E-D591-E443-9BB2-4494207430EF}"/>
              </a:ext>
            </a:extLst>
          </p:cNvPr>
          <p:cNvSpPr txBox="1"/>
          <p:nvPr/>
        </p:nvSpPr>
        <p:spPr>
          <a:xfrm>
            <a:off x="1399336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1AB5DBC-14DC-134F-9718-D272DCBB189C}"/>
              </a:ext>
            </a:extLst>
          </p:cNvPr>
          <p:cNvSpPr txBox="1"/>
          <p:nvPr/>
        </p:nvSpPr>
        <p:spPr>
          <a:xfrm>
            <a:off x="1399336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ap current patient pathway to care, including from diagnosis to referral &amp; to administration to identify areas for optimization</a:t>
            </a:r>
          </a:p>
        </p:txBody>
      </p:sp>
      <p:sp>
        <p:nvSpPr>
          <p:cNvPr id="8" name="CuadroTexto 351">
            <a:extLst>
              <a:ext uri="{FF2B5EF4-FFF2-40B4-BE49-F238E27FC236}">
                <a16:creationId xmlns:a16="http://schemas.microsoft.com/office/drawing/2014/main" xmlns="" id="{B3FB0433-90AF-B34A-A542-47254409958D}"/>
              </a:ext>
            </a:extLst>
          </p:cNvPr>
          <p:cNvSpPr txBox="1"/>
          <p:nvPr/>
        </p:nvSpPr>
        <p:spPr>
          <a:xfrm>
            <a:off x="1399336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Map</a:t>
            </a:r>
          </a:p>
        </p:txBody>
      </p:sp>
      <p:sp>
        <p:nvSpPr>
          <p:cNvPr id="11" name="CuadroTexto 350">
            <a:extLst>
              <a:ext uri="{FF2B5EF4-FFF2-40B4-BE49-F238E27FC236}">
                <a16:creationId xmlns:a16="http://schemas.microsoft.com/office/drawing/2014/main" xmlns="" id="{25629FDF-E755-BF47-9ADB-454346411CE8}"/>
              </a:ext>
            </a:extLst>
          </p:cNvPr>
          <p:cNvSpPr txBox="1"/>
          <p:nvPr/>
        </p:nvSpPr>
        <p:spPr>
          <a:xfrm>
            <a:off x="6885675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2</a:t>
            </a:r>
          </a:p>
        </p:txBody>
      </p:sp>
      <p:sp>
        <p:nvSpPr>
          <p:cNvPr id="13" name="CuadroTexto 351">
            <a:extLst>
              <a:ext uri="{FF2B5EF4-FFF2-40B4-BE49-F238E27FC236}">
                <a16:creationId xmlns:a16="http://schemas.microsoft.com/office/drawing/2014/main" xmlns="" id="{2177F7D8-279A-4F4A-B585-21C67CD5F91B}"/>
              </a:ext>
            </a:extLst>
          </p:cNvPr>
          <p:cNvSpPr txBox="1"/>
          <p:nvPr/>
        </p:nvSpPr>
        <p:spPr>
          <a:xfrm>
            <a:off x="6885675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Design</a:t>
            </a:r>
          </a:p>
        </p:txBody>
      </p:sp>
      <p:sp>
        <p:nvSpPr>
          <p:cNvPr id="15" name="CuadroTexto 350">
            <a:extLst>
              <a:ext uri="{FF2B5EF4-FFF2-40B4-BE49-F238E27FC236}">
                <a16:creationId xmlns:a16="http://schemas.microsoft.com/office/drawing/2014/main" xmlns="" id="{81A9E447-F9FE-4E44-8053-2C7B322F56D5}"/>
              </a:ext>
            </a:extLst>
          </p:cNvPr>
          <p:cNvSpPr txBox="1"/>
          <p:nvPr/>
        </p:nvSpPr>
        <p:spPr>
          <a:xfrm>
            <a:off x="12981622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1AB533C9-FB31-4349-A7F1-FC58E91730C0}"/>
              </a:ext>
            </a:extLst>
          </p:cNvPr>
          <p:cNvSpPr txBox="1"/>
          <p:nvPr/>
        </p:nvSpPr>
        <p:spPr>
          <a:xfrm>
            <a:off x="12981621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iscuss the proposed paradigm with select clinical / health policy experts to validate principles and proof of concept</a:t>
            </a:r>
          </a:p>
        </p:txBody>
      </p:sp>
      <p:sp>
        <p:nvSpPr>
          <p:cNvPr id="17" name="CuadroTexto 351">
            <a:extLst>
              <a:ext uri="{FF2B5EF4-FFF2-40B4-BE49-F238E27FC236}">
                <a16:creationId xmlns:a16="http://schemas.microsoft.com/office/drawing/2014/main" xmlns="" id="{3DCCBA54-04B8-E54C-AE8C-F0E2AFE36F83}"/>
              </a:ext>
            </a:extLst>
          </p:cNvPr>
          <p:cNvSpPr txBox="1"/>
          <p:nvPr/>
        </p:nvSpPr>
        <p:spPr>
          <a:xfrm>
            <a:off x="12981622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Vali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488CAA4-B19A-F06E-F7D0-5E13D51CE056}"/>
              </a:ext>
            </a:extLst>
          </p:cNvPr>
          <p:cNvSpPr txBox="1"/>
          <p:nvPr/>
        </p:nvSpPr>
        <p:spPr>
          <a:xfrm>
            <a:off x="436098" y="13316328"/>
            <a:ext cx="8877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Poppins" pitchFamily="2" charset="0"/>
                <a:cs typeface="Poppins" pitchFamily="2" charset="0"/>
              </a:rPr>
              <a:t>© The Health Policy Institute. Confidential and Proprietary. Submitted for discussion purposes only.</a:t>
            </a:r>
            <a:endParaRPr lang="el-GR" sz="1400" dirty="0">
              <a:solidFill>
                <a:schemeClr val="bg1"/>
              </a:solidFill>
              <a:cs typeface="Poppins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865847" y="808268"/>
            <a:ext cx="7532832" cy="8002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el-GR" sz="40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. Λόγοι επίσκεψης σε φαρμακείο</a:t>
            </a:r>
          </a:p>
        </p:txBody>
      </p:sp>
      <p:graphicFrame>
        <p:nvGraphicFramePr>
          <p:cNvPr id="3" name="Γράφημα 2">
            <a:extLst>
              <a:ext uri="{FF2B5EF4-FFF2-40B4-BE49-F238E27FC236}">
                <a16:creationId xmlns:a16="http://schemas.microsoft.com/office/drawing/2014/main" xmlns="" id="{039E58F1-004B-7197-2809-34E4CAF88E1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69312112"/>
              </p:ext>
            </p:extLst>
          </p:nvPr>
        </p:nvGraphicFramePr>
        <p:xfrm>
          <a:off x="3892589" y="4631965"/>
          <a:ext cx="17479347" cy="89921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86BDE52A-FB5B-0177-C46E-84D9457EFAD1}"/>
              </a:ext>
            </a:extLst>
          </p:cNvPr>
          <p:cNvSpPr txBox="1"/>
          <p:nvPr/>
        </p:nvSpPr>
        <p:spPr>
          <a:xfrm>
            <a:off x="6166872" y="1871273"/>
            <a:ext cx="14047509" cy="26253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6600" b="1" dirty="0">
                <a:solidFill>
                  <a:srgbClr val="92CDDC"/>
                </a:solidFill>
                <a:latin typeface="Wide Latin" panose="020A0A070505050204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lang="el-GR" sz="6600" b="1" dirty="0">
                <a:solidFill>
                  <a:srgbClr val="92CDDC"/>
                </a:solidFill>
                <a:effectLst/>
                <a:latin typeface="Wide Latin" panose="020A0A070505050204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  <a:r>
              <a:rPr lang="el-GR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ΕΡΩΤΗΣΗ</a:t>
            </a:r>
            <a:r>
              <a:rPr lang="el-GR" sz="32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l-GR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3600" b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Θα εμπιστευόσασταν τις συμβουλές του φαρμακοποιού σας σχετικά με άλλα ιατρικά θέματα πέραν των φαρμάκων σας;</a:t>
            </a:r>
            <a:endParaRPr lang="el-GR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Ευθεία γραμμή σύνδεσης 13">
            <a:extLst>
              <a:ext uri="{FF2B5EF4-FFF2-40B4-BE49-F238E27FC236}">
                <a16:creationId xmlns:a16="http://schemas.microsoft.com/office/drawing/2014/main" xmlns="" id="{5D481CC5-D6A9-1614-CEDF-3F3B138B517B}"/>
              </a:ext>
            </a:extLst>
          </p:cNvPr>
          <p:cNvCxnSpPr>
            <a:cxnSpLocks/>
          </p:cNvCxnSpPr>
          <p:nvPr/>
        </p:nvCxnSpPr>
        <p:spPr>
          <a:xfrm>
            <a:off x="6166872" y="4496672"/>
            <a:ext cx="14047509" cy="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xmlns="" id="{7A04F75A-1DCD-4D26-B4E7-426E46B8C675}"/>
              </a:ext>
            </a:extLst>
          </p:cNvPr>
          <p:cNvSpPr/>
          <p:nvPr/>
        </p:nvSpPr>
        <p:spPr>
          <a:xfrm>
            <a:off x="20099215" y="5767754"/>
            <a:ext cx="1776047" cy="109024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3600" b="1" dirty="0"/>
              <a:t>54.5%</a:t>
            </a:r>
            <a:endParaRPr lang="en-US" sz="3600" b="1" dirty="0"/>
          </a:p>
        </p:txBody>
      </p:sp>
    </p:spTree>
    <p:extLst>
      <p:ext uri="{BB962C8B-B14F-4D97-AF65-F5344CB8AC3E}">
        <p14:creationId xmlns:p14="http://schemas.microsoft.com/office/powerpoint/2010/main" val="28432564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350">
            <a:extLst>
              <a:ext uri="{FF2B5EF4-FFF2-40B4-BE49-F238E27FC236}">
                <a16:creationId xmlns:a16="http://schemas.microsoft.com/office/drawing/2014/main" xmlns="" id="{8AD2983E-D591-E443-9BB2-4494207430EF}"/>
              </a:ext>
            </a:extLst>
          </p:cNvPr>
          <p:cNvSpPr txBox="1"/>
          <p:nvPr/>
        </p:nvSpPr>
        <p:spPr>
          <a:xfrm>
            <a:off x="1399336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1AB5DBC-14DC-134F-9718-D272DCBB189C}"/>
              </a:ext>
            </a:extLst>
          </p:cNvPr>
          <p:cNvSpPr txBox="1"/>
          <p:nvPr/>
        </p:nvSpPr>
        <p:spPr>
          <a:xfrm>
            <a:off x="1399336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ap current patient pathway to care, including from diagnosis to referral &amp; to administration to identify areas for optimization</a:t>
            </a:r>
          </a:p>
        </p:txBody>
      </p:sp>
      <p:sp>
        <p:nvSpPr>
          <p:cNvPr id="11" name="CuadroTexto 350">
            <a:extLst>
              <a:ext uri="{FF2B5EF4-FFF2-40B4-BE49-F238E27FC236}">
                <a16:creationId xmlns:a16="http://schemas.microsoft.com/office/drawing/2014/main" xmlns="" id="{25629FDF-E755-BF47-9ADB-454346411CE8}"/>
              </a:ext>
            </a:extLst>
          </p:cNvPr>
          <p:cNvSpPr txBox="1"/>
          <p:nvPr/>
        </p:nvSpPr>
        <p:spPr>
          <a:xfrm>
            <a:off x="6885675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7E6BB7F-CCA4-0F40-AD32-E8E1DEABA946}"/>
              </a:ext>
            </a:extLst>
          </p:cNvPr>
          <p:cNvSpPr txBox="1"/>
          <p:nvPr/>
        </p:nvSpPr>
        <p:spPr>
          <a:xfrm>
            <a:off x="6885673" y="9840977"/>
            <a:ext cx="5985195" cy="3186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sign a standardized process for patient access to care, including full process flows (e.g., referral pathways), R&amp;Rs &amp; required infrastructure (e.g., patient registry, incl. with longer term clinical outcomes)</a:t>
            </a:r>
          </a:p>
        </p:txBody>
      </p:sp>
      <p:sp>
        <p:nvSpPr>
          <p:cNvPr id="13" name="CuadroTexto 351">
            <a:extLst>
              <a:ext uri="{FF2B5EF4-FFF2-40B4-BE49-F238E27FC236}">
                <a16:creationId xmlns:a16="http://schemas.microsoft.com/office/drawing/2014/main" xmlns="" id="{2177F7D8-279A-4F4A-B585-21C67CD5F91B}"/>
              </a:ext>
            </a:extLst>
          </p:cNvPr>
          <p:cNvSpPr txBox="1"/>
          <p:nvPr/>
        </p:nvSpPr>
        <p:spPr>
          <a:xfrm>
            <a:off x="6885675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Design</a:t>
            </a:r>
          </a:p>
        </p:txBody>
      </p:sp>
      <p:sp>
        <p:nvSpPr>
          <p:cNvPr id="15" name="CuadroTexto 350">
            <a:extLst>
              <a:ext uri="{FF2B5EF4-FFF2-40B4-BE49-F238E27FC236}">
                <a16:creationId xmlns:a16="http://schemas.microsoft.com/office/drawing/2014/main" xmlns="" id="{81A9E447-F9FE-4E44-8053-2C7B322F56D5}"/>
              </a:ext>
            </a:extLst>
          </p:cNvPr>
          <p:cNvSpPr txBox="1"/>
          <p:nvPr/>
        </p:nvSpPr>
        <p:spPr>
          <a:xfrm>
            <a:off x="12981622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1AB533C9-FB31-4349-A7F1-FC58E91730C0}"/>
              </a:ext>
            </a:extLst>
          </p:cNvPr>
          <p:cNvSpPr txBox="1"/>
          <p:nvPr/>
        </p:nvSpPr>
        <p:spPr>
          <a:xfrm>
            <a:off x="12981621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iscuss the proposed paradigm with select clinical / health policy experts to validate principles and proof of concept</a:t>
            </a:r>
          </a:p>
        </p:txBody>
      </p:sp>
      <p:sp>
        <p:nvSpPr>
          <p:cNvPr id="17" name="CuadroTexto 351">
            <a:extLst>
              <a:ext uri="{FF2B5EF4-FFF2-40B4-BE49-F238E27FC236}">
                <a16:creationId xmlns:a16="http://schemas.microsoft.com/office/drawing/2014/main" xmlns="" id="{3DCCBA54-04B8-E54C-AE8C-F0E2AFE36F83}"/>
              </a:ext>
            </a:extLst>
          </p:cNvPr>
          <p:cNvSpPr txBox="1"/>
          <p:nvPr/>
        </p:nvSpPr>
        <p:spPr>
          <a:xfrm>
            <a:off x="12981622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Vali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488CAA4-B19A-F06E-F7D0-5E13D51CE056}"/>
              </a:ext>
            </a:extLst>
          </p:cNvPr>
          <p:cNvSpPr txBox="1"/>
          <p:nvPr/>
        </p:nvSpPr>
        <p:spPr>
          <a:xfrm>
            <a:off x="436098" y="13316328"/>
            <a:ext cx="8877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Poppins" pitchFamily="2" charset="0"/>
                <a:cs typeface="Poppins" pitchFamily="2" charset="0"/>
              </a:rPr>
              <a:t>© The Health Policy Institute. Confidential and Proprietary. Submitted for discussion purposes only.</a:t>
            </a:r>
            <a:endParaRPr lang="el-GR" sz="1400" dirty="0">
              <a:solidFill>
                <a:schemeClr val="bg1"/>
              </a:solidFill>
              <a:cs typeface="Poppins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865847" y="808268"/>
            <a:ext cx="7532832" cy="8002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el-GR" sz="40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. Λόγοι επίσκεψης σε φαρμακείο</a:t>
            </a:r>
          </a:p>
        </p:txBody>
      </p:sp>
      <p:graphicFrame>
        <p:nvGraphicFramePr>
          <p:cNvPr id="5" name="Γράφημα 4">
            <a:extLst>
              <a:ext uri="{FF2B5EF4-FFF2-40B4-BE49-F238E27FC236}">
                <a16:creationId xmlns:a16="http://schemas.microsoft.com/office/drawing/2014/main" xmlns="" id="{164697ED-9029-E606-CB24-3E9888B51A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36022934"/>
              </p:ext>
            </p:extLst>
          </p:nvPr>
        </p:nvGraphicFramePr>
        <p:xfrm>
          <a:off x="7441313" y="2204973"/>
          <a:ext cx="16668989" cy="114191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A0E13C1C-0984-217E-3DEA-8969C5AB903A}"/>
              </a:ext>
            </a:extLst>
          </p:cNvPr>
          <p:cNvSpPr txBox="1"/>
          <p:nvPr/>
        </p:nvSpPr>
        <p:spPr>
          <a:xfrm>
            <a:off x="646554" y="2435551"/>
            <a:ext cx="6275696" cy="4496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6600" b="1" dirty="0">
                <a:solidFill>
                  <a:srgbClr val="92CDDC"/>
                </a:solidFill>
                <a:latin typeface="Wide Latin" panose="020A0A070505050204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7</a:t>
            </a:r>
            <a:r>
              <a:rPr lang="el-GR" sz="6600" b="1" dirty="0">
                <a:solidFill>
                  <a:srgbClr val="92CDDC"/>
                </a:solidFill>
                <a:effectLst/>
                <a:latin typeface="Wide Latin" panose="020A0A070505050204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  <a:r>
              <a:rPr lang="el-GR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ΕΡΩΤΗΣΗ</a:t>
            </a:r>
            <a:r>
              <a:rPr lang="el-GR" sz="32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l-GR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3600" b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Θα θέλατε / θεωρείτε πως θα έπρεπε ο φαρμακοποιός σας να παρέχει κάποιες από τις παρακάτω υπηρεσίες;</a:t>
            </a:r>
            <a:endParaRPr lang="el-GR" sz="36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/>
            <a:r>
              <a:rPr lang="el-GR" sz="28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Πολλαπλή Απάντηση</a:t>
            </a:r>
            <a:endParaRPr lang="el-GR" sz="6600" dirty="0"/>
          </a:p>
        </p:txBody>
      </p:sp>
      <p:cxnSp>
        <p:nvCxnSpPr>
          <p:cNvPr id="14" name="Ευθεία γραμμή σύνδεσης 13">
            <a:extLst>
              <a:ext uri="{FF2B5EF4-FFF2-40B4-BE49-F238E27FC236}">
                <a16:creationId xmlns:a16="http://schemas.microsoft.com/office/drawing/2014/main" xmlns="" id="{6DCD55D6-D0DB-2636-1FD9-58A898BFA6A5}"/>
              </a:ext>
            </a:extLst>
          </p:cNvPr>
          <p:cNvCxnSpPr>
            <a:cxnSpLocks/>
          </p:cNvCxnSpPr>
          <p:nvPr/>
        </p:nvCxnSpPr>
        <p:spPr>
          <a:xfrm>
            <a:off x="758267" y="6314969"/>
            <a:ext cx="6275695" cy="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20753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350">
            <a:extLst>
              <a:ext uri="{FF2B5EF4-FFF2-40B4-BE49-F238E27FC236}">
                <a16:creationId xmlns:a16="http://schemas.microsoft.com/office/drawing/2014/main" xmlns="" id="{8AD2983E-D591-E443-9BB2-4494207430EF}"/>
              </a:ext>
            </a:extLst>
          </p:cNvPr>
          <p:cNvSpPr txBox="1"/>
          <p:nvPr/>
        </p:nvSpPr>
        <p:spPr>
          <a:xfrm>
            <a:off x="1399336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1AB5DBC-14DC-134F-9718-D272DCBB189C}"/>
              </a:ext>
            </a:extLst>
          </p:cNvPr>
          <p:cNvSpPr txBox="1"/>
          <p:nvPr/>
        </p:nvSpPr>
        <p:spPr>
          <a:xfrm>
            <a:off x="1399336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ap current patient pathway to care, including from diagnosis to referral &amp; to administration to identify areas for optimization</a:t>
            </a:r>
          </a:p>
        </p:txBody>
      </p:sp>
      <p:sp>
        <p:nvSpPr>
          <p:cNvPr id="8" name="CuadroTexto 351">
            <a:extLst>
              <a:ext uri="{FF2B5EF4-FFF2-40B4-BE49-F238E27FC236}">
                <a16:creationId xmlns:a16="http://schemas.microsoft.com/office/drawing/2014/main" xmlns="" id="{B3FB0433-90AF-B34A-A542-47254409958D}"/>
              </a:ext>
            </a:extLst>
          </p:cNvPr>
          <p:cNvSpPr txBox="1"/>
          <p:nvPr/>
        </p:nvSpPr>
        <p:spPr>
          <a:xfrm>
            <a:off x="1399336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Map</a:t>
            </a:r>
          </a:p>
        </p:txBody>
      </p:sp>
      <p:sp>
        <p:nvSpPr>
          <p:cNvPr id="11" name="CuadroTexto 350">
            <a:extLst>
              <a:ext uri="{FF2B5EF4-FFF2-40B4-BE49-F238E27FC236}">
                <a16:creationId xmlns:a16="http://schemas.microsoft.com/office/drawing/2014/main" xmlns="" id="{25629FDF-E755-BF47-9ADB-454346411CE8}"/>
              </a:ext>
            </a:extLst>
          </p:cNvPr>
          <p:cNvSpPr txBox="1"/>
          <p:nvPr/>
        </p:nvSpPr>
        <p:spPr>
          <a:xfrm>
            <a:off x="6885675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7E6BB7F-CCA4-0F40-AD32-E8E1DEABA946}"/>
              </a:ext>
            </a:extLst>
          </p:cNvPr>
          <p:cNvSpPr txBox="1"/>
          <p:nvPr/>
        </p:nvSpPr>
        <p:spPr>
          <a:xfrm>
            <a:off x="6885673" y="9840977"/>
            <a:ext cx="5985195" cy="3186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sign a standardized process for patient access to care, including full process flows (e.g., referral pathways), R&amp;Rs &amp; required infrastructure (e.g., patient registry, incl. with longer term clinical outcomes)</a:t>
            </a:r>
          </a:p>
        </p:txBody>
      </p:sp>
      <p:sp>
        <p:nvSpPr>
          <p:cNvPr id="13" name="CuadroTexto 351">
            <a:extLst>
              <a:ext uri="{FF2B5EF4-FFF2-40B4-BE49-F238E27FC236}">
                <a16:creationId xmlns:a16="http://schemas.microsoft.com/office/drawing/2014/main" xmlns="" id="{2177F7D8-279A-4F4A-B585-21C67CD5F91B}"/>
              </a:ext>
            </a:extLst>
          </p:cNvPr>
          <p:cNvSpPr txBox="1"/>
          <p:nvPr/>
        </p:nvSpPr>
        <p:spPr>
          <a:xfrm>
            <a:off x="6885675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Design</a:t>
            </a:r>
          </a:p>
        </p:txBody>
      </p:sp>
      <p:sp>
        <p:nvSpPr>
          <p:cNvPr id="15" name="CuadroTexto 350">
            <a:extLst>
              <a:ext uri="{FF2B5EF4-FFF2-40B4-BE49-F238E27FC236}">
                <a16:creationId xmlns:a16="http://schemas.microsoft.com/office/drawing/2014/main" xmlns="" id="{81A9E447-F9FE-4E44-8053-2C7B322F56D5}"/>
              </a:ext>
            </a:extLst>
          </p:cNvPr>
          <p:cNvSpPr txBox="1"/>
          <p:nvPr/>
        </p:nvSpPr>
        <p:spPr>
          <a:xfrm>
            <a:off x="12981622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1AB533C9-FB31-4349-A7F1-FC58E91730C0}"/>
              </a:ext>
            </a:extLst>
          </p:cNvPr>
          <p:cNvSpPr txBox="1"/>
          <p:nvPr/>
        </p:nvSpPr>
        <p:spPr>
          <a:xfrm>
            <a:off x="12981621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iscuss the proposed paradigm with select clinical / health policy experts to validate principles and proof of concept</a:t>
            </a:r>
          </a:p>
        </p:txBody>
      </p:sp>
      <p:sp>
        <p:nvSpPr>
          <p:cNvPr id="17" name="CuadroTexto 351">
            <a:extLst>
              <a:ext uri="{FF2B5EF4-FFF2-40B4-BE49-F238E27FC236}">
                <a16:creationId xmlns:a16="http://schemas.microsoft.com/office/drawing/2014/main" xmlns="" id="{3DCCBA54-04B8-E54C-AE8C-F0E2AFE36F83}"/>
              </a:ext>
            </a:extLst>
          </p:cNvPr>
          <p:cNvSpPr txBox="1"/>
          <p:nvPr/>
        </p:nvSpPr>
        <p:spPr>
          <a:xfrm>
            <a:off x="12981622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Vali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488CAA4-B19A-F06E-F7D0-5E13D51CE056}"/>
              </a:ext>
            </a:extLst>
          </p:cNvPr>
          <p:cNvSpPr txBox="1"/>
          <p:nvPr/>
        </p:nvSpPr>
        <p:spPr>
          <a:xfrm>
            <a:off x="436098" y="13316328"/>
            <a:ext cx="8877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Poppins" pitchFamily="2" charset="0"/>
                <a:cs typeface="Poppins" pitchFamily="2" charset="0"/>
              </a:rPr>
              <a:t>© The Health Policy Institute. Confidential and Proprietary. Submitted for discussion purposes only.</a:t>
            </a:r>
            <a:endParaRPr lang="el-GR" sz="1400" dirty="0">
              <a:solidFill>
                <a:schemeClr val="bg1"/>
              </a:solidFill>
              <a:cs typeface="Poppins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054453" y="808268"/>
            <a:ext cx="11155618" cy="8002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el-GR" sz="40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. Ικανοποίηση από την εμπειρία με τα φαρμακεία</a:t>
            </a:r>
          </a:p>
        </p:txBody>
      </p:sp>
      <p:graphicFrame>
        <p:nvGraphicFramePr>
          <p:cNvPr id="3" name="Γράφημα 2">
            <a:extLst>
              <a:ext uri="{FF2B5EF4-FFF2-40B4-BE49-F238E27FC236}">
                <a16:creationId xmlns:a16="http://schemas.microsoft.com/office/drawing/2014/main" xmlns="" id="{C30C4AFA-0BD6-5C56-C1BB-BC7273DC46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22647268"/>
              </p:ext>
            </p:extLst>
          </p:nvPr>
        </p:nvGraphicFramePr>
        <p:xfrm>
          <a:off x="6153946" y="4534678"/>
          <a:ext cx="14711302" cy="84929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F7D0FA4F-B035-FAF0-3331-672CA860522C}"/>
              </a:ext>
            </a:extLst>
          </p:cNvPr>
          <p:cNvSpPr txBox="1"/>
          <p:nvPr/>
        </p:nvSpPr>
        <p:spPr>
          <a:xfrm>
            <a:off x="5390835" y="1500775"/>
            <a:ext cx="16237524" cy="26253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6600" b="1" dirty="0">
                <a:solidFill>
                  <a:srgbClr val="92CDDC"/>
                </a:solidFill>
                <a:latin typeface="Wide Latin" panose="020A0A070505050204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8</a:t>
            </a:r>
            <a:r>
              <a:rPr lang="el-GR" sz="6600" b="1" dirty="0">
                <a:solidFill>
                  <a:srgbClr val="92CDDC"/>
                </a:solidFill>
                <a:effectLst/>
                <a:latin typeface="Wide Latin" panose="020A0A070505050204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  <a:r>
              <a:rPr lang="el-GR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ΕΡΩΤΗΣΗ</a:t>
            </a:r>
            <a:r>
              <a:rPr lang="el-GR" sz="32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l-GR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3600" b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Πώς θα αξιολογούσατε τη συνολική εικόνα του φαρμακείου (ή των φαρμακείων) που επισκέπτεστε τακτικά / συστηματικά;</a:t>
            </a:r>
            <a:endParaRPr lang="el-GR" sz="36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Ευθεία γραμμή σύνδεσης 13">
            <a:extLst>
              <a:ext uri="{FF2B5EF4-FFF2-40B4-BE49-F238E27FC236}">
                <a16:creationId xmlns:a16="http://schemas.microsoft.com/office/drawing/2014/main" xmlns="" id="{D22F7383-3A6D-9F46-5DCB-76C7ADDFD4FF}"/>
              </a:ext>
            </a:extLst>
          </p:cNvPr>
          <p:cNvCxnSpPr>
            <a:cxnSpLocks/>
          </p:cNvCxnSpPr>
          <p:nvPr/>
        </p:nvCxnSpPr>
        <p:spPr>
          <a:xfrm>
            <a:off x="5390835" y="4112905"/>
            <a:ext cx="15826977" cy="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xmlns="" id="{58595D7E-1D8C-4E7F-A739-A0EBDC879B04}"/>
              </a:ext>
            </a:extLst>
          </p:cNvPr>
          <p:cNvSpPr/>
          <p:nvPr/>
        </p:nvSpPr>
        <p:spPr>
          <a:xfrm>
            <a:off x="20099215" y="5767754"/>
            <a:ext cx="1776047" cy="109024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3600" b="1" dirty="0"/>
              <a:t>80.8%</a:t>
            </a:r>
            <a:endParaRPr lang="en-US" sz="3600" b="1" dirty="0"/>
          </a:p>
        </p:txBody>
      </p:sp>
    </p:spTree>
    <p:extLst>
      <p:ext uri="{BB962C8B-B14F-4D97-AF65-F5344CB8AC3E}">
        <p14:creationId xmlns:p14="http://schemas.microsoft.com/office/powerpoint/2010/main" val="38374347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350">
            <a:extLst>
              <a:ext uri="{FF2B5EF4-FFF2-40B4-BE49-F238E27FC236}">
                <a16:creationId xmlns:a16="http://schemas.microsoft.com/office/drawing/2014/main" xmlns="" id="{8AD2983E-D591-E443-9BB2-4494207430EF}"/>
              </a:ext>
            </a:extLst>
          </p:cNvPr>
          <p:cNvSpPr txBox="1"/>
          <p:nvPr/>
        </p:nvSpPr>
        <p:spPr>
          <a:xfrm>
            <a:off x="1399336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1AB5DBC-14DC-134F-9718-D272DCBB189C}"/>
              </a:ext>
            </a:extLst>
          </p:cNvPr>
          <p:cNvSpPr txBox="1"/>
          <p:nvPr/>
        </p:nvSpPr>
        <p:spPr>
          <a:xfrm>
            <a:off x="1399336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ap current patient pathway to care, including from diagnosis to referral &amp; to administration to identify areas for optimization</a:t>
            </a:r>
          </a:p>
        </p:txBody>
      </p:sp>
      <p:sp>
        <p:nvSpPr>
          <p:cNvPr id="8" name="CuadroTexto 351">
            <a:extLst>
              <a:ext uri="{FF2B5EF4-FFF2-40B4-BE49-F238E27FC236}">
                <a16:creationId xmlns:a16="http://schemas.microsoft.com/office/drawing/2014/main" xmlns="" id="{B3FB0433-90AF-B34A-A542-47254409958D}"/>
              </a:ext>
            </a:extLst>
          </p:cNvPr>
          <p:cNvSpPr txBox="1"/>
          <p:nvPr/>
        </p:nvSpPr>
        <p:spPr>
          <a:xfrm>
            <a:off x="1399336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Map</a:t>
            </a:r>
          </a:p>
        </p:txBody>
      </p:sp>
      <p:sp>
        <p:nvSpPr>
          <p:cNvPr id="11" name="CuadroTexto 350">
            <a:extLst>
              <a:ext uri="{FF2B5EF4-FFF2-40B4-BE49-F238E27FC236}">
                <a16:creationId xmlns:a16="http://schemas.microsoft.com/office/drawing/2014/main" xmlns="" id="{25629FDF-E755-BF47-9ADB-454346411CE8}"/>
              </a:ext>
            </a:extLst>
          </p:cNvPr>
          <p:cNvSpPr txBox="1"/>
          <p:nvPr/>
        </p:nvSpPr>
        <p:spPr>
          <a:xfrm>
            <a:off x="6885675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7E6BB7F-CCA4-0F40-AD32-E8E1DEABA946}"/>
              </a:ext>
            </a:extLst>
          </p:cNvPr>
          <p:cNvSpPr txBox="1"/>
          <p:nvPr/>
        </p:nvSpPr>
        <p:spPr>
          <a:xfrm>
            <a:off x="6885673" y="9840977"/>
            <a:ext cx="5985195" cy="3186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sign a standardized process for patient access to care, including full process flows (e.g., referral pathways), R&amp;Rs &amp; required infrastructure (e.g., patient registry, incl. with longer term clinical outcomes)</a:t>
            </a:r>
          </a:p>
        </p:txBody>
      </p:sp>
      <p:sp>
        <p:nvSpPr>
          <p:cNvPr id="13" name="CuadroTexto 351">
            <a:extLst>
              <a:ext uri="{FF2B5EF4-FFF2-40B4-BE49-F238E27FC236}">
                <a16:creationId xmlns:a16="http://schemas.microsoft.com/office/drawing/2014/main" xmlns="" id="{2177F7D8-279A-4F4A-B585-21C67CD5F91B}"/>
              </a:ext>
            </a:extLst>
          </p:cNvPr>
          <p:cNvSpPr txBox="1"/>
          <p:nvPr/>
        </p:nvSpPr>
        <p:spPr>
          <a:xfrm>
            <a:off x="6885675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Design</a:t>
            </a:r>
          </a:p>
        </p:txBody>
      </p:sp>
      <p:sp>
        <p:nvSpPr>
          <p:cNvPr id="15" name="CuadroTexto 350">
            <a:extLst>
              <a:ext uri="{FF2B5EF4-FFF2-40B4-BE49-F238E27FC236}">
                <a16:creationId xmlns:a16="http://schemas.microsoft.com/office/drawing/2014/main" xmlns="" id="{81A9E447-F9FE-4E44-8053-2C7B322F56D5}"/>
              </a:ext>
            </a:extLst>
          </p:cNvPr>
          <p:cNvSpPr txBox="1"/>
          <p:nvPr/>
        </p:nvSpPr>
        <p:spPr>
          <a:xfrm>
            <a:off x="12981622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1AB533C9-FB31-4349-A7F1-FC58E91730C0}"/>
              </a:ext>
            </a:extLst>
          </p:cNvPr>
          <p:cNvSpPr txBox="1"/>
          <p:nvPr/>
        </p:nvSpPr>
        <p:spPr>
          <a:xfrm>
            <a:off x="12981621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iscuss the proposed paradigm with select clinical / health policy experts to validate principles and proof of concept</a:t>
            </a:r>
          </a:p>
        </p:txBody>
      </p:sp>
      <p:sp>
        <p:nvSpPr>
          <p:cNvPr id="17" name="CuadroTexto 351">
            <a:extLst>
              <a:ext uri="{FF2B5EF4-FFF2-40B4-BE49-F238E27FC236}">
                <a16:creationId xmlns:a16="http://schemas.microsoft.com/office/drawing/2014/main" xmlns="" id="{3DCCBA54-04B8-E54C-AE8C-F0E2AFE36F83}"/>
              </a:ext>
            </a:extLst>
          </p:cNvPr>
          <p:cNvSpPr txBox="1"/>
          <p:nvPr/>
        </p:nvSpPr>
        <p:spPr>
          <a:xfrm>
            <a:off x="12981622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Vali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488CAA4-B19A-F06E-F7D0-5E13D51CE056}"/>
              </a:ext>
            </a:extLst>
          </p:cNvPr>
          <p:cNvSpPr txBox="1"/>
          <p:nvPr/>
        </p:nvSpPr>
        <p:spPr>
          <a:xfrm>
            <a:off x="436098" y="13316328"/>
            <a:ext cx="8877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Poppins" pitchFamily="2" charset="0"/>
                <a:cs typeface="Poppins" pitchFamily="2" charset="0"/>
              </a:rPr>
              <a:t>© The Health Policy Institute. Confidential and Proprietary. Submitted for discussion purposes only.</a:t>
            </a:r>
            <a:endParaRPr lang="el-GR" sz="1400" dirty="0">
              <a:solidFill>
                <a:schemeClr val="bg1"/>
              </a:solidFill>
              <a:cs typeface="Poppins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054453" y="808268"/>
            <a:ext cx="11155618" cy="8002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el-GR" sz="40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. Ικανοποίηση από την εμπειρία με τα φαρμακεία</a:t>
            </a:r>
          </a:p>
        </p:txBody>
      </p:sp>
      <p:graphicFrame>
        <p:nvGraphicFramePr>
          <p:cNvPr id="5" name="Γράφημα 4">
            <a:extLst>
              <a:ext uri="{FF2B5EF4-FFF2-40B4-BE49-F238E27FC236}">
                <a16:creationId xmlns:a16="http://schemas.microsoft.com/office/drawing/2014/main" xmlns="" id="{AE71E4A0-1D00-F4F3-0053-F94B03174A9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7902135"/>
              </p:ext>
            </p:extLst>
          </p:nvPr>
        </p:nvGraphicFramePr>
        <p:xfrm>
          <a:off x="5170669" y="4226541"/>
          <a:ext cx="14923185" cy="8603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635AE638-D7DE-BE24-FF2E-646E63D8474C}"/>
              </a:ext>
            </a:extLst>
          </p:cNvPr>
          <p:cNvSpPr txBox="1"/>
          <p:nvPr/>
        </p:nvSpPr>
        <p:spPr>
          <a:xfrm>
            <a:off x="4171009" y="1751544"/>
            <a:ext cx="17621225" cy="19883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6600" b="1" dirty="0">
                <a:solidFill>
                  <a:srgbClr val="92CDDC"/>
                </a:solidFill>
                <a:latin typeface="Wide Latin" panose="020A0A070505050204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9</a:t>
            </a:r>
            <a:r>
              <a:rPr lang="el-GR" sz="6600" b="1" dirty="0">
                <a:solidFill>
                  <a:srgbClr val="92CDDC"/>
                </a:solidFill>
                <a:effectLst/>
                <a:latin typeface="Wide Latin" panose="020A0A070505050204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  <a:r>
              <a:rPr lang="el-GR" sz="6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ΕΡΩΤΗΣΗ</a:t>
            </a:r>
            <a:r>
              <a:rPr lang="el-GR" sz="32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l-GR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3600" b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Πόσο ικανοποιημένοι είστε με τον χρόνο που χρειάζεται συνήθως για να εξυπηρετηθείτε;</a:t>
            </a:r>
            <a:endParaRPr lang="el-GR" sz="36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Ευθεία γραμμή σύνδεσης 13">
            <a:extLst>
              <a:ext uri="{FF2B5EF4-FFF2-40B4-BE49-F238E27FC236}">
                <a16:creationId xmlns:a16="http://schemas.microsoft.com/office/drawing/2014/main" xmlns="" id="{6C64027C-E866-3BE0-06C6-FF9E21BC3C53}"/>
              </a:ext>
            </a:extLst>
          </p:cNvPr>
          <p:cNvCxnSpPr>
            <a:cxnSpLocks/>
          </p:cNvCxnSpPr>
          <p:nvPr/>
        </p:nvCxnSpPr>
        <p:spPr>
          <a:xfrm>
            <a:off x="4171009" y="3739845"/>
            <a:ext cx="17121448" cy="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xmlns="" id="{BE9EC279-4FFD-4B5F-ACDA-11EC6819B604}"/>
              </a:ext>
            </a:extLst>
          </p:cNvPr>
          <p:cNvSpPr/>
          <p:nvPr/>
        </p:nvSpPr>
        <p:spPr>
          <a:xfrm>
            <a:off x="19516410" y="5767754"/>
            <a:ext cx="1776047" cy="109024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3600" b="1" dirty="0"/>
              <a:t>93%</a:t>
            </a:r>
            <a:endParaRPr lang="en-US" sz="3600" b="1" dirty="0"/>
          </a:p>
        </p:txBody>
      </p:sp>
    </p:spTree>
    <p:extLst>
      <p:ext uri="{BB962C8B-B14F-4D97-AF65-F5344CB8AC3E}">
        <p14:creationId xmlns:p14="http://schemas.microsoft.com/office/powerpoint/2010/main" val="33647092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350">
            <a:extLst>
              <a:ext uri="{FF2B5EF4-FFF2-40B4-BE49-F238E27FC236}">
                <a16:creationId xmlns:a16="http://schemas.microsoft.com/office/drawing/2014/main" xmlns="" id="{8AD2983E-D591-E443-9BB2-4494207430EF}"/>
              </a:ext>
            </a:extLst>
          </p:cNvPr>
          <p:cNvSpPr txBox="1"/>
          <p:nvPr/>
        </p:nvSpPr>
        <p:spPr>
          <a:xfrm>
            <a:off x="1399336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1AB5DBC-14DC-134F-9718-D272DCBB189C}"/>
              </a:ext>
            </a:extLst>
          </p:cNvPr>
          <p:cNvSpPr txBox="1"/>
          <p:nvPr/>
        </p:nvSpPr>
        <p:spPr>
          <a:xfrm>
            <a:off x="1399336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ap current patient pathway to care, including from diagnosis to referral &amp; to administration to identify areas for optimization</a:t>
            </a:r>
          </a:p>
        </p:txBody>
      </p:sp>
      <p:sp>
        <p:nvSpPr>
          <p:cNvPr id="8" name="CuadroTexto 351">
            <a:extLst>
              <a:ext uri="{FF2B5EF4-FFF2-40B4-BE49-F238E27FC236}">
                <a16:creationId xmlns:a16="http://schemas.microsoft.com/office/drawing/2014/main" xmlns="" id="{B3FB0433-90AF-B34A-A542-47254409958D}"/>
              </a:ext>
            </a:extLst>
          </p:cNvPr>
          <p:cNvSpPr txBox="1"/>
          <p:nvPr/>
        </p:nvSpPr>
        <p:spPr>
          <a:xfrm>
            <a:off x="1399336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Map</a:t>
            </a:r>
          </a:p>
        </p:txBody>
      </p:sp>
      <p:sp>
        <p:nvSpPr>
          <p:cNvPr id="11" name="CuadroTexto 350">
            <a:extLst>
              <a:ext uri="{FF2B5EF4-FFF2-40B4-BE49-F238E27FC236}">
                <a16:creationId xmlns:a16="http://schemas.microsoft.com/office/drawing/2014/main" xmlns="" id="{25629FDF-E755-BF47-9ADB-454346411CE8}"/>
              </a:ext>
            </a:extLst>
          </p:cNvPr>
          <p:cNvSpPr txBox="1"/>
          <p:nvPr/>
        </p:nvSpPr>
        <p:spPr>
          <a:xfrm>
            <a:off x="6885675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7E6BB7F-CCA4-0F40-AD32-E8E1DEABA946}"/>
              </a:ext>
            </a:extLst>
          </p:cNvPr>
          <p:cNvSpPr txBox="1"/>
          <p:nvPr/>
        </p:nvSpPr>
        <p:spPr>
          <a:xfrm>
            <a:off x="6885673" y="9840977"/>
            <a:ext cx="5985195" cy="3186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sign a standardized process for patient access to care, including full process flows (e.g., referral pathways), R&amp;Rs &amp; required infrastructure (e.g., patient registry, incl. with longer term clinical outcomes)</a:t>
            </a:r>
          </a:p>
        </p:txBody>
      </p:sp>
      <p:sp>
        <p:nvSpPr>
          <p:cNvPr id="13" name="CuadroTexto 351">
            <a:extLst>
              <a:ext uri="{FF2B5EF4-FFF2-40B4-BE49-F238E27FC236}">
                <a16:creationId xmlns:a16="http://schemas.microsoft.com/office/drawing/2014/main" xmlns="" id="{2177F7D8-279A-4F4A-B585-21C67CD5F91B}"/>
              </a:ext>
            </a:extLst>
          </p:cNvPr>
          <p:cNvSpPr txBox="1"/>
          <p:nvPr/>
        </p:nvSpPr>
        <p:spPr>
          <a:xfrm>
            <a:off x="6885675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Design</a:t>
            </a:r>
          </a:p>
        </p:txBody>
      </p:sp>
      <p:sp>
        <p:nvSpPr>
          <p:cNvPr id="15" name="CuadroTexto 350">
            <a:extLst>
              <a:ext uri="{FF2B5EF4-FFF2-40B4-BE49-F238E27FC236}">
                <a16:creationId xmlns:a16="http://schemas.microsoft.com/office/drawing/2014/main" xmlns="" id="{81A9E447-F9FE-4E44-8053-2C7B322F56D5}"/>
              </a:ext>
            </a:extLst>
          </p:cNvPr>
          <p:cNvSpPr txBox="1"/>
          <p:nvPr/>
        </p:nvSpPr>
        <p:spPr>
          <a:xfrm>
            <a:off x="12981622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1AB533C9-FB31-4349-A7F1-FC58E91730C0}"/>
              </a:ext>
            </a:extLst>
          </p:cNvPr>
          <p:cNvSpPr txBox="1"/>
          <p:nvPr/>
        </p:nvSpPr>
        <p:spPr>
          <a:xfrm>
            <a:off x="12981621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iscuss the proposed paradigm with select clinical / health policy experts to validate principles and proof of concept</a:t>
            </a:r>
          </a:p>
        </p:txBody>
      </p:sp>
      <p:sp>
        <p:nvSpPr>
          <p:cNvPr id="17" name="CuadroTexto 351">
            <a:extLst>
              <a:ext uri="{FF2B5EF4-FFF2-40B4-BE49-F238E27FC236}">
                <a16:creationId xmlns:a16="http://schemas.microsoft.com/office/drawing/2014/main" xmlns="" id="{3DCCBA54-04B8-E54C-AE8C-F0E2AFE36F83}"/>
              </a:ext>
            </a:extLst>
          </p:cNvPr>
          <p:cNvSpPr txBox="1"/>
          <p:nvPr/>
        </p:nvSpPr>
        <p:spPr>
          <a:xfrm>
            <a:off x="12981622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Vali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488CAA4-B19A-F06E-F7D0-5E13D51CE056}"/>
              </a:ext>
            </a:extLst>
          </p:cNvPr>
          <p:cNvSpPr txBox="1"/>
          <p:nvPr/>
        </p:nvSpPr>
        <p:spPr>
          <a:xfrm>
            <a:off x="436098" y="13316328"/>
            <a:ext cx="8877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Poppins" pitchFamily="2" charset="0"/>
                <a:cs typeface="Poppins" pitchFamily="2" charset="0"/>
              </a:rPr>
              <a:t>© The Health Policy Institute. Confidential and Proprietary. Submitted for discussion purposes only.</a:t>
            </a:r>
            <a:endParaRPr lang="el-GR" sz="1400" dirty="0">
              <a:solidFill>
                <a:schemeClr val="bg1"/>
              </a:solidFill>
              <a:cs typeface="Poppins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167807" y="665785"/>
            <a:ext cx="11155618" cy="8002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el-GR" sz="40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. Ικανοποίηση από την εμπειρία με τα φαρμακεία</a:t>
            </a:r>
          </a:p>
        </p:txBody>
      </p:sp>
      <p:graphicFrame>
        <p:nvGraphicFramePr>
          <p:cNvPr id="3" name="Γράφημα 2">
            <a:extLst>
              <a:ext uri="{FF2B5EF4-FFF2-40B4-BE49-F238E27FC236}">
                <a16:creationId xmlns:a16="http://schemas.microsoft.com/office/drawing/2014/main" xmlns="" id="{706A526F-2EC0-2A01-3BEF-533998FDB8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5726437"/>
              </p:ext>
            </p:extLst>
          </p:nvPr>
        </p:nvGraphicFramePr>
        <p:xfrm>
          <a:off x="839755" y="3633095"/>
          <a:ext cx="23108147" cy="97490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9B085375-1329-3C0C-F107-620877A7950D}"/>
              </a:ext>
            </a:extLst>
          </p:cNvPr>
          <p:cNvSpPr txBox="1"/>
          <p:nvPr/>
        </p:nvSpPr>
        <p:spPr>
          <a:xfrm>
            <a:off x="1026401" y="1466005"/>
            <a:ext cx="6646202" cy="19883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6600" b="1" dirty="0">
                <a:solidFill>
                  <a:srgbClr val="92CDDC"/>
                </a:solidFill>
                <a:effectLst/>
                <a:latin typeface="Wide Latin" panose="020A0A070505050204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10.</a:t>
            </a:r>
            <a:r>
              <a:rPr lang="el-GR" sz="6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ΕΡΩΤΗΣΗ</a:t>
            </a:r>
            <a:r>
              <a:rPr lang="el-GR" sz="32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l-GR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3600" b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Πόσο ικανοποιημένοι είστε με:</a:t>
            </a:r>
            <a:endParaRPr lang="el-GR" sz="36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Ευθεία γραμμή σύνδεσης 13">
            <a:extLst>
              <a:ext uri="{FF2B5EF4-FFF2-40B4-BE49-F238E27FC236}">
                <a16:creationId xmlns:a16="http://schemas.microsoft.com/office/drawing/2014/main" xmlns="" id="{FF144E79-7B8C-ACFF-6469-FDA25A748E6A}"/>
              </a:ext>
            </a:extLst>
          </p:cNvPr>
          <p:cNvCxnSpPr>
            <a:cxnSpLocks/>
          </p:cNvCxnSpPr>
          <p:nvPr/>
        </p:nvCxnSpPr>
        <p:spPr>
          <a:xfrm>
            <a:off x="839755" y="3543700"/>
            <a:ext cx="22561421" cy="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40064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350">
            <a:extLst>
              <a:ext uri="{FF2B5EF4-FFF2-40B4-BE49-F238E27FC236}">
                <a16:creationId xmlns:a16="http://schemas.microsoft.com/office/drawing/2014/main" xmlns="" id="{8AD2983E-D591-E443-9BB2-4494207430EF}"/>
              </a:ext>
            </a:extLst>
          </p:cNvPr>
          <p:cNvSpPr txBox="1"/>
          <p:nvPr/>
        </p:nvSpPr>
        <p:spPr>
          <a:xfrm>
            <a:off x="1399336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1AB5DBC-14DC-134F-9718-D272DCBB189C}"/>
              </a:ext>
            </a:extLst>
          </p:cNvPr>
          <p:cNvSpPr txBox="1"/>
          <p:nvPr/>
        </p:nvSpPr>
        <p:spPr>
          <a:xfrm>
            <a:off x="1399336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ap current patient pathway to care, including from diagnosis to referral &amp; to administration to identify areas for optimization</a:t>
            </a:r>
          </a:p>
        </p:txBody>
      </p:sp>
      <p:sp>
        <p:nvSpPr>
          <p:cNvPr id="8" name="CuadroTexto 351">
            <a:extLst>
              <a:ext uri="{FF2B5EF4-FFF2-40B4-BE49-F238E27FC236}">
                <a16:creationId xmlns:a16="http://schemas.microsoft.com/office/drawing/2014/main" xmlns="" id="{B3FB0433-90AF-B34A-A542-47254409958D}"/>
              </a:ext>
            </a:extLst>
          </p:cNvPr>
          <p:cNvSpPr txBox="1"/>
          <p:nvPr/>
        </p:nvSpPr>
        <p:spPr>
          <a:xfrm>
            <a:off x="1399336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Map</a:t>
            </a:r>
          </a:p>
        </p:txBody>
      </p:sp>
      <p:sp>
        <p:nvSpPr>
          <p:cNvPr id="11" name="CuadroTexto 350">
            <a:extLst>
              <a:ext uri="{FF2B5EF4-FFF2-40B4-BE49-F238E27FC236}">
                <a16:creationId xmlns:a16="http://schemas.microsoft.com/office/drawing/2014/main" xmlns="" id="{25629FDF-E755-BF47-9ADB-454346411CE8}"/>
              </a:ext>
            </a:extLst>
          </p:cNvPr>
          <p:cNvSpPr txBox="1"/>
          <p:nvPr/>
        </p:nvSpPr>
        <p:spPr>
          <a:xfrm>
            <a:off x="6885675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7E6BB7F-CCA4-0F40-AD32-E8E1DEABA946}"/>
              </a:ext>
            </a:extLst>
          </p:cNvPr>
          <p:cNvSpPr txBox="1"/>
          <p:nvPr/>
        </p:nvSpPr>
        <p:spPr>
          <a:xfrm>
            <a:off x="6885673" y="9840977"/>
            <a:ext cx="5985195" cy="3186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sign a standardized process for patient access to care, including full process flows (e.g., referral pathways), R&amp;Rs &amp; required infrastructure (e.g., patient registry, incl. with longer term clinical outcomes)</a:t>
            </a:r>
          </a:p>
        </p:txBody>
      </p:sp>
      <p:sp>
        <p:nvSpPr>
          <p:cNvPr id="13" name="CuadroTexto 351">
            <a:extLst>
              <a:ext uri="{FF2B5EF4-FFF2-40B4-BE49-F238E27FC236}">
                <a16:creationId xmlns:a16="http://schemas.microsoft.com/office/drawing/2014/main" xmlns="" id="{2177F7D8-279A-4F4A-B585-21C67CD5F91B}"/>
              </a:ext>
            </a:extLst>
          </p:cNvPr>
          <p:cNvSpPr txBox="1"/>
          <p:nvPr/>
        </p:nvSpPr>
        <p:spPr>
          <a:xfrm>
            <a:off x="6885675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Design</a:t>
            </a:r>
          </a:p>
        </p:txBody>
      </p:sp>
      <p:sp>
        <p:nvSpPr>
          <p:cNvPr id="15" name="CuadroTexto 350">
            <a:extLst>
              <a:ext uri="{FF2B5EF4-FFF2-40B4-BE49-F238E27FC236}">
                <a16:creationId xmlns:a16="http://schemas.microsoft.com/office/drawing/2014/main" xmlns="" id="{81A9E447-F9FE-4E44-8053-2C7B322F56D5}"/>
              </a:ext>
            </a:extLst>
          </p:cNvPr>
          <p:cNvSpPr txBox="1"/>
          <p:nvPr/>
        </p:nvSpPr>
        <p:spPr>
          <a:xfrm>
            <a:off x="12981622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1AB533C9-FB31-4349-A7F1-FC58E91730C0}"/>
              </a:ext>
            </a:extLst>
          </p:cNvPr>
          <p:cNvSpPr txBox="1"/>
          <p:nvPr/>
        </p:nvSpPr>
        <p:spPr>
          <a:xfrm>
            <a:off x="12981621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iscuss the proposed paradigm with select clinical / health policy experts to validate principles and proof of concept</a:t>
            </a:r>
          </a:p>
        </p:txBody>
      </p:sp>
      <p:sp>
        <p:nvSpPr>
          <p:cNvPr id="17" name="CuadroTexto 351">
            <a:extLst>
              <a:ext uri="{FF2B5EF4-FFF2-40B4-BE49-F238E27FC236}">
                <a16:creationId xmlns:a16="http://schemas.microsoft.com/office/drawing/2014/main" xmlns="" id="{3DCCBA54-04B8-E54C-AE8C-F0E2AFE36F83}"/>
              </a:ext>
            </a:extLst>
          </p:cNvPr>
          <p:cNvSpPr txBox="1"/>
          <p:nvPr/>
        </p:nvSpPr>
        <p:spPr>
          <a:xfrm>
            <a:off x="12981622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Vali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488CAA4-B19A-F06E-F7D0-5E13D51CE056}"/>
              </a:ext>
            </a:extLst>
          </p:cNvPr>
          <p:cNvSpPr txBox="1"/>
          <p:nvPr/>
        </p:nvSpPr>
        <p:spPr>
          <a:xfrm>
            <a:off x="436098" y="13316328"/>
            <a:ext cx="8877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Poppins" pitchFamily="2" charset="0"/>
                <a:cs typeface="Poppins" pitchFamily="2" charset="0"/>
              </a:rPr>
              <a:t>© The Health Policy Institute. Confidential and Proprietary. Submitted for discussion purposes only.</a:t>
            </a:r>
            <a:endParaRPr lang="el-GR" sz="1400" dirty="0">
              <a:solidFill>
                <a:schemeClr val="bg1"/>
              </a:solidFill>
              <a:cs typeface="Poppins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9499833" y="808268"/>
            <a:ext cx="6264857" cy="75866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el-GR" sz="40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. Φαρμακεία και πανδημία</a:t>
            </a:r>
          </a:p>
        </p:txBody>
      </p:sp>
      <p:graphicFrame>
        <p:nvGraphicFramePr>
          <p:cNvPr id="5" name="Γράφημα 4">
            <a:extLst>
              <a:ext uri="{FF2B5EF4-FFF2-40B4-BE49-F238E27FC236}">
                <a16:creationId xmlns:a16="http://schemas.microsoft.com/office/drawing/2014/main" xmlns="" id="{4B3D3E41-D812-17A9-6B8E-2DD20FB901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0334253"/>
              </p:ext>
            </p:extLst>
          </p:nvPr>
        </p:nvGraphicFramePr>
        <p:xfrm>
          <a:off x="3716322" y="4243918"/>
          <a:ext cx="18530596" cy="90724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6674F59D-AAEB-D37A-BD2E-D526E851311A}"/>
              </a:ext>
            </a:extLst>
          </p:cNvPr>
          <p:cNvSpPr txBox="1"/>
          <p:nvPr/>
        </p:nvSpPr>
        <p:spPr>
          <a:xfrm>
            <a:off x="6148715" y="1694726"/>
            <a:ext cx="13665811" cy="33773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6600" b="1" dirty="0">
                <a:solidFill>
                  <a:srgbClr val="92CDDC"/>
                </a:solidFill>
                <a:effectLst/>
                <a:latin typeface="Wide Latin" panose="020A0A070505050204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11.</a:t>
            </a:r>
            <a:r>
              <a:rPr lang="el-GR" sz="6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ΕΡΩΤΗΣΗ</a:t>
            </a:r>
            <a:r>
              <a:rPr lang="el-GR" sz="32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l-GR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3600" b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Κατά τη διάρκεια της πανδημίας απευθυνθήκατε σε φαρμακείο για:</a:t>
            </a:r>
            <a:endParaRPr lang="el-GR" sz="36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2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Πολλαπλή Απάντηση</a:t>
            </a:r>
            <a:endParaRPr lang="el-GR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3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</p:txBody>
      </p:sp>
      <p:cxnSp>
        <p:nvCxnSpPr>
          <p:cNvPr id="14" name="Ευθεία γραμμή σύνδεσης 13">
            <a:extLst>
              <a:ext uri="{FF2B5EF4-FFF2-40B4-BE49-F238E27FC236}">
                <a16:creationId xmlns:a16="http://schemas.microsoft.com/office/drawing/2014/main" xmlns="" id="{C39B9A96-FCC1-E1E1-3ED1-03BDF3508198}"/>
              </a:ext>
            </a:extLst>
          </p:cNvPr>
          <p:cNvCxnSpPr>
            <a:cxnSpLocks/>
          </p:cNvCxnSpPr>
          <p:nvPr/>
        </p:nvCxnSpPr>
        <p:spPr>
          <a:xfrm>
            <a:off x="6166872" y="3731561"/>
            <a:ext cx="13278124" cy="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6043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350">
            <a:extLst>
              <a:ext uri="{FF2B5EF4-FFF2-40B4-BE49-F238E27FC236}">
                <a16:creationId xmlns:a16="http://schemas.microsoft.com/office/drawing/2014/main" xmlns="" id="{8AD2983E-D591-E443-9BB2-4494207430EF}"/>
              </a:ext>
            </a:extLst>
          </p:cNvPr>
          <p:cNvSpPr txBox="1"/>
          <p:nvPr/>
        </p:nvSpPr>
        <p:spPr>
          <a:xfrm>
            <a:off x="1399336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1AB5DBC-14DC-134F-9718-D272DCBB189C}"/>
              </a:ext>
            </a:extLst>
          </p:cNvPr>
          <p:cNvSpPr txBox="1"/>
          <p:nvPr/>
        </p:nvSpPr>
        <p:spPr>
          <a:xfrm>
            <a:off x="1399336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ap current patient pathway to care, including from diagnosis to referral &amp; to administration to identify areas for optimization</a:t>
            </a:r>
          </a:p>
        </p:txBody>
      </p:sp>
      <p:sp>
        <p:nvSpPr>
          <p:cNvPr id="8" name="CuadroTexto 351">
            <a:extLst>
              <a:ext uri="{FF2B5EF4-FFF2-40B4-BE49-F238E27FC236}">
                <a16:creationId xmlns:a16="http://schemas.microsoft.com/office/drawing/2014/main" xmlns="" id="{B3FB0433-90AF-B34A-A542-47254409958D}"/>
              </a:ext>
            </a:extLst>
          </p:cNvPr>
          <p:cNvSpPr txBox="1"/>
          <p:nvPr/>
        </p:nvSpPr>
        <p:spPr>
          <a:xfrm>
            <a:off x="1399336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Map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7E6BB7F-CCA4-0F40-AD32-E8E1DEABA946}"/>
              </a:ext>
            </a:extLst>
          </p:cNvPr>
          <p:cNvSpPr txBox="1"/>
          <p:nvPr/>
        </p:nvSpPr>
        <p:spPr>
          <a:xfrm>
            <a:off x="6885673" y="9840977"/>
            <a:ext cx="5985195" cy="3186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sign a standardized process for patient access to care, including full process flows (e.g., referral pathways), R&amp;Rs &amp; required infrastructure (e.g., patient registry, incl. with longer term clinical outcomes)</a:t>
            </a:r>
          </a:p>
        </p:txBody>
      </p:sp>
      <p:sp>
        <p:nvSpPr>
          <p:cNvPr id="15" name="CuadroTexto 350">
            <a:extLst>
              <a:ext uri="{FF2B5EF4-FFF2-40B4-BE49-F238E27FC236}">
                <a16:creationId xmlns:a16="http://schemas.microsoft.com/office/drawing/2014/main" xmlns="" id="{81A9E447-F9FE-4E44-8053-2C7B322F56D5}"/>
              </a:ext>
            </a:extLst>
          </p:cNvPr>
          <p:cNvSpPr txBox="1"/>
          <p:nvPr/>
        </p:nvSpPr>
        <p:spPr>
          <a:xfrm>
            <a:off x="12981622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1AB533C9-FB31-4349-A7F1-FC58E91730C0}"/>
              </a:ext>
            </a:extLst>
          </p:cNvPr>
          <p:cNvSpPr txBox="1"/>
          <p:nvPr/>
        </p:nvSpPr>
        <p:spPr>
          <a:xfrm>
            <a:off x="12981621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iscuss the proposed paradigm with select clinical / health policy experts to validate principles and proof of concept</a:t>
            </a:r>
          </a:p>
        </p:txBody>
      </p:sp>
      <p:sp>
        <p:nvSpPr>
          <p:cNvPr id="17" name="CuadroTexto 351">
            <a:extLst>
              <a:ext uri="{FF2B5EF4-FFF2-40B4-BE49-F238E27FC236}">
                <a16:creationId xmlns:a16="http://schemas.microsoft.com/office/drawing/2014/main" xmlns="" id="{3DCCBA54-04B8-E54C-AE8C-F0E2AFE36F83}"/>
              </a:ext>
            </a:extLst>
          </p:cNvPr>
          <p:cNvSpPr txBox="1"/>
          <p:nvPr/>
        </p:nvSpPr>
        <p:spPr>
          <a:xfrm>
            <a:off x="12981622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Vali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488CAA4-B19A-F06E-F7D0-5E13D51CE056}"/>
              </a:ext>
            </a:extLst>
          </p:cNvPr>
          <p:cNvSpPr txBox="1"/>
          <p:nvPr/>
        </p:nvSpPr>
        <p:spPr>
          <a:xfrm>
            <a:off x="436098" y="13316328"/>
            <a:ext cx="8877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Poppins" pitchFamily="2" charset="0"/>
                <a:cs typeface="Poppins" pitchFamily="2" charset="0"/>
              </a:rPr>
              <a:t>© The Health Policy Institute. Confidential and Proprietary. Submitted for discussion purposes only.</a:t>
            </a:r>
            <a:endParaRPr lang="el-GR" sz="1400" dirty="0">
              <a:solidFill>
                <a:schemeClr val="bg1"/>
              </a:solidFill>
              <a:cs typeface="Poppins" pitchFamily="2" charset="0"/>
            </a:endParaRPr>
          </a:p>
        </p:txBody>
      </p:sp>
      <p:graphicFrame>
        <p:nvGraphicFramePr>
          <p:cNvPr id="3" name="Γράφημα 2">
            <a:extLst>
              <a:ext uri="{FF2B5EF4-FFF2-40B4-BE49-F238E27FC236}">
                <a16:creationId xmlns:a16="http://schemas.microsoft.com/office/drawing/2014/main" xmlns="" id="{0B3EB455-05DB-E9BB-6A06-1757D6A8663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7804386"/>
              </p:ext>
            </p:extLst>
          </p:nvPr>
        </p:nvGraphicFramePr>
        <p:xfrm>
          <a:off x="3948006" y="5305205"/>
          <a:ext cx="16487988" cy="81681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0" name="Ομάδα 19">
            <a:extLst>
              <a:ext uri="{FF2B5EF4-FFF2-40B4-BE49-F238E27FC236}">
                <a16:creationId xmlns:a16="http://schemas.microsoft.com/office/drawing/2014/main" xmlns="" id="{135C7764-3618-B621-D961-D0043AAEF710}"/>
              </a:ext>
            </a:extLst>
          </p:cNvPr>
          <p:cNvGrpSpPr/>
          <p:nvPr/>
        </p:nvGrpSpPr>
        <p:grpSpPr>
          <a:xfrm>
            <a:off x="5611234" y="1350409"/>
            <a:ext cx="14963562" cy="3881191"/>
            <a:chOff x="4313483" y="1263069"/>
            <a:chExt cx="16978974" cy="3881191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xmlns="" id="{FA257E25-9574-EF88-72EF-6AC58B668B0A}"/>
                </a:ext>
              </a:extLst>
            </p:cNvPr>
            <p:cNvSpPr txBox="1"/>
            <p:nvPr/>
          </p:nvSpPr>
          <p:spPr>
            <a:xfrm>
              <a:off x="4313483" y="1263069"/>
              <a:ext cx="16978974" cy="3881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>
                <a:lnSpc>
                  <a:spcPct val="115000"/>
                </a:lnSpc>
                <a:spcAft>
                  <a:spcPts val="1000"/>
                </a:spcAft>
              </a:pPr>
              <a:r>
                <a:rPr lang="el-GR" sz="6600" b="1" dirty="0">
                  <a:solidFill>
                    <a:srgbClr val="92CDDC"/>
                  </a:solidFill>
                  <a:effectLst/>
                  <a:latin typeface="Wide Latin" panose="020A0A07050505020404" pitchFamily="18" charset="0"/>
                  <a:ea typeface="Calibri" panose="020F0502020204030204" pitchFamily="34" charset="0"/>
                  <a:cs typeface="Calibri" panose="020F0502020204030204" pitchFamily="34" charset="0"/>
                </a:rPr>
                <a:t>12.</a:t>
              </a:r>
              <a:r>
                <a:rPr lang="el-GR" sz="66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l-GR" sz="32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ΕΡΩΤΗΣΗ</a:t>
              </a:r>
              <a:r>
                <a:rPr lang="el-GR" sz="3200" dirty="0">
                  <a:solidFill>
                    <a:srgbClr val="0070C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:</a:t>
              </a:r>
              <a:endParaRPr lang="el-GR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l">
                <a:lnSpc>
                  <a:spcPct val="115000"/>
                </a:lnSpc>
                <a:spcAft>
                  <a:spcPts val="1000"/>
                </a:spcAft>
              </a:pPr>
              <a:r>
                <a:rPr lang="el-GR" sz="3600" b="1" dirty="0">
                  <a:solidFill>
                    <a:srgbClr val="0070C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Αν ναι, πόσο ικανοποιημένος μείνατε με την εμπειρία σας αναφορικά με:</a:t>
              </a:r>
              <a:endParaRPr lang="el-GR" sz="3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l">
                <a:lnSpc>
                  <a:spcPct val="115000"/>
                </a:lnSpc>
                <a:spcAft>
                  <a:spcPts val="1000"/>
                </a:spcAft>
              </a:pPr>
              <a:r>
                <a:rPr lang="el-GR" sz="3600" b="1" dirty="0">
                  <a:solidFill>
                    <a:srgbClr val="0070C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1. Αγορά προστατευτικών μέσων (μάσκες, γάντια, απολυμαντικά κ.λπ.)</a:t>
              </a:r>
              <a:endParaRPr lang="el-GR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l">
                <a:lnSpc>
                  <a:spcPct val="115000"/>
                </a:lnSpc>
                <a:spcAft>
                  <a:spcPts val="1000"/>
                </a:spcAft>
              </a:pPr>
              <a:r>
                <a:rPr lang="el-GR" sz="2800" i="1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ΑΦΟΡΑ ΟΣΟΥΣ στην ερώτηση: «Κατά τη διάρκεια της πανδημίας απευθυνθήκατε σε φαρμακείο για:» απάντησαν «1. Αγορά προστατευτικών μέσων»   (Ν=835)</a:t>
              </a:r>
              <a:endParaRPr lang="el-GR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4" name="Ευθεία γραμμή σύνδεσης 13">
              <a:extLst>
                <a:ext uri="{FF2B5EF4-FFF2-40B4-BE49-F238E27FC236}">
                  <a16:creationId xmlns:a16="http://schemas.microsoft.com/office/drawing/2014/main" xmlns="" id="{CF1AD10E-50E1-DDF9-AD8B-2FF657E5C5C8}"/>
                </a:ext>
              </a:extLst>
            </p:cNvPr>
            <p:cNvCxnSpPr>
              <a:cxnSpLocks/>
            </p:cNvCxnSpPr>
            <p:nvPr/>
          </p:nvCxnSpPr>
          <p:spPr>
            <a:xfrm>
              <a:off x="4313483" y="3346304"/>
              <a:ext cx="16493783" cy="0"/>
            </a:xfrm>
            <a:prstGeom prst="line">
              <a:avLst/>
            </a:prstGeom>
            <a:ln w="762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D9BEF30F-090E-4031-960B-E5BF88B4DEBE}"/>
              </a:ext>
            </a:extLst>
          </p:cNvPr>
          <p:cNvSpPr/>
          <p:nvPr/>
        </p:nvSpPr>
        <p:spPr>
          <a:xfrm>
            <a:off x="9499833" y="808268"/>
            <a:ext cx="6264857" cy="75866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el-GR" sz="40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. Φαρμακεία και πανδημία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xmlns="" id="{46E9AB17-9B8E-406F-B441-574F0E464AAE}"/>
              </a:ext>
            </a:extLst>
          </p:cNvPr>
          <p:cNvSpPr/>
          <p:nvPr/>
        </p:nvSpPr>
        <p:spPr>
          <a:xfrm>
            <a:off x="20435994" y="6558037"/>
            <a:ext cx="1776047" cy="109024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3600" b="1" dirty="0"/>
              <a:t>93.5%</a:t>
            </a:r>
            <a:endParaRPr lang="en-US" sz="3600" b="1" dirty="0"/>
          </a:p>
        </p:txBody>
      </p:sp>
    </p:spTree>
    <p:extLst>
      <p:ext uri="{BB962C8B-B14F-4D97-AF65-F5344CB8AC3E}">
        <p14:creationId xmlns:p14="http://schemas.microsoft.com/office/powerpoint/2010/main" val="13999048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350">
            <a:extLst>
              <a:ext uri="{FF2B5EF4-FFF2-40B4-BE49-F238E27FC236}">
                <a16:creationId xmlns:a16="http://schemas.microsoft.com/office/drawing/2014/main" xmlns="" id="{8AD2983E-D591-E443-9BB2-4494207430EF}"/>
              </a:ext>
            </a:extLst>
          </p:cNvPr>
          <p:cNvSpPr txBox="1"/>
          <p:nvPr/>
        </p:nvSpPr>
        <p:spPr>
          <a:xfrm>
            <a:off x="1399336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1AB5DBC-14DC-134F-9718-D272DCBB189C}"/>
              </a:ext>
            </a:extLst>
          </p:cNvPr>
          <p:cNvSpPr txBox="1"/>
          <p:nvPr/>
        </p:nvSpPr>
        <p:spPr>
          <a:xfrm>
            <a:off x="1399336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ap current patient pathway to care, including from diagnosis to referral &amp; to administration to identify areas for optimization</a:t>
            </a:r>
          </a:p>
        </p:txBody>
      </p:sp>
      <p:sp>
        <p:nvSpPr>
          <p:cNvPr id="8" name="CuadroTexto 351">
            <a:extLst>
              <a:ext uri="{FF2B5EF4-FFF2-40B4-BE49-F238E27FC236}">
                <a16:creationId xmlns:a16="http://schemas.microsoft.com/office/drawing/2014/main" xmlns="" id="{B3FB0433-90AF-B34A-A542-47254409958D}"/>
              </a:ext>
            </a:extLst>
          </p:cNvPr>
          <p:cNvSpPr txBox="1"/>
          <p:nvPr/>
        </p:nvSpPr>
        <p:spPr>
          <a:xfrm>
            <a:off x="1399336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Map</a:t>
            </a:r>
          </a:p>
        </p:txBody>
      </p:sp>
      <p:sp>
        <p:nvSpPr>
          <p:cNvPr id="11" name="CuadroTexto 350">
            <a:extLst>
              <a:ext uri="{FF2B5EF4-FFF2-40B4-BE49-F238E27FC236}">
                <a16:creationId xmlns:a16="http://schemas.microsoft.com/office/drawing/2014/main" xmlns="" id="{25629FDF-E755-BF47-9ADB-454346411CE8}"/>
              </a:ext>
            </a:extLst>
          </p:cNvPr>
          <p:cNvSpPr txBox="1"/>
          <p:nvPr/>
        </p:nvSpPr>
        <p:spPr>
          <a:xfrm>
            <a:off x="6885675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7E6BB7F-CCA4-0F40-AD32-E8E1DEABA946}"/>
              </a:ext>
            </a:extLst>
          </p:cNvPr>
          <p:cNvSpPr txBox="1"/>
          <p:nvPr/>
        </p:nvSpPr>
        <p:spPr>
          <a:xfrm>
            <a:off x="6885673" y="9840977"/>
            <a:ext cx="5985195" cy="3186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sign a standardized process for patient access to care, including full process flows (e.g., referral pathways), R&amp;Rs &amp; required infrastructure (e.g., patient registry, incl. with longer term clinical outcomes)</a:t>
            </a:r>
          </a:p>
        </p:txBody>
      </p:sp>
      <p:sp>
        <p:nvSpPr>
          <p:cNvPr id="13" name="CuadroTexto 351">
            <a:extLst>
              <a:ext uri="{FF2B5EF4-FFF2-40B4-BE49-F238E27FC236}">
                <a16:creationId xmlns:a16="http://schemas.microsoft.com/office/drawing/2014/main" xmlns="" id="{2177F7D8-279A-4F4A-B585-21C67CD5F91B}"/>
              </a:ext>
            </a:extLst>
          </p:cNvPr>
          <p:cNvSpPr txBox="1"/>
          <p:nvPr/>
        </p:nvSpPr>
        <p:spPr>
          <a:xfrm>
            <a:off x="6885675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Design</a:t>
            </a:r>
          </a:p>
        </p:txBody>
      </p:sp>
      <p:sp>
        <p:nvSpPr>
          <p:cNvPr id="15" name="CuadroTexto 350">
            <a:extLst>
              <a:ext uri="{FF2B5EF4-FFF2-40B4-BE49-F238E27FC236}">
                <a16:creationId xmlns:a16="http://schemas.microsoft.com/office/drawing/2014/main" xmlns="" id="{81A9E447-F9FE-4E44-8053-2C7B322F56D5}"/>
              </a:ext>
            </a:extLst>
          </p:cNvPr>
          <p:cNvSpPr txBox="1"/>
          <p:nvPr/>
        </p:nvSpPr>
        <p:spPr>
          <a:xfrm>
            <a:off x="12981622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1AB533C9-FB31-4349-A7F1-FC58E91730C0}"/>
              </a:ext>
            </a:extLst>
          </p:cNvPr>
          <p:cNvSpPr txBox="1"/>
          <p:nvPr/>
        </p:nvSpPr>
        <p:spPr>
          <a:xfrm>
            <a:off x="12981621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iscuss the proposed paradigm with select clinical / health policy experts to validate principles and proof of concept</a:t>
            </a:r>
          </a:p>
        </p:txBody>
      </p:sp>
      <p:sp>
        <p:nvSpPr>
          <p:cNvPr id="17" name="CuadroTexto 351">
            <a:extLst>
              <a:ext uri="{FF2B5EF4-FFF2-40B4-BE49-F238E27FC236}">
                <a16:creationId xmlns:a16="http://schemas.microsoft.com/office/drawing/2014/main" xmlns="" id="{3DCCBA54-04B8-E54C-AE8C-F0E2AFE36F83}"/>
              </a:ext>
            </a:extLst>
          </p:cNvPr>
          <p:cNvSpPr txBox="1"/>
          <p:nvPr/>
        </p:nvSpPr>
        <p:spPr>
          <a:xfrm>
            <a:off x="12981622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Vali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488CAA4-B19A-F06E-F7D0-5E13D51CE056}"/>
              </a:ext>
            </a:extLst>
          </p:cNvPr>
          <p:cNvSpPr txBox="1"/>
          <p:nvPr/>
        </p:nvSpPr>
        <p:spPr>
          <a:xfrm>
            <a:off x="436098" y="13316328"/>
            <a:ext cx="8877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Poppins" pitchFamily="2" charset="0"/>
                <a:cs typeface="Poppins" pitchFamily="2" charset="0"/>
              </a:rPr>
              <a:t>© The Health Policy Institute. Confidential and Proprietary. Submitted for discussion purposes only.</a:t>
            </a:r>
            <a:endParaRPr lang="el-GR" sz="1400" dirty="0">
              <a:solidFill>
                <a:schemeClr val="bg1"/>
              </a:solidFill>
              <a:cs typeface="Poppins" pitchFamily="2" charset="0"/>
            </a:endParaRPr>
          </a:p>
        </p:txBody>
      </p:sp>
      <p:graphicFrame>
        <p:nvGraphicFramePr>
          <p:cNvPr id="3" name="Γράφημα 2">
            <a:extLst>
              <a:ext uri="{FF2B5EF4-FFF2-40B4-BE49-F238E27FC236}">
                <a16:creationId xmlns:a16="http://schemas.microsoft.com/office/drawing/2014/main" xmlns="" id="{E6238C4E-3015-31E2-5EC8-7B4B2ED370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8470301"/>
              </p:ext>
            </p:extLst>
          </p:nvPr>
        </p:nvGraphicFramePr>
        <p:xfrm>
          <a:off x="4686924" y="4982786"/>
          <a:ext cx="16589393" cy="84874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8" name="Ομάδα 17">
            <a:extLst>
              <a:ext uri="{FF2B5EF4-FFF2-40B4-BE49-F238E27FC236}">
                <a16:creationId xmlns:a16="http://schemas.microsoft.com/office/drawing/2014/main" xmlns="" id="{F477528A-0CC5-5B17-B327-3A26BCF813AD}"/>
              </a:ext>
            </a:extLst>
          </p:cNvPr>
          <p:cNvGrpSpPr/>
          <p:nvPr/>
        </p:nvGrpSpPr>
        <p:grpSpPr>
          <a:xfrm>
            <a:off x="5725535" y="1088490"/>
            <a:ext cx="15174601" cy="3743782"/>
            <a:chOff x="5725535" y="1088490"/>
            <a:chExt cx="15174601" cy="3743782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xmlns="" id="{D38DA114-0922-5A0B-E2CE-C9546AABF8C4}"/>
                </a:ext>
              </a:extLst>
            </p:cNvPr>
            <p:cNvSpPr txBox="1"/>
            <p:nvPr/>
          </p:nvSpPr>
          <p:spPr>
            <a:xfrm>
              <a:off x="5725535" y="1088490"/>
              <a:ext cx="15174601" cy="374378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>
                <a:lnSpc>
                  <a:spcPct val="115000"/>
                </a:lnSpc>
                <a:spcAft>
                  <a:spcPts val="1000"/>
                </a:spcAft>
              </a:pPr>
              <a:r>
                <a:rPr lang="el-GR" sz="6600" b="1" dirty="0">
                  <a:solidFill>
                    <a:srgbClr val="92CDDC"/>
                  </a:solidFill>
                  <a:effectLst/>
                  <a:latin typeface="Wide Latin" panose="020A0A07050505020404" pitchFamily="18" charset="0"/>
                  <a:ea typeface="Calibri" panose="020F0502020204030204" pitchFamily="34" charset="0"/>
                  <a:cs typeface="Calibri" panose="020F0502020204030204" pitchFamily="34" charset="0"/>
                </a:rPr>
                <a:t>13.</a:t>
              </a:r>
              <a:r>
                <a:rPr lang="el-GR" sz="66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l-GR" sz="32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ΕΡΩΤΗΣΗ</a:t>
              </a:r>
              <a:r>
                <a:rPr lang="el-GR" sz="3200" dirty="0">
                  <a:solidFill>
                    <a:srgbClr val="0070C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:</a:t>
              </a:r>
              <a:endParaRPr lang="el-GR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l">
                <a:lnSpc>
                  <a:spcPct val="115000"/>
                </a:lnSpc>
                <a:spcAft>
                  <a:spcPts val="1000"/>
                </a:spcAft>
              </a:pPr>
              <a:r>
                <a:rPr lang="el-GR" sz="3600" b="1" dirty="0">
                  <a:solidFill>
                    <a:srgbClr val="0070C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Αν ναι, πόσο ικανοποιημένος μείνατε με την εμπειρία σας αναφορικά με:</a:t>
              </a:r>
              <a:endParaRPr lang="el-GR" sz="3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l">
                <a:lnSpc>
                  <a:spcPct val="115000"/>
                </a:lnSpc>
                <a:spcAft>
                  <a:spcPts val="1000"/>
                </a:spcAft>
              </a:pPr>
              <a:r>
                <a:rPr lang="el-GR" sz="3200" b="1" dirty="0">
                  <a:solidFill>
                    <a:srgbClr val="0070C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. Αγορά </a:t>
              </a:r>
              <a:r>
                <a:rPr lang="el-GR" sz="3200" b="1" dirty="0" err="1">
                  <a:solidFill>
                    <a:srgbClr val="0070C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κιτ</a:t>
              </a:r>
              <a:r>
                <a:rPr lang="el-GR" sz="3200" b="1" dirty="0">
                  <a:solidFill>
                    <a:srgbClr val="0070C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αυτοδιαγνωστικού ελέγχου (self-test)</a:t>
              </a:r>
              <a:endParaRPr lang="el-GR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l">
                <a:lnSpc>
                  <a:spcPct val="115000"/>
                </a:lnSpc>
                <a:spcAft>
                  <a:spcPts val="1000"/>
                </a:spcAft>
              </a:pPr>
              <a:r>
                <a:rPr lang="el-GR" sz="2400" i="1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ΑΦΟΡΑ ΟΣΟΥΣ στην ερώτηση: «Κατά τη διάρκεια της πανδημίας απευθυνθήκατε σε φαρμακείο για:» απάντησαν «2. Αγορά </a:t>
              </a:r>
              <a:r>
                <a:rPr lang="el-GR" sz="2400" i="1" dirty="0" err="1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κιτ</a:t>
              </a:r>
              <a:r>
                <a:rPr lang="el-GR" sz="2400" i="1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αυτοδιαγνωστικού ελέγχου (self-test)»   (Ν=864)</a:t>
              </a:r>
              <a:endParaRPr lang="el-GR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4" name="Ευθεία γραμμή σύνδεσης 13">
              <a:extLst>
                <a:ext uri="{FF2B5EF4-FFF2-40B4-BE49-F238E27FC236}">
                  <a16:creationId xmlns:a16="http://schemas.microsoft.com/office/drawing/2014/main" xmlns="" id="{9E69526F-409C-5D55-C1D9-E5B0994B9686}"/>
                </a:ext>
              </a:extLst>
            </p:cNvPr>
            <p:cNvCxnSpPr>
              <a:cxnSpLocks/>
            </p:cNvCxnSpPr>
            <p:nvPr/>
          </p:nvCxnSpPr>
          <p:spPr>
            <a:xfrm>
              <a:off x="5725535" y="3172387"/>
              <a:ext cx="14535963" cy="0"/>
            </a:xfrm>
            <a:prstGeom prst="line">
              <a:avLst/>
            </a:prstGeom>
            <a:ln w="762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379AD8B4-DDD7-413D-8AEF-7B4F6B914666}"/>
              </a:ext>
            </a:extLst>
          </p:cNvPr>
          <p:cNvSpPr/>
          <p:nvPr/>
        </p:nvSpPr>
        <p:spPr>
          <a:xfrm>
            <a:off x="9499833" y="564801"/>
            <a:ext cx="6264857" cy="75866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el-GR" sz="40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. Φαρμακεία και πανδημία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xmlns="" id="{B613DB32-886D-4D8B-BAD0-08D77E2E7DAE}"/>
              </a:ext>
            </a:extLst>
          </p:cNvPr>
          <p:cNvSpPr/>
          <p:nvPr/>
        </p:nvSpPr>
        <p:spPr>
          <a:xfrm>
            <a:off x="20592919" y="6312877"/>
            <a:ext cx="1776047" cy="109024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3600" b="1" dirty="0"/>
              <a:t>94.2%</a:t>
            </a:r>
            <a:endParaRPr lang="en-US" sz="3600" b="1" dirty="0"/>
          </a:p>
        </p:txBody>
      </p:sp>
    </p:spTree>
    <p:extLst>
      <p:ext uri="{BB962C8B-B14F-4D97-AF65-F5344CB8AC3E}">
        <p14:creationId xmlns:p14="http://schemas.microsoft.com/office/powerpoint/2010/main" val="26804189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350">
            <a:extLst>
              <a:ext uri="{FF2B5EF4-FFF2-40B4-BE49-F238E27FC236}">
                <a16:creationId xmlns:a16="http://schemas.microsoft.com/office/drawing/2014/main" xmlns="" id="{8AD2983E-D591-E443-9BB2-4494207430EF}"/>
              </a:ext>
            </a:extLst>
          </p:cNvPr>
          <p:cNvSpPr txBox="1"/>
          <p:nvPr/>
        </p:nvSpPr>
        <p:spPr>
          <a:xfrm>
            <a:off x="1399336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1AB5DBC-14DC-134F-9718-D272DCBB189C}"/>
              </a:ext>
            </a:extLst>
          </p:cNvPr>
          <p:cNvSpPr txBox="1"/>
          <p:nvPr/>
        </p:nvSpPr>
        <p:spPr>
          <a:xfrm>
            <a:off x="1399336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ap current patient pathway to care, including from diagnosis to referral &amp; to administration to identify areas for optimization</a:t>
            </a:r>
          </a:p>
        </p:txBody>
      </p:sp>
      <p:sp>
        <p:nvSpPr>
          <p:cNvPr id="11" name="CuadroTexto 350">
            <a:extLst>
              <a:ext uri="{FF2B5EF4-FFF2-40B4-BE49-F238E27FC236}">
                <a16:creationId xmlns:a16="http://schemas.microsoft.com/office/drawing/2014/main" xmlns="" id="{25629FDF-E755-BF47-9ADB-454346411CE8}"/>
              </a:ext>
            </a:extLst>
          </p:cNvPr>
          <p:cNvSpPr txBox="1"/>
          <p:nvPr/>
        </p:nvSpPr>
        <p:spPr>
          <a:xfrm>
            <a:off x="6885675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7E6BB7F-CCA4-0F40-AD32-E8E1DEABA946}"/>
              </a:ext>
            </a:extLst>
          </p:cNvPr>
          <p:cNvSpPr txBox="1"/>
          <p:nvPr/>
        </p:nvSpPr>
        <p:spPr>
          <a:xfrm>
            <a:off x="6885673" y="9840977"/>
            <a:ext cx="5985195" cy="3186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sign a standardized process for patient access to care, including full process flows (e.g., referral pathways), R&amp;Rs &amp; required infrastructure (e.g., patient registry, incl. with longer term clinical outcomes)</a:t>
            </a:r>
          </a:p>
        </p:txBody>
      </p:sp>
      <p:sp>
        <p:nvSpPr>
          <p:cNvPr id="13" name="CuadroTexto 351">
            <a:extLst>
              <a:ext uri="{FF2B5EF4-FFF2-40B4-BE49-F238E27FC236}">
                <a16:creationId xmlns:a16="http://schemas.microsoft.com/office/drawing/2014/main" xmlns="" id="{2177F7D8-279A-4F4A-B585-21C67CD5F91B}"/>
              </a:ext>
            </a:extLst>
          </p:cNvPr>
          <p:cNvSpPr txBox="1"/>
          <p:nvPr/>
        </p:nvSpPr>
        <p:spPr>
          <a:xfrm>
            <a:off x="6885675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Design</a:t>
            </a:r>
          </a:p>
        </p:txBody>
      </p:sp>
      <p:sp>
        <p:nvSpPr>
          <p:cNvPr id="15" name="CuadroTexto 350">
            <a:extLst>
              <a:ext uri="{FF2B5EF4-FFF2-40B4-BE49-F238E27FC236}">
                <a16:creationId xmlns:a16="http://schemas.microsoft.com/office/drawing/2014/main" xmlns="" id="{81A9E447-F9FE-4E44-8053-2C7B322F56D5}"/>
              </a:ext>
            </a:extLst>
          </p:cNvPr>
          <p:cNvSpPr txBox="1"/>
          <p:nvPr/>
        </p:nvSpPr>
        <p:spPr>
          <a:xfrm>
            <a:off x="12981622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1AB533C9-FB31-4349-A7F1-FC58E91730C0}"/>
              </a:ext>
            </a:extLst>
          </p:cNvPr>
          <p:cNvSpPr txBox="1"/>
          <p:nvPr/>
        </p:nvSpPr>
        <p:spPr>
          <a:xfrm>
            <a:off x="12981621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iscuss the proposed paradigm with select clinical / health policy experts to validate principles and proof of concept</a:t>
            </a:r>
          </a:p>
        </p:txBody>
      </p:sp>
      <p:sp>
        <p:nvSpPr>
          <p:cNvPr id="17" name="CuadroTexto 351">
            <a:extLst>
              <a:ext uri="{FF2B5EF4-FFF2-40B4-BE49-F238E27FC236}">
                <a16:creationId xmlns:a16="http://schemas.microsoft.com/office/drawing/2014/main" xmlns="" id="{3DCCBA54-04B8-E54C-AE8C-F0E2AFE36F83}"/>
              </a:ext>
            </a:extLst>
          </p:cNvPr>
          <p:cNvSpPr txBox="1"/>
          <p:nvPr/>
        </p:nvSpPr>
        <p:spPr>
          <a:xfrm>
            <a:off x="12981622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Vali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488CAA4-B19A-F06E-F7D0-5E13D51CE056}"/>
              </a:ext>
            </a:extLst>
          </p:cNvPr>
          <p:cNvSpPr txBox="1"/>
          <p:nvPr/>
        </p:nvSpPr>
        <p:spPr>
          <a:xfrm>
            <a:off x="436098" y="13316328"/>
            <a:ext cx="8877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Poppins" pitchFamily="2" charset="0"/>
                <a:cs typeface="Poppins" pitchFamily="2" charset="0"/>
              </a:rPr>
              <a:t>© The Health Policy Institute. Confidential and Proprietary. Submitted for discussion purposes only.</a:t>
            </a:r>
            <a:endParaRPr lang="el-GR" sz="1400" dirty="0">
              <a:solidFill>
                <a:schemeClr val="bg1"/>
              </a:solidFill>
              <a:cs typeface="Poppins" pitchFamily="2" charset="0"/>
            </a:endParaRPr>
          </a:p>
        </p:txBody>
      </p:sp>
      <p:graphicFrame>
        <p:nvGraphicFramePr>
          <p:cNvPr id="3" name="Γράφημα 2">
            <a:extLst>
              <a:ext uri="{FF2B5EF4-FFF2-40B4-BE49-F238E27FC236}">
                <a16:creationId xmlns:a16="http://schemas.microsoft.com/office/drawing/2014/main" xmlns="" id="{9382A747-DDC0-2718-BB08-BE6C59738B2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5275387"/>
              </p:ext>
            </p:extLst>
          </p:nvPr>
        </p:nvGraphicFramePr>
        <p:xfrm>
          <a:off x="4874973" y="5184952"/>
          <a:ext cx="14838358" cy="8317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2A478F52-151F-DB35-C5B2-2465A4B2F4BB}"/>
              </a:ext>
            </a:extLst>
          </p:cNvPr>
          <p:cNvSpPr txBox="1"/>
          <p:nvPr/>
        </p:nvSpPr>
        <p:spPr>
          <a:xfrm>
            <a:off x="5712460" y="1562803"/>
            <a:ext cx="14543315" cy="37437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6600" b="1" dirty="0">
                <a:solidFill>
                  <a:srgbClr val="92CDDC"/>
                </a:solidFill>
                <a:effectLst/>
                <a:latin typeface="Wide Latin" panose="020A0A070505050204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14.</a:t>
            </a:r>
            <a:r>
              <a:rPr lang="el-GR" sz="6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ΕΡΩΤΗΣΗ</a:t>
            </a:r>
            <a:r>
              <a:rPr lang="el-GR" sz="32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l-GR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3600" b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Αν ναι, πόσο ικανοποιημένος μείνατε με την εμπειρία σας αναφορικά με:</a:t>
            </a:r>
            <a:endParaRPr lang="el-GR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3600" b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. Διενέργεια </a:t>
            </a:r>
            <a:r>
              <a:rPr lang="el-GR" sz="3600" b="1" dirty="0" err="1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apid</a:t>
            </a:r>
            <a:r>
              <a:rPr lang="el-GR" sz="3600" b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3600" b="1" dirty="0" err="1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st</a:t>
            </a:r>
            <a:endParaRPr lang="el-GR" sz="36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2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ΑΦΟΡΑ ΟΣΟΥΣ στην ερώτηση: «Κατά τη διάρκεια της πανδημίας απευθυνθήκατε σε φαρμακείο για:» απάντησαν «3. Διενέργεια </a:t>
            </a:r>
            <a:r>
              <a:rPr lang="el-GR" sz="2400" i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apid</a:t>
            </a:r>
            <a:r>
              <a:rPr lang="el-GR" sz="2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2400" i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st</a:t>
            </a:r>
            <a:r>
              <a:rPr lang="el-GR" sz="2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»   (Ν=709)</a:t>
            </a:r>
            <a:endParaRPr lang="el-GR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Ευθεία γραμμή σύνδεσης 13">
            <a:extLst>
              <a:ext uri="{FF2B5EF4-FFF2-40B4-BE49-F238E27FC236}">
                <a16:creationId xmlns:a16="http://schemas.microsoft.com/office/drawing/2014/main" xmlns="" id="{9CB64BF8-D73C-0065-C4F3-6D25D5996765}"/>
              </a:ext>
            </a:extLst>
          </p:cNvPr>
          <p:cNvCxnSpPr>
            <a:cxnSpLocks/>
          </p:cNvCxnSpPr>
          <p:nvPr/>
        </p:nvCxnSpPr>
        <p:spPr>
          <a:xfrm>
            <a:off x="5725535" y="3620256"/>
            <a:ext cx="14535963" cy="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81E5D48D-5C13-400B-91F2-BE82C1BD8A16}"/>
              </a:ext>
            </a:extLst>
          </p:cNvPr>
          <p:cNvSpPr/>
          <p:nvPr/>
        </p:nvSpPr>
        <p:spPr>
          <a:xfrm>
            <a:off x="9499833" y="564801"/>
            <a:ext cx="6264857" cy="75866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el-GR" sz="40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. Φαρμακεία και πανδημία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xmlns="" id="{AD06818C-423B-41DA-8CC1-98CAC0442AF8}"/>
              </a:ext>
            </a:extLst>
          </p:cNvPr>
          <p:cNvSpPr/>
          <p:nvPr/>
        </p:nvSpPr>
        <p:spPr>
          <a:xfrm>
            <a:off x="19821333" y="6547945"/>
            <a:ext cx="1776047" cy="109024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3600" b="1" dirty="0"/>
              <a:t>93.1%</a:t>
            </a:r>
            <a:endParaRPr lang="en-US" sz="3600" b="1" dirty="0"/>
          </a:p>
        </p:txBody>
      </p:sp>
    </p:spTree>
    <p:extLst>
      <p:ext uri="{BB962C8B-B14F-4D97-AF65-F5344CB8AC3E}">
        <p14:creationId xmlns:p14="http://schemas.microsoft.com/office/powerpoint/2010/main" val="36743125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350">
            <a:extLst>
              <a:ext uri="{FF2B5EF4-FFF2-40B4-BE49-F238E27FC236}">
                <a16:creationId xmlns:a16="http://schemas.microsoft.com/office/drawing/2014/main" xmlns="" id="{8AD2983E-D591-E443-9BB2-4494207430EF}"/>
              </a:ext>
            </a:extLst>
          </p:cNvPr>
          <p:cNvSpPr txBox="1"/>
          <p:nvPr/>
        </p:nvSpPr>
        <p:spPr>
          <a:xfrm>
            <a:off x="1399336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1AB5DBC-14DC-134F-9718-D272DCBB189C}"/>
              </a:ext>
            </a:extLst>
          </p:cNvPr>
          <p:cNvSpPr txBox="1"/>
          <p:nvPr/>
        </p:nvSpPr>
        <p:spPr>
          <a:xfrm>
            <a:off x="1399336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ap current patient pathway to care, including from diagnosis to referral &amp; to administration to identify areas for optimization</a:t>
            </a:r>
          </a:p>
        </p:txBody>
      </p:sp>
      <p:sp>
        <p:nvSpPr>
          <p:cNvPr id="8" name="CuadroTexto 351">
            <a:extLst>
              <a:ext uri="{FF2B5EF4-FFF2-40B4-BE49-F238E27FC236}">
                <a16:creationId xmlns:a16="http://schemas.microsoft.com/office/drawing/2014/main" xmlns="" id="{B3FB0433-90AF-B34A-A542-47254409958D}"/>
              </a:ext>
            </a:extLst>
          </p:cNvPr>
          <p:cNvSpPr txBox="1"/>
          <p:nvPr/>
        </p:nvSpPr>
        <p:spPr>
          <a:xfrm>
            <a:off x="1399336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Map</a:t>
            </a:r>
          </a:p>
        </p:txBody>
      </p:sp>
      <p:sp>
        <p:nvSpPr>
          <p:cNvPr id="11" name="CuadroTexto 350">
            <a:extLst>
              <a:ext uri="{FF2B5EF4-FFF2-40B4-BE49-F238E27FC236}">
                <a16:creationId xmlns:a16="http://schemas.microsoft.com/office/drawing/2014/main" xmlns="" id="{25629FDF-E755-BF47-9ADB-454346411CE8}"/>
              </a:ext>
            </a:extLst>
          </p:cNvPr>
          <p:cNvSpPr txBox="1"/>
          <p:nvPr/>
        </p:nvSpPr>
        <p:spPr>
          <a:xfrm>
            <a:off x="6885675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7E6BB7F-CCA4-0F40-AD32-E8E1DEABA946}"/>
              </a:ext>
            </a:extLst>
          </p:cNvPr>
          <p:cNvSpPr txBox="1"/>
          <p:nvPr/>
        </p:nvSpPr>
        <p:spPr>
          <a:xfrm>
            <a:off x="6885673" y="9840977"/>
            <a:ext cx="5985195" cy="3186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sign a standardized process for patient access to care, including full process flows (e.g., referral pathways), R&amp;Rs &amp; required infrastructure (e.g., patient registry, incl. with longer term clinical outcomes)</a:t>
            </a:r>
          </a:p>
        </p:txBody>
      </p:sp>
      <p:sp>
        <p:nvSpPr>
          <p:cNvPr id="13" name="CuadroTexto 351">
            <a:extLst>
              <a:ext uri="{FF2B5EF4-FFF2-40B4-BE49-F238E27FC236}">
                <a16:creationId xmlns:a16="http://schemas.microsoft.com/office/drawing/2014/main" xmlns="" id="{2177F7D8-279A-4F4A-B585-21C67CD5F91B}"/>
              </a:ext>
            </a:extLst>
          </p:cNvPr>
          <p:cNvSpPr txBox="1"/>
          <p:nvPr/>
        </p:nvSpPr>
        <p:spPr>
          <a:xfrm>
            <a:off x="6885675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Design</a:t>
            </a:r>
          </a:p>
        </p:txBody>
      </p:sp>
      <p:sp>
        <p:nvSpPr>
          <p:cNvPr id="15" name="CuadroTexto 350">
            <a:extLst>
              <a:ext uri="{FF2B5EF4-FFF2-40B4-BE49-F238E27FC236}">
                <a16:creationId xmlns:a16="http://schemas.microsoft.com/office/drawing/2014/main" xmlns="" id="{81A9E447-F9FE-4E44-8053-2C7B322F56D5}"/>
              </a:ext>
            </a:extLst>
          </p:cNvPr>
          <p:cNvSpPr txBox="1"/>
          <p:nvPr/>
        </p:nvSpPr>
        <p:spPr>
          <a:xfrm>
            <a:off x="12981622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1AB533C9-FB31-4349-A7F1-FC58E91730C0}"/>
              </a:ext>
            </a:extLst>
          </p:cNvPr>
          <p:cNvSpPr txBox="1"/>
          <p:nvPr/>
        </p:nvSpPr>
        <p:spPr>
          <a:xfrm>
            <a:off x="12981621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iscuss the proposed paradigm with select clinical / health policy experts to validate principles and proof of concept</a:t>
            </a:r>
          </a:p>
        </p:txBody>
      </p:sp>
      <p:sp>
        <p:nvSpPr>
          <p:cNvPr id="17" name="CuadroTexto 351">
            <a:extLst>
              <a:ext uri="{FF2B5EF4-FFF2-40B4-BE49-F238E27FC236}">
                <a16:creationId xmlns:a16="http://schemas.microsoft.com/office/drawing/2014/main" xmlns="" id="{3DCCBA54-04B8-E54C-AE8C-F0E2AFE36F83}"/>
              </a:ext>
            </a:extLst>
          </p:cNvPr>
          <p:cNvSpPr txBox="1"/>
          <p:nvPr/>
        </p:nvSpPr>
        <p:spPr>
          <a:xfrm>
            <a:off x="12981622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Vali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488CAA4-B19A-F06E-F7D0-5E13D51CE056}"/>
              </a:ext>
            </a:extLst>
          </p:cNvPr>
          <p:cNvSpPr txBox="1"/>
          <p:nvPr/>
        </p:nvSpPr>
        <p:spPr>
          <a:xfrm>
            <a:off x="436098" y="13316328"/>
            <a:ext cx="8877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Poppins" pitchFamily="2" charset="0"/>
                <a:cs typeface="Poppins" pitchFamily="2" charset="0"/>
              </a:rPr>
              <a:t>© The Health Policy Institute. Confidential and Proprietary. Submitted for discussion purposes only.</a:t>
            </a:r>
            <a:endParaRPr lang="el-GR" sz="1400" dirty="0">
              <a:solidFill>
                <a:schemeClr val="bg1"/>
              </a:solidFill>
              <a:cs typeface="Poppins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405465"/>
            <a:ext cx="24384000" cy="125157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600">
              <a:lnSpc>
                <a:spcPct val="115000"/>
              </a:lnSpc>
            </a:pPr>
            <a:r>
              <a:rPr lang="el-GR" sz="40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ΤΑΥΤΟΤΗΤΑ ΤΗΣ ΕΡΕΥΝΑΣ:</a:t>
            </a:r>
            <a:endParaRPr lang="el-GR" sz="40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371600">
              <a:lnSpc>
                <a:spcPct val="115000"/>
              </a:lnSpc>
            </a:pPr>
            <a:endParaRPr lang="el-GR" sz="14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371600" marR="628650" algn="just">
              <a:lnSpc>
                <a:spcPct val="115000"/>
              </a:lnSpc>
            </a:pPr>
            <a:r>
              <a:rPr lang="el-GR" sz="3600" b="1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Φορέας διενέργειας:</a:t>
            </a:r>
            <a:r>
              <a:rPr lang="el-GR" sz="3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Ινστιτούτο Πολιτικής Υγείας</a:t>
            </a:r>
            <a:r>
              <a:rPr lang="en-US" sz="3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el-GR" sz="36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371600" marR="628650" algn="just">
              <a:lnSpc>
                <a:spcPct val="115000"/>
              </a:lnSpc>
            </a:pPr>
            <a:r>
              <a:rPr lang="el-GR" sz="3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 marL="1371600" marR="628650" algn="just">
              <a:lnSpc>
                <a:spcPct val="115000"/>
              </a:lnSpc>
            </a:pPr>
            <a:r>
              <a:rPr lang="el-GR" sz="3600" b="1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Σκοπός της έρευνας:</a:t>
            </a:r>
            <a:r>
              <a:rPr lang="el-GR" sz="3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Διερεύνηση των ΑΠΟΨΕΩΝ ΚΑΙ ΣΤΑΣΕΩΝ ΚΟΙΝΟΥ ΓΙΑ ΤΗΝ ΠΡΟΣΒΑΣΗ, ΤΗ ΧΡΗΣΗ ΥΠΗΡΕΣΙΩΝ ΚΑΙ ΤΗΝ ΙΚΑΝΟΠΟΙΗΣΗ ΑΠΟ ΤΑ ΙΔΙΩΤΙΚΑ ΦΑΡΜΑΚΕΙΑ</a:t>
            </a:r>
            <a:r>
              <a:rPr lang="en-US" sz="3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el-GR" sz="36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371600" marR="628650" algn="just">
              <a:lnSpc>
                <a:spcPct val="115000"/>
              </a:lnSpc>
            </a:pPr>
            <a:r>
              <a:rPr lang="el-GR" sz="3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 marL="1371600" marR="628650" algn="just">
              <a:lnSpc>
                <a:spcPct val="115000"/>
              </a:lnSpc>
            </a:pPr>
            <a:r>
              <a:rPr lang="el-GR" sz="3600" b="1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Δείγμα:</a:t>
            </a:r>
            <a:r>
              <a:rPr lang="el-GR" sz="3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1.049 άτομα, Πανελλαδική κάλυψη.</a:t>
            </a:r>
          </a:p>
          <a:p>
            <a:pPr marL="1371600" marR="628650" algn="just">
              <a:lnSpc>
                <a:spcPct val="115000"/>
              </a:lnSpc>
            </a:pPr>
            <a:r>
              <a:rPr lang="el-GR" sz="3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 marL="1371600" marR="628650" algn="just">
              <a:lnSpc>
                <a:spcPct val="115000"/>
              </a:lnSpc>
            </a:pPr>
            <a:r>
              <a:rPr lang="el-GR" sz="3600" b="1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Μέθοδος δειγματοληψίας:</a:t>
            </a:r>
            <a:r>
              <a:rPr lang="el-GR" sz="3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l-GR" sz="3600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Στρωματοποιημένη</a:t>
            </a:r>
            <a:r>
              <a:rPr lang="el-GR" sz="3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Το δείγμα κατανεμήθηκε με τη μέθοδο των ποσοστώσεων, με αναλογία ως προς τις Περιφέρειες.</a:t>
            </a:r>
          </a:p>
          <a:p>
            <a:pPr marL="1371600" marR="628650" algn="just">
              <a:lnSpc>
                <a:spcPct val="115000"/>
              </a:lnSpc>
            </a:pPr>
            <a:r>
              <a:rPr lang="el-GR" sz="3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 marL="1371600" marR="628650" algn="just">
              <a:lnSpc>
                <a:spcPct val="115000"/>
              </a:lnSpc>
            </a:pPr>
            <a:r>
              <a:rPr lang="el-GR" sz="3600" b="1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Χρονικό διάστημα συλλογής στοιχείων:</a:t>
            </a:r>
            <a:r>
              <a:rPr lang="el-GR" sz="3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Από 13 έως 27 Ιουνίου 2022</a:t>
            </a:r>
            <a:r>
              <a:rPr lang="en-US" sz="3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el-GR" sz="3600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371600" marR="628650" algn="just">
              <a:lnSpc>
                <a:spcPct val="115000"/>
              </a:lnSpc>
            </a:pPr>
            <a:r>
              <a:rPr lang="el-GR" sz="3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 marL="1371600" marR="628650" algn="just">
              <a:lnSpc>
                <a:spcPct val="115000"/>
              </a:lnSpc>
            </a:pPr>
            <a:r>
              <a:rPr lang="el-GR" sz="3600" b="1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Μέθοδος συλλογής στοιχείων:</a:t>
            </a:r>
            <a:r>
              <a:rPr lang="el-GR" sz="3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Τηλεφωνικές συνεντεύξεις με χρήση συστήματος CATI και γραπτού δομημένου ερωτηματολογίου.</a:t>
            </a:r>
          </a:p>
          <a:p>
            <a:pPr marL="1371600" marR="628650" algn="just">
              <a:lnSpc>
                <a:spcPct val="115000"/>
              </a:lnSpc>
            </a:pPr>
            <a:r>
              <a:rPr lang="el-GR" sz="3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 marL="1371600" marR="628650" algn="just">
              <a:lnSpc>
                <a:spcPct val="115000"/>
              </a:lnSpc>
            </a:pPr>
            <a:r>
              <a:rPr lang="el-GR" sz="3600" b="1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Χρησιμοποιήθηκε ερώτηση - φίλτρο:</a:t>
            </a:r>
            <a:r>
              <a:rPr lang="el-GR" sz="3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«Έχετε επισκεφτεί φαρμακείο τους τελευταίους 12 μήνες;» και οι συνεντεύξεις πραγματοποιήθηκαν μόνο σε όσους απάντησαν: ΝΑΙ.</a:t>
            </a:r>
          </a:p>
          <a:p>
            <a:pPr marL="1371600" marR="628650" algn="just">
              <a:lnSpc>
                <a:spcPct val="115000"/>
              </a:lnSpc>
            </a:pPr>
            <a:r>
              <a:rPr lang="el-GR" sz="36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7396901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350">
            <a:extLst>
              <a:ext uri="{FF2B5EF4-FFF2-40B4-BE49-F238E27FC236}">
                <a16:creationId xmlns:a16="http://schemas.microsoft.com/office/drawing/2014/main" xmlns="" id="{8AD2983E-D591-E443-9BB2-4494207430EF}"/>
              </a:ext>
            </a:extLst>
          </p:cNvPr>
          <p:cNvSpPr txBox="1"/>
          <p:nvPr/>
        </p:nvSpPr>
        <p:spPr>
          <a:xfrm>
            <a:off x="1399336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1AB5DBC-14DC-134F-9718-D272DCBB189C}"/>
              </a:ext>
            </a:extLst>
          </p:cNvPr>
          <p:cNvSpPr txBox="1"/>
          <p:nvPr/>
        </p:nvSpPr>
        <p:spPr>
          <a:xfrm>
            <a:off x="1399336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ap current patient pathway to care, including from diagnosis to referral &amp; to administration to identify areas for optimization</a:t>
            </a:r>
          </a:p>
        </p:txBody>
      </p:sp>
      <p:sp>
        <p:nvSpPr>
          <p:cNvPr id="8" name="CuadroTexto 351">
            <a:extLst>
              <a:ext uri="{FF2B5EF4-FFF2-40B4-BE49-F238E27FC236}">
                <a16:creationId xmlns:a16="http://schemas.microsoft.com/office/drawing/2014/main" xmlns="" id="{B3FB0433-90AF-B34A-A542-47254409958D}"/>
              </a:ext>
            </a:extLst>
          </p:cNvPr>
          <p:cNvSpPr txBox="1"/>
          <p:nvPr/>
        </p:nvSpPr>
        <p:spPr>
          <a:xfrm>
            <a:off x="1399336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Map</a:t>
            </a:r>
          </a:p>
        </p:txBody>
      </p:sp>
      <p:sp>
        <p:nvSpPr>
          <p:cNvPr id="11" name="CuadroTexto 350">
            <a:extLst>
              <a:ext uri="{FF2B5EF4-FFF2-40B4-BE49-F238E27FC236}">
                <a16:creationId xmlns:a16="http://schemas.microsoft.com/office/drawing/2014/main" xmlns="" id="{25629FDF-E755-BF47-9ADB-454346411CE8}"/>
              </a:ext>
            </a:extLst>
          </p:cNvPr>
          <p:cNvSpPr txBox="1"/>
          <p:nvPr/>
        </p:nvSpPr>
        <p:spPr>
          <a:xfrm>
            <a:off x="6885675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7E6BB7F-CCA4-0F40-AD32-E8E1DEABA946}"/>
              </a:ext>
            </a:extLst>
          </p:cNvPr>
          <p:cNvSpPr txBox="1"/>
          <p:nvPr/>
        </p:nvSpPr>
        <p:spPr>
          <a:xfrm>
            <a:off x="6885673" y="9840977"/>
            <a:ext cx="5985195" cy="3186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sign a standardized process for patient access to care, including full process flows (e.g., referral pathways), R&amp;Rs &amp; required infrastructure (e.g., patient registry, incl. with longer term clinical outcomes)</a:t>
            </a:r>
          </a:p>
        </p:txBody>
      </p:sp>
      <p:sp>
        <p:nvSpPr>
          <p:cNvPr id="13" name="CuadroTexto 351">
            <a:extLst>
              <a:ext uri="{FF2B5EF4-FFF2-40B4-BE49-F238E27FC236}">
                <a16:creationId xmlns:a16="http://schemas.microsoft.com/office/drawing/2014/main" xmlns="" id="{2177F7D8-279A-4F4A-B585-21C67CD5F91B}"/>
              </a:ext>
            </a:extLst>
          </p:cNvPr>
          <p:cNvSpPr txBox="1"/>
          <p:nvPr/>
        </p:nvSpPr>
        <p:spPr>
          <a:xfrm>
            <a:off x="6885675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Design</a:t>
            </a:r>
          </a:p>
        </p:txBody>
      </p:sp>
      <p:sp>
        <p:nvSpPr>
          <p:cNvPr id="15" name="CuadroTexto 350">
            <a:extLst>
              <a:ext uri="{FF2B5EF4-FFF2-40B4-BE49-F238E27FC236}">
                <a16:creationId xmlns:a16="http://schemas.microsoft.com/office/drawing/2014/main" xmlns="" id="{81A9E447-F9FE-4E44-8053-2C7B322F56D5}"/>
              </a:ext>
            </a:extLst>
          </p:cNvPr>
          <p:cNvSpPr txBox="1"/>
          <p:nvPr/>
        </p:nvSpPr>
        <p:spPr>
          <a:xfrm>
            <a:off x="12981622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1AB533C9-FB31-4349-A7F1-FC58E91730C0}"/>
              </a:ext>
            </a:extLst>
          </p:cNvPr>
          <p:cNvSpPr txBox="1"/>
          <p:nvPr/>
        </p:nvSpPr>
        <p:spPr>
          <a:xfrm>
            <a:off x="12981621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iscuss the proposed paradigm with select clinical / health policy experts to validate principles and proof of concept</a:t>
            </a:r>
          </a:p>
        </p:txBody>
      </p:sp>
      <p:sp>
        <p:nvSpPr>
          <p:cNvPr id="17" name="CuadroTexto 351">
            <a:extLst>
              <a:ext uri="{FF2B5EF4-FFF2-40B4-BE49-F238E27FC236}">
                <a16:creationId xmlns:a16="http://schemas.microsoft.com/office/drawing/2014/main" xmlns="" id="{3DCCBA54-04B8-E54C-AE8C-F0E2AFE36F83}"/>
              </a:ext>
            </a:extLst>
          </p:cNvPr>
          <p:cNvSpPr txBox="1"/>
          <p:nvPr/>
        </p:nvSpPr>
        <p:spPr>
          <a:xfrm>
            <a:off x="12981622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Vali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488CAA4-B19A-F06E-F7D0-5E13D51CE056}"/>
              </a:ext>
            </a:extLst>
          </p:cNvPr>
          <p:cNvSpPr txBox="1"/>
          <p:nvPr/>
        </p:nvSpPr>
        <p:spPr>
          <a:xfrm>
            <a:off x="436098" y="13316328"/>
            <a:ext cx="8877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Poppins" pitchFamily="2" charset="0"/>
                <a:cs typeface="Poppins" pitchFamily="2" charset="0"/>
              </a:rPr>
              <a:t>© The Health Policy Institute. Confidential and Proprietary. Submitted for discussion purposes only.</a:t>
            </a:r>
            <a:endParaRPr lang="el-GR" sz="1400" dirty="0">
              <a:solidFill>
                <a:schemeClr val="bg1"/>
              </a:solidFill>
              <a:cs typeface="Poppins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6183E336-E4FE-62A9-5330-0DEE1A72DF73}"/>
              </a:ext>
            </a:extLst>
          </p:cNvPr>
          <p:cNvSpPr txBox="1"/>
          <p:nvPr/>
        </p:nvSpPr>
        <p:spPr>
          <a:xfrm>
            <a:off x="5599594" y="1751259"/>
            <a:ext cx="14764054" cy="37437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6600" b="1" dirty="0">
                <a:solidFill>
                  <a:srgbClr val="92CDDC"/>
                </a:solidFill>
                <a:effectLst/>
                <a:latin typeface="Wide Latin" panose="020A0A070505050204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15.</a:t>
            </a:r>
            <a:r>
              <a:rPr lang="el-GR" sz="6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ΕΡΩΤΗΣΗ</a:t>
            </a:r>
            <a:r>
              <a:rPr lang="el-GR" sz="32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l-GR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3600" b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Αν ναι, πόσο ικανοποιημένος μείνατε με την εμπειρία σας αναφορικά με:</a:t>
            </a:r>
            <a:endParaRPr lang="el-GR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3600" b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. Κλείσιμο ραντεβού για εμβολιασμό κατά της COVID-19</a:t>
            </a:r>
            <a:endParaRPr lang="el-GR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2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ΑΦΟΡΑ ΟΣΟΥΣ στην ερώτηση: «Κατά τη διάρκεια της πανδημίας απευθυνθήκατε σε φαρμακείο για:» απάντησαν «4. Κλείσιμο ραντεβού για εμβολιασμό κατά της COVID-19»   (Ν=426)</a:t>
            </a:r>
            <a:endParaRPr lang="el-GR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Ευθεία γραμμή σύνδεσης 9">
            <a:extLst>
              <a:ext uri="{FF2B5EF4-FFF2-40B4-BE49-F238E27FC236}">
                <a16:creationId xmlns:a16="http://schemas.microsoft.com/office/drawing/2014/main" xmlns="" id="{56DF31DA-DC0D-8CC8-D9D1-4B312988D0A9}"/>
              </a:ext>
            </a:extLst>
          </p:cNvPr>
          <p:cNvCxnSpPr>
            <a:cxnSpLocks/>
          </p:cNvCxnSpPr>
          <p:nvPr/>
        </p:nvCxnSpPr>
        <p:spPr>
          <a:xfrm>
            <a:off x="5488841" y="3881513"/>
            <a:ext cx="14535963" cy="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Γράφημα 13">
            <a:extLst>
              <a:ext uri="{FF2B5EF4-FFF2-40B4-BE49-F238E27FC236}">
                <a16:creationId xmlns:a16="http://schemas.microsoft.com/office/drawing/2014/main" xmlns="" id="{170BD5A7-253A-C00E-FF82-03A45B9A7C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9836052"/>
              </p:ext>
            </p:extLst>
          </p:nvPr>
        </p:nvGraphicFramePr>
        <p:xfrm>
          <a:off x="3038669" y="5565228"/>
          <a:ext cx="18306662" cy="81507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6C33ECFB-0D9F-484B-A99D-3C0EC438CB9F}"/>
              </a:ext>
            </a:extLst>
          </p:cNvPr>
          <p:cNvSpPr/>
          <p:nvPr/>
        </p:nvSpPr>
        <p:spPr>
          <a:xfrm>
            <a:off x="9499833" y="564801"/>
            <a:ext cx="6264857" cy="75866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el-GR" sz="40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. Φαρμακεία και πανδημία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xmlns="" id="{A36C4645-3403-4DD8-B031-380D82F585EF}"/>
              </a:ext>
            </a:extLst>
          </p:cNvPr>
          <p:cNvSpPr/>
          <p:nvPr/>
        </p:nvSpPr>
        <p:spPr>
          <a:xfrm>
            <a:off x="20592919" y="6858000"/>
            <a:ext cx="1776047" cy="109024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3600" b="1" dirty="0"/>
              <a:t>98.8%</a:t>
            </a:r>
            <a:endParaRPr lang="en-US" sz="3600" b="1" dirty="0"/>
          </a:p>
        </p:txBody>
      </p:sp>
    </p:spTree>
    <p:extLst>
      <p:ext uri="{BB962C8B-B14F-4D97-AF65-F5344CB8AC3E}">
        <p14:creationId xmlns:p14="http://schemas.microsoft.com/office/powerpoint/2010/main" val="40239868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7509866" y="11458439"/>
            <a:ext cx="9364268" cy="646331"/>
          </a:xfrm>
          <a:prstGeom prst="rect">
            <a:avLst/>
          </a:prstGeom>
          <a:solidFill>
            <a:srgbClr val="FFD03B"/>
          </a:solidFill>
          <a:ln>
            <a:noFill/>
          </a:ln>
          <a:effectLst/>
        </p:spPr>
        <p:txBody>
          <a:bodyPr wrap="square" lIns="152400" tIns="76200" rIns="152400" bIns="762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l-GR" altLang="en-US" sz="3200" b="1" dirty="0">
                <a:solidFill>
                  <a:srgbClr val="011893"/>
                </a:solidFill>
                <a:latin typeface="Calibri" panose="020F0502020204030204" pitchFamily="34" charset="0"/>
                <a:ea typeface="+mj-ea"/>
                <a:cs typeface="Times New Roman" panose="02020603050405020304" pitchFamily="18" charset="0"/>
              </a:rPr>
              <a:t>Σας ευχαριστώ πολύ για την προσοχή σας...</a:t>
            </a: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7509866" y="12242595"/>
            <a:ext cx="9364268" cy="707886"/>
          </a:xfrm>
          <a:prstGeom prst="rect">
            <a:avLst/>
          </a:prstGeom>
          <a:noFill/>
          <a:ln>
            <a:noFill/>
          </a:ln>
          <a:effectLst>
            <a:prstShdw prst="shdw18" dist="17961" dir="135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52400" tIns="76200" rIns="152400" bIns="762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en-US" sz="3600" b="1" dirty="0">
                <a:solidFill>
                  <a:srgbClr val="011893"/>
                </a:solidFill>
                <a:latin typeface="Calibri" panose="020F0502020204030204" pitchFamily="34" charset="0"/>
                <a:ea typeface="+mj-ea"/>
                <a:cs typeface="Times New Roman" panose="02020603050405020304" pitchFamily="18" charset="0"/>
              </a:rPr>
              <a:t>info@ksouliotis.gr - ksouliotis@uop.gr</a:t>
            </a:r>
            <a:endParaRPr lang="el-GR" altLang="en-US" sz="3600" b="1" dirty="0">
              <a:solidFill>
                <a:srgbClr val="011893"/>
              </a:solidFill>
              <a:latin typeface="Calibri" panose="020F0502020204030204" pitchFamily="34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BDA3E996-CBC1-4A02-A944-CFD50FE0D1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0074" y="461906"/>
            <a:ext cx="7203094" cy="1049930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53DC6254-7821-4C9D-8C95-7F62634D7E2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391" t="8416" r="27821" b="6618"/>
          <a:stretch/>
        </p:blipFill>
        <p:spPr>
          <a:xfrm>
            <a:off x="16473853" y="461906"/>
            <a:ext cx="7203094" cy="104993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33B19F82-EFCF-40E5-BEC1-8AE49B7750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51301" y="1036567"/>
            <a:ext cx="6914418" cy="9349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0502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9" name="Google Shape;579;p22"/>
          <p:cNvSpPr txBox="1">
            <a:spLocks noGrp="1"/>
          </p:cNvSpPr>
          <p:nvPr>
            <p:ph type="title"/>
          </p:nvPr>
        </p:nvSpPr>
        <p:spPr>
          <a:xfrm>
            <a:off x="5732306" y="284368"/>
            <a:ext cx="12919387" cy="1070963"/>
          </a:xfrm>
          <a:prstGeom prst="rect">
            <a:avLst/>
          </a:prstGeom>
        </p:spPr>
        <p:txBody>
          <a:bodyPr spcFirstLastPara="1" vert="horz" wrap="square" lIns="243800" tIns="243800" rIns="243800" bIns="243800" rtlCol="0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4000" b="1" dirty="0">
                <a:solidFill>
                  <a:srgbClr val="1F497D"/>
                </a:solidFill>
                <a:latin typeface="Calibri" panose="020F0502020204030204" pitchFamily="34" charset="0"/>
                <a:cs typeface="Arial" panose="020B0604020202020204" pitchFamily="34" charset="0"/>
                <a:sym typeface="Helvetica"/>
              </a:rPr>
              <a:t>ΔΗΜΟΓΡΑΦΙΚΑ</a:t>
            </a:r>
            <a:endParaRPr sz="4000" b="1" dirty="0">
              <a:solidFill>
                <a:srgbClr val="1F497D"/>
              </a:solidFill>
              <a:latin typeface="Calibri" panose="020F0502020204030204" pitchFamily="34" charset="0"/>
              <a:cs typeface="Arial" panose="020B0604020202020204" pitchFamily="34" charset="0"/>
              <a:sym typeface="Helvetica"/>
            </a:endParaRPr>
          </a:p>
        </p:txBody>
      </p:sp>
      <p:sp>
        <p:nvSpPr>
          <p:cNvPr id="613" name="Google Shape;613;p22"/>
          <p:cNvSpPr txBox="1">
            <a:spLocks noGrp="1"/>
          </p:cNvSpPr>
          <p:nvPr>
            <p:ph type="body" idx="4294967295"/>
          </p:nvPr>
        </p:nvSpPr>
        <p:spPr>
          <a:xfrm>
            <a:off x="18174059" y="4077973"/>
            <a:ext cx="2892000" cy="1087200"/>
          </a:xfrm>
          <a:prstGeom prst="rect">
            <a:avLst/>
          </a:prstGeom>
        </p:spPr>
        <p:txBody>
          <a:bodyPr spcFirstLastPara="1" vert="horz" wrap="square" lIns="243800" tIns="243800" rIns="243800" bIns="243800" rtlCol="0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4267"/>
              </a:spcAft>
            </a:pPr>
            <a:r>
              <a:rPr lang="en" sz="6933">
                <a:solidFill>
                  <a:schemeClr val="lt2"/>
                </a:solidFill>
                <a:latin typeface="Overpass Black"/>
                <a:ea typeface="Overpass Black"/>
                <a:cs typeface="Overpass Black"/>
                <a:sym typeface="Overpass Black"/>
              </a:rPr>
              <a:t>60%</a:t>
            </a:r>
            <a:endParaRPr sz="6933">
              <a:solidFill>
                <a:schemeClr val="lt2"/>
              </a:solidFill>
              <a:latin typeface="Overpass Black"/>
              <a:ea typeface="Overpass Black"/>
              <a:cs typeface="Overpass Black"/>
              <a:sym typeface="Overpass Black"/>
            </a:endParaRPr>
          </a:p>
        </p:txBody>
      </p:sp>
      <p:grpSp>
        <p:nvGrpSpPr>
          <p:cNvPr id="4" name="Ομάδα 3">
            <a:extLst>
              <a:ext uri="{FF2B5EF4-FFF2-40B4-BE49-F238E27FC236}">
                <a16:creationId xmlns:a16="http://schemas.microsoft.com/office/drawing/2014/main" xmlns="" id="{C3775B41-B1C2-8AC0-DC24-F22B7BF48C18}"/>
              </a:ext>
            </a:extLst>
          </p:cNvPr>
          <p:cNvGrpSpPr/>
          <p:nvPr/>
        </p:nvGrpSpPr>
        <p:grpSpPr>
          <a:xfrm>
            <a:off x="4447831" y="2696521"/>
            <a:ext cx="914822" cy="1685219"/>
            <a:chOff x="9108774" y="2909338"/>
            <a:chExt cx="1612670" cy="3365206"/>
          </a:xfrm>
          <a:solidFill>
            <a:schemeClr val="accent2">
              <a:lumMod val="75000"/>
            </a:schemeClr>
          </a:solidFill>
        </p:grpSpPr>
        <p:sp>
          <p:nvSpPr>
            <p:cNvPr id="2" name="Google Shape;593;p22">
              <a:extLst>
                <a:ext uri="{FF2B5EF4-FFF2-40B4-BE49-F238E27FC236}">
                  <a16:creationId xmlns:a16="http://schemas.microsoft.com/office/drawing/2014/main" xmlns="" id="{7621EA99-D83A-25B4-83E3-35B1D3799B6A}"/>
                </a:ext>
              </a:extLst>
            </p:cNvPr>
            <p:cNvSpPr/>
            <p:nvPr/>
          </p:nvSpPr>
          <p:spPr>
            <a:xfrm>
              <a:off x="9538191" y="2909338"/>
              <a:ext cx="757347" cy="723171"/>
            </a:xfrm>
            <a:custGeom>
              <a:avLst/>
              <a:gdLst/>
              <a:ahLst/>
              <a:cxnLst/>
              <a:rect l="l" t="t" r="r" b="b"/>
              <a:pathLst>
                <a:path w="4321" h="4322" extrusionOk="0">
                  <a:moveTo>
                    <a:pt x="2160" y="1"/>
                  </a:moveTo>
                  <a:cubicBezTo>
                    <a:pt x="967" y="1"/>
                    <a:pt x="0" y="968"/>
                    <a:pt x="0" y="2161"/>
                  </a:cubicBezTo>
                  <a:cubicBezTo>
                    <a:pt x="0" y="3354"/>
                    <a:pt x="967" y="4322"/>
                    <a:pt x="2160" y="4322"/>
                  </a:cubicBezTo>
                  <a:cubicBezTo>
                    <a:pt x="3353" y="4322"/>
                    <a:pt x="4320" y="3354"/>
                    <a:pt x="4320" y="2161"/>
                  </a:cubicBezTo>
                  <a:cubicBezTo>
                    <a:pt x="4320" y="968"/>
                    <a:pt x="3353" y="1"/>
                    <a:pt x="2160" y="1"/>
                  </a:cubicBezTo>
                  <a:close/>
                </a:path>
              </a:pathLst>
            </a:custGeom>
            <a:grpFill/>
            <a:ln>
              <a:solidFill>
                <a:srgbClr val="002060"/>
              </a:solidFill>
            </a:ln>
          </p:spPr>
          <p:txBody>
            <a:bodyPr spcFirstLastPara="1" wrap="square" lIns="243800" tIns="243800" rIns="243800" bIns="243800" anchor="ctr" anchorCtr="0">
              <a:noAutofit/>
            </a:bodyPr>
            <a:lstStyle/>
            <a:p>
              <a:pPr algn="l"/>
              <a:endParaRPr sz="6400">
                <a:solidFill>
                  <a:schemeClr val="accent3"/>
                </a:solidFill>
              </a:endParaRPr>
            </a:p>
          </p:txBody>
        </p:sp>
        <p:sp>
          <p:nvSpPr>
            <p:cNvPr id="3" name="Google Shape;594;p22">
              <a:extLst>
                <a:ext uri="{FF2B5EF4-FFF2-40B4-BE49-F238E27FC236}">
                  <a16:creationId xmlns:a16="http://schemas.microsoft.com/office/drawing/2014/main" xmlns="" id="{1735357C-686E-0A1E-BF9E-3454BD7A6E2E}"/>
                </a:ext>
              </a:extLst>
            </p:cNvPr>
            <p:cNvSpPr/>
            <p:nvPr/>
          </p:nvSpPr>
          <p:spPr>
            <a:xfrm>
              <a:off x="9108774" y="3708978"/>
              <a:ext cx="1612670" cy="2565566"/>
            </a:xfrm>
            <a:custGeom>
              <a:avLst/>
              <a:gdLst/>
              <a:ahLst/>
              <a:cxnLst/>
              <a:rect l="l" t="t" r="r" b="b"/>
              <a:pathLst>
                <a:path w="9201" h="15333" extrusionOk="0">
                  <a:moveTo>
                    <a:pt x="2553" y="0"/>
                  </a:moveTo>
                  <a:cubicBezTo>
                    <a:pt x="1762" y="0"/>
                    <a:pt x="1097" y="589"/>
                    <a:pt x="998" y="1371"/>
                  </a:cubicBezTo>
                  <a:lnTo>
                    <a:pt x="50" y="8932"/>
                  </a:lnTo>
                  <a:cubicBezTo>
                    <a:pt x="1" y="9311"/>
                    <a:pt x="275" y="9624"/>
                    <a:pt x="662" y="9624"/>
                  </a:cubicBezTo>
                  <a:cubicBezTo>
                    <a:pt x="663" y="9624"/>
                    <a:pt x="665" y="9624"/>
                    <a:pt x="666" y="9624"/>
                  </a:cubicBezTo>
                  <a:cubicBezTo>
                    <a:pt x="1053" y="9624"/>
                    <a:pt x="1408" y="9311"/>
                    <a:pt x="1457" y="8928"/>
                  </a:cubicBezTo>
                  <a:lnTo>
                    <a:pt x="2304" y="2169"/>
                  </a:lnTo>
                  <a:cubicBezTo>
                    <a:pt x="2314" y="2085"/>
                    <a:pt x="2386" y="2022"/>
                    <a:pt x="2471" y="2022"/>
                  </a:cubicBezTo>
                  <a:lnTo>
                    <a:pt x="2543" y="2022"/>
                  </a:lnTo>
                  <a:cubicBezTo>
                    <a:pt x="2645" y="2022"/>
                    <a:pt x="2722" y="2110"/>
                    <a:pt x="2710" y="2211"/>
                  </a:cubicBezTo>
                  <a:lnTo>
                    <a:pt x="1718" y="9960"/>
                  </a:lnTo>
                  <a:cubicBezTo>
                    <a:pt x="1704" y="10063"/>
                    <a:pt x="1785" y="10155"/>
                    <a:pt x="1890" y="10155"/>
                  </a:cubicBezTo>
                  <a:lnTo>
                    <a:pt x="2330" y="10155"/>
                  </a:lnTo>
                  <a:lnTo>
                    <a:pt x="2330" y="14287"/>
                  </a:lnTo>
                  <a:cubicBezTo>
                    <a:pt x="2330" y="14863"/>
                    <a:pt x="2797" y="15331"/>
                    <a:pt x="3374" y="15331"/>
                  </a:cubicBezTo>
                  <a:cubicBezTo>
                    <a:pt x="3385" y="15331"/>
                    <a:pt x="3395" y="15331"/>
                    <a:pt x="3406" y="15331"/>
                  </a:cubicBezTo>
                  <a:cubicBezTo>
                    <a:pt x="3977" y="15312"/>
                    <a:pt x="4417" y="14815"/>
                    <a:pt x="4417" y="14243"/>
                  </a:cubicBezTo>
                  <a:lnTo>
                    <a:pt x="4417" y="10351"/>
                  </a:lnTo>
                  <a:cubicBezTo>
                    <a:pt x="4417" y="10243"/>
                    <a:pt x="4504" y="10155"/>
                    <a:pt x="4613" y="10155"/>
                  </a:cubicBezTo>
                  <a:cubicBezTo>
                    <a:pt x="4721" y="10155"/>
                    <a:pt x="4809" y="10242"/>
                    <a:pt x="4809" y="10351"/>
                  </a:cubicBezTo>
                  <a:lnTo>
                    <a:pt x="4809" y="14288"/>
                  </a:lnTo>
                  <a:cubicBezTo>
                    <a:pt x="4809" y="14865"/>
                    <a:pt x="5277" y="15332"/>
                    <a:pt x="5853" y="15332"/>
                  </a:cubicBezTo>
                  <a:cubicBezTo>
                    <a:pt x="5863" y="15332"/>
                    <a:pt x="5874" y="15332"/>
                    <a:pt x="5884" y="15332"/>
                  </a:cubicBezTo>
                  <a:cubicBezTo>
                    <a:pt x="6456" y="15313"/>
                    <a:pt x="6896" y="14816"/>
                    <a:pt x="6896" y="14244"/>
                  </a:cubicBezTo>
                  <a:lnTo>
                    <a:pt x="6896" y="10155"/>
                  </a:lnTo>
                  <a:lnTo>
                    <a:pt x="7409" y="10155"/>
                  </a:lnTo>
                  <a:cubicBezTo>
                    <a:pt x="7514" y="10155"/>
                    <a:pt x="7594" y="10063"/>
                    <a:pt x="7582" y="9960"/>
                  </a:cubicBezTo>
                  <a:lnTo>
                    <a:pt x="6589" y="2211"/>
                  </a:lnTo>
                  <a:cubicBezTo>
                    <a:pt x="6576" y="2112"/>
                    <a:pt x="6655" y="2022"/>
                    <a:pt x="6755" y="2022"/>
                  </a:cubicBezTo>
                  <a:cubicBezTo>
                    <a:pt x="6840" y="2022"/>
                    <a:pt x="6911" y="2085"/>
                    <a:pt x="6922" y="2169"/>
                  </a:cubicBezTo>
                  <a:lnTo>
                    <a:pt x="7781" y="9023"/>
                  </a:lnTo>
                  <a:cubicBezTo>
                    <a:pt x="7825" y="9375"/>
                    <a:pt x="8124" y="9632"/>
                    <a:pt x="8470" y="9632"/>
                  </a:cubicBezTo>
                  <a:cubicBezTo>
                    <a:pt x="8545" y="9632"/>
                    <a:pt x="8623" y="9620"/>
                    <a:pt x="8701" y="9594"/>
                  </a:cubicBezTo>
                  <a:cubicBezTo>
                    <a:pt x="9015" y="9488"/>
                    <a:pt x="9200" y="9162"/>
                    <a:pt x="9159" y="8831"/>
                  </a:cubicBezTo>
                  <a:lnTo>
                    <a:pt x="8223" y="1371"/>
                  </a:lnTo>
                  <a:cubicBezTo>
                    <a:pt x="8125" y="588"/>
                    <a:pt x="7459" y="0"/>
                    <a:pt x="6670" y="0"/>
                  </a:cubicBezTo>
                  <a:close/>
                </a:path>
              </a:pathLst>
            </a:custGeom>
            <a:grpFill/>
            <a:ln>
              <a:solidFill>
                <a:srgbClr val="002060"/>
              </a:solidFill>
            </a:ln>
          </p:spPr>
          <p:txBody>
            <a:bodyPr spcFirstLastPara="1" wrap="square" lIns="243800" tIns="243800" rIns="243800" bIns="243800" anchor="ctr" anchorCtr="0">
              <a:noAutofit/>
            </a:bodyPr>
            <a:lstStyle/>
            <a:p>
              <a:pPr algn="l"/>
              <a:endParaRPr sz="6400">
                <a:solidFill>
                  <a:schemeClr val="accent3"/>
                </a:solidFill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842719B8-F59C-69D1-DCFE-F64C9FA542A5}"/>
              </a:ext>
            </a:extLst>
          </p:cNvPr>
          <p:cNvSpPr txBox="1"/>
          <p:nvPr/>
        </p:nvSpPr>
        <p:spPr>
          <a:xfrm>
            <a:off x="6366878" y="4565007"/>
            <a:ext cx="239336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3600" dirty="0">
                <a:latin typeface="Calibri" panose="020F0502020204030204" pitchFamily="34" charset="0"/>
                <a:cs typeface="Calibri" panose="020F0502020204030204" pitchFamily="34" charset="0"/>
              </a:rPr>
              <a:t>45,9% (482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26130F07-6F15-CC88-FE0F-399849C95539}"/>
              </a:ext>
            </a:extLst>
          </p:cNvPr>
          <p:cNvSpPr txBox="1"/>
          <p:nvPr/>
        </p:nvSpPr>
        <p:spPr>
          <a:xfrm>
            <a:off x="3763350" y="4565008"/>
            <a:ext cx="23933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3600" dirty="0">
                <a:latin typeface="Calibri" panose="020F0502020204030204" pitchFamily="34" charset="0"/>
                <a:cs typeface="Calibri" panose="020F0502020204030204" pitchFamily="34" charset="0"/>
              </a:rPr>
              <a:t>54,1% (567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3CED3F38-FC2B-5BFF-C7C7-7C64B2E7C10D}"/>
              </a:ext>
            </a:extLst>
          </p:cNvPr>
          <p:cNvSpPr txBox="1"/>
          <p:nvPr/>
        </p:nvSpPr>
        <p:spPr>
          <a:xfrm>
            <a:off x="4530684" y="1649547"/>
            <a:ext cx="35273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3600" dirty="0">
                <a:latin typeface="Calibri" panose="020F0502020204030204" pitchFamily="34" charset="0"/>
                <a:cs typeface="Calibri" panose="020F0502020204030204" pitchFamily="34" charset="0"/>
              </a:rPr>
              <a:t>Το ΦΥΛΟ σας</a:t>
            </a:r>
          </a:p>
        </p:txBody>
      </p:sp>
      <p:grpSp>
        <p:nvGrpSpPr>
          <p:cNvPr id="10" name="Ομάδα 9">
            <a:extLst>
              <a:ext uri="{FF2B5EF4-FFF2-40B4-BE49-F238E27FC236}">
                <a16:creationId xmlns:a16="http://schemas.microsoft.com/office/drawing/2014/main" xmlns="" id="{EE7E8F70-F613-F4A9-FA28-46BE9C7821EC}"/>
              </a:ext>
            </a:extLst>
          </p:cNvPr>
          <p:cNvGrpSpPr/>
          <p:nvPr/>
        </p:nvGrpSpPr>
        <p:grpSpPr>
          <a:xfrm>
            <a:off x="7096070" y="2696521"/>
            <a:ext cx="914822" cy="1685219"/>
            <a:chOff x="6611208" y="2899400"/>
            <a:chExt cx="2056107" cy="4983150"/>
          </a:xfrm>
          <a:solidFill>
            <a:srgbClr val="1F497D"/>
          </a:solidFill>
        </p:grpSpPr>
        <p:sp>
          <p:nvSpPr>
            <p:cNvPr id="8" name="Google Shape;600;p22">
              <a:extLst>
                <a:ext uri="{FF2B5EF4-FFF2-40B4-BE49-F238E27FC236}">
                  <a16:creationId xmlns:a16="http://schemas.microsoft.com/office/drawing/2014/main" xmlns="" id="{74664705-ABA8-CD80-4B8C-D2AE181A6E98}"/>
                </a:ext>
              </a:extLst>
            </p:cNvPr>
            <p:cNvSpPr/>
            <p:nvPr/>
          </p:nvSpPr>
          <p:spPr>
            <a:xfrm>
              <a:off x="7098899" y="2899400"/>
              <a:ext cx="1070803" cy="1070963"/>
            </a:xfrm>
            <a:custGeom>
              <a:avLst/>
              <a:gdLst/>
              <a:ahLst/>
              <a:cxnLst/>
              <a:rect l="l" t="t" r="r" b="b"/>
              <a:pathLst>
                <a:path w="4321" h="4322" extrusionOk="0">
                  <a:moveTo>
                    <a:pt x="2160" y="1"/>
                  </a:moveTo>
                  <a:cubicBezTo>
                    <a:pt x="967" y="1"/>
                    <a:pt x="0" y="968"/>
                    <a:pt x="0" y="2161"/>
                  </a:cubicBezTo>
                  <a:cubicBezTo>
                    <a:pt x="0" y="3354"/>
                    <a:pt x="967" y="4322"/>
                    <a:pt x="2160" y="4322"/>
                  </a:cubicBezTo>
                  <a:cubicBezTo>
                    <a:pt x="3353" y="4322"/>
                    <a:pt x="4320" y="3354"/>
                    <a:pt x="4320" y="2161"/>
                  </a:cubicBezTo>
                  <a:cubicBezTo>
                    <a:pt x="4320" y="968"/>
                    <a:pt x="3353" y="1"/>
                    <a:pt x="2160" y="1"/>
                  </a:cubicBezTo>
                  <a:close/>
                </a:path>
              </a:pathLst>
            </a:custGeom>
            <a:grpFill/>
            <a:ln>
              <a:solidFill>
                <a:srgbClr val="1F497D"/>
              </a:solidFill>
            </a:ln>
          </p:spPr>
          <p:txBody>
            <a:bodyPr spcFirstLastPara="1" wrap="square" lIns="243800" tIns="243800" rIns="243800" bIns="243800" anchor="ctr" anchorCtr="0">
              <a:noAutofit/>
            </a:bodyPr>
            <a:lstStyle/>
            <a:p>
              <a:pPr algn="l"/>
              <a:endParaRPr sz="6400"/>
            </a:p>
          </p:txBody>
        </p:sp>
        <p:sp>
          <p:nvSpPr>
            <p:cNvPr id="9" name="Google Shape;601;p22">
              <a:extLst>
                <a:ext uri="{FF2B5EF4-FFF2-40B4-BE49-F238E27FC236}">
                  <a16:creationId xmlns:a16="http://schemas.microsoft.com/office/drawing/2014/main" xmlns="" id="{5FE55FF8-8099-826D-CABD-9B547DB7867C}"/>
                </a:ext>
              </a:extLst>
            </p:cNvPr>
            <p:cNvSpPr/>
            <p:nvPr/>
          </p:nvSpPr>
          <p:spPr>
            <a:xfrm>
              <a:off x="6611208" y="4077931"/>
              <a:ext cx="2056107" cy="3804619"/>
            </a:xfrm>
            <a:custGeom>
              <a:avLst/>
              <a:gdLst/>
              <a:ahLst/>
              <a:cxnLst/>
              <a:rect l="l" t="t" r="r" b="b"/>
              <a:pathLst>
                <a:path w="8297" h="15354" extrusionOk="0">
                  <a:moveTo>
                    <a:pt x="1554" y="1"/>
                  </a:moveTo>
                  <a:cubicBezTo>
                    <a:pt x="695" y="1"/>
                    <a:pt x="1" y="702"/>
                    <a:pt x="1" y="1566"/>
                  </a:cubicBezTo>
                  <a:lnTo>
                    <a:pt x="1" y="9047"/>
                  </a:lnTo>
                  <a:cubicBezTo>
                    <a:pt x="1" y="9455"/>
                    <a:pt x="329" y="9785"/>
                    <a:pt x="733" y="9785"/>
                  </a:cubicBezTo>
                  <a:lnTo>
                    <a:pt x="748" y="9785"/>
                  </a:lnTo>
                  <a:cubicBezTo>
                    <a:pt x="1153" y="9785"/>
                    <a:pt x="1480" y="9455"/>
                    <a:pt x="1480" y="9047"/>
                  </a:cubicBezTo>
                  <a:lnTo>
                    <a:pt x="1480" y="2262"/>
                  </a:lnTo>
                  <a:cubicBezTo>
                    <a:pt x="1480" y="2152"/>
                    <a:pt x="1567" y="2066"/>
                    <a:pt x="1675" y="2066"/>
                  </a:cubicBezTo>
                  <a:cubicBezTo>
                    <a:pt x="1777" y="2066"/>
                    <a:pt x="1859" y="2146"/>
                    <a:pt x="1867" y="2249"/>
                  </a:cubicBezTo>
                  <a:lnTo>
                    <a:pt x="1867" y="14310"/>
                  </a:lnTo>
                  <a:cubicBezTo>
                    <a:pt x="1867" y="14886"/>
                    <a:pt x="2334" y="15354"/>
                    <a:pt x="2911" y="15354"/>
                  </a:cubicBezTo>
                  <a:cubicBezTo>
                    <a:pt x="3488" y="15354"/>
                    <a:pt x="3954" y="14886"/>
                    <a:pt x="3954" y="14310"/>
                  </a:cubicBezTo>
                  <a:lnTo>
                    <a:pt x="3954" y="8160"/>
                  </a:lnTo>
                  <a:cubicBezTo>
                    <a:pt x="3954" y="8051"/>
                    <a:pt x="4042" y="7964"/>
                    <a:pt x="4150" y="7964"/>
                  </a:cubicBezTo>
                  <a:cubicBezTo>
                    <a:pt x="4258" y="7964"/>
                    <a:pt x="4345" y="8052"/>
                    <a:pt x="4345" y="8160"/>
                  </a:cubicBezTo>
                  <a:lnTo>
                    <a:pt x="4345" y="14310"/>
                  </a:lnTo>
                  <a:cubicBezTo>
                    <a:pt x="4345" y="14886"/>
                    <a:pt x="4813" y="15354"/>
                    <a:pt x="5389" y="15354"/>
                  </a:cubicBezTo>
                  <a:cubicBezTo>
                    <a:pt x="5966" y="15354"/>
                    <a:pt x="6432" y="14886"/>
                    <a:pt x="6432" y="14310"/>
                  </a:cubicBezTo>
                  <a:lnTo>
                    <a:pt x="6432" y="6869"/>
                  </a:lnTo>
                  <a:lnTo>
                    <a:pt x="6441" y="6869"/>
                  </a:lnTo>
                  <a:lnTo>
                    <a:pt x="6441" y="2262"/>
                  </a:lnTo>
                  <a:cubicBezTo>
                    <a:pt x="6441" y="2152"/>
                    <a:pt x="6528" y="2066"/>
                    <a:pt x="6635" y="2066"/>
                  </a:cubicBezTo>
                  <a:cubicBezTo>
                    <a:pt x="6742" y="2066"/>
                    <a:pt x="6829" y="2155"/>
                    <a:pt x="6829" y="2262"/>
                  </a:cubicBezTo>
                  <a:lnTo>
                    <a:pt x="6829" y="9047"/>
                  </a:lnTo>
                  <a:cubicBezTo>
                    <a:pt x="6829" y="9455"/>
                    <a:pt x="7158" y="9785"/>
                    <a:pt x="7562" y="9785"/>
                  </a:cubicBezTo>
                  <a:cubicBezTo>
                    <a:pt x="7967" y="9785"/>
                    <a:pt x="8295" y="9455"/>
                    <a:pt x="8295" y="9047"/>
                  </a:cubicBezTo>
                  <a:lnTo>
                    <a:pt x="8295" y="1566"/>
                  </a:lnTo>
                  <a:cubicBezTo>
                    <a:pt x="8297" y="703"/>
                    <a:pt x="7602" y="1"/>
                    <a:pt x="6743" y="1"/>
                  </a:cubicBezTo>
                  <a:close/>
                </a:path>
              </a:pathLst>
            </a:custGeom>
            <a:grpFill/>
            <a:ln>
              <a:solidFill>
                <a:srgbClr val="1F497D"/>
              </a:solidFill>
            </a:ln>
          </p:spPr>
          <p:txBody>
            <a:bodyPr spcFirstLastPara="1" wrap="square" lIns="243800" tIns="243800" rIns="243800" bIns="243800" anchor="ctr" anchorCtr="0">
              <a:noAutofit/>
            </a:bodyPr>
            <a:lstStyle/>
            <a:p>
              <a:pPr algn="l"/>
              <a:endParaRPr sz="6400"/>
            </a:p>
          </p:txBody>
        </p:sp>
      </p:grpSp>
      <p:graphicFrame>
        <p:nvGraphicFramePr>
          <p:cNvPr id="18" name="Γράφημα 17">
            <a:extLst>
              <a:ext uri="{FF2B5EF4-FFF2-40B4-BE49-F238E27FC236}">
                <a16:creationId xmlns:a16="http://schemas.microsoft.com/office/drawing/2014/main" xmlns="" id="{41DAED53-8828-928A-B6C8-27DCDF97F5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4985939"/>
              </p:ext>
            </p:extLst>
          </p:nvPr>
        </p:nvGraphicFramePr>
        <p:xfrm>
          <a:off x="247648" y="6448246"/>
          <a:ext cx="11366529" cy="6686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Γράφημα 20">
            <a:extLst>
              <a:ext uri="{FF2B5EF4-FFF2-40B4-BE49-F238E27FC236}">
                <a16:creationId xmlns:a16="http://schemas.microsoft.com/office/drawing/2014/main" xmlns="" id="{768B26AF-3833-3F30-15DF-CE3FEB5B36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8268611"/>
              </p:ext>
            </p:extLst>
          </p:nvPr>
        </p:nvGraphicFramePr>
        <p:xfrm>
          <a:off x="12047365" y="2763058"/>
          <a:ext cx="11999167" cy="102098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2" name="Ορθογώνιο 21">
            <a:extLst>
              <a:ext uri="{FF2B5EF4-FFF2-40B4-BE49-F238E27FC236}">
                <a16:creationId xmlns:a16="http://schemas.microsoft.com/office/drawing/2014/main" xmlns="" id="{28F39B1C-711A-7924-CD85-52A67FB63237}"/>
              </a:ext>
            </a:extLst>
          </p:cNvPr>
          <p:cNvSpPr/>
          <p:nvPr/>
        </p:nvSpPr>
        <p:spPr>
          <a:xfrm>
            <a:off x="379698" y="6081713"/>
            <a:ext cx="11366529" cy="18666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23" name="Ορθογώνιο 22">
            <a:extLst>
              <a:ext uri="{FF2B5EF4-FFF2-40B4-BE49-F238E27FC236}">
                <a16:creationId xmlns:a16="http://schemas.microsoft.com/office/drawing/2014/main" xmlns="" id="{77F38C44-6F46-0EE2-1844-631E1DAF3529}"/>
              </a:ext>
            </a:extLst>
          </p:cNvPr>
          <p:cNvSpPr/>
          <p:nvPr/>
        </p:nvSpPr>
        <p:spPr>
          <a:xfrm rot="5400000">
            <a:off x="6108801" y="7286974"/>
            <a:ext cx="11485019" cy="21016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Θέση αριθμού διαφάνειας 2">
            <a:extLst>
              <a:ext uri="{FF2B5EF4-FFF2-40B4-BE49-F238E27FC236}">
                <a16:creationId xmlns:a16="http://schemas.microsoft.com/office/drawing/2014/main" xmlns="" id="{5A2BF3CE-EF26-F8CB-A3F2-830DE5DA327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4</a:t>
            </a:fld>
            <a:endParaRPr lang="en"/>
          </a:p>
        </p:txBody>
      </p:sp>
      <p:grpSp>
        <p:nvGrpSpPr>
          <p:cNvPr id="4" name="Google Shape;62;p17">
            <a:extLst>
              <a:ext uri="{FF2B5EF4-FFF2-40B4-BE49-F238E27FC236}">
                <a16:creationId xmlns:a16="http://schemas.microsoft.com/office/drawing/2014/main" xmlns="" id="{AE54ABB9-F223-5D16-95F5-55827AB5D96A}"/>
              </a:ext>
            </a:extLst>
          </p:cNvPr>
          <p:cNvGrpSpPr/>
          <p:nvPr/>
        </p:nvGrpSpPr>
        <p:grpSpPr>
          <a:xfrm>
            <a:off x="8221479" y="3987952"/>
            <a:ext cx="7898072" cy="7606503"/>
            <a:chOff x="793700" y="683400"/>
            <a:chExt cx="3833375" cy="3776700"/>
          </a:xfrm>
        </p:grpSpPr>
        <p:sp>
          <p:nvSpPr>
            <p:cNvPr id="5" name="Google Shape;63;p17">
              <a:extLst>
                <a:ext uri="{FF2B5EF4-FFF2-40B4-BE49-F238E27FC236}">
                  <a16:creationId xmlns:a16="http://schemas.microsoft.com/office/drawing/2014/main" xmlns="" id="{03B36726-90F6-83BF-B26C-E92D2818D9D1}"/>
                </a:ext>
              </a:extLst>
            </p:cNvPr>
            <p:cNvSpPr/>
            <p:nvPr/>
          </p:nvSpPr>
          <p:spPr>
            <a:xfrm>
              <a:off x="2558801" y="3967637"/>
              <a:ext cx="1243817" cy="423299"/>
            </a:xfrm>
            <a:custGeom>
              <a:avLst/>
              <a:gdLst/>
              <a:ahLst/>
              <a:cxnLst/>
              <a:rect l="l" t="t" r="r" b="b"/>
              <a:pathLst>
                <a:path w="5395" h="1836" extrusionOk="0">
                  <a:moveTo>
                    <a:pt x="451" y="1"/>
                  </a:moveTo>
                  <a:cubicBezTo>
                    <a:pt x="444" y="1"/>
                    <a:pt x="437" y="2"/>
                    <a:pt x="431" y="5"/>
                  </a:cubicBezTo>
                  <a:cubicBezTo>
                    <a:pt x="394" y="28"/>
                    <a:pt x="406" y="75"/>
                    <a:pt x="394" y="109"/>
                  </a:cubicBezTo>
                  <a:cubicBezTo>
                    <a:pt x="383" y="156"/>
                    <a:pt x="350" y="215"/>
                    <a:pt x="372" y="248"/>
                  </a:cubicBezTo>
                  <a:cubicBezTo>
                    <a:pt x="383" y="262"/>
                    <a:pt x="394" y="274"/>
                    <a:pt x="406" y="285"/>
                  </a:cubicBezTo>
                  <a:lnTo>
                    <a:pt x="406" y="318"/>
                  </a:lnTo>
                  <a:cubicBezTo>
                    <a:pt x="406" y="366"/>
                    <a:pt x="406" y="402"/>
                    <a:pt x="383" y="436"/>
                  </a:cubicBezTo>
                  <a:cubicBezTo>
                    <a:pt x="369" y="450"/>
                    <a:pt x="341" y="460"/>
                    <a:pt x="317" y="460"/>
                  </a:cubicBezTo>
                  <a:cubicBezTo>
                    <a:pt x="302" y="460"/>
                    <a:pt x="288" y="456"/>
                    <a:pt x="280" y="447"/>
                  </a:cubicBezTo>
                  <a:cubicBezTo>
                    <a:pt x="266" y="436"/>
                    <a:pt x="266" y="425"/>
                    <a:pt x="266" y="425"/>
                  </a:cubicBezTo>
                  <a:cubicBezTo>
                    <a:pt x="255" y="413"/>
                    <a:pt x="232" y="402"/>
                    <a:pt x="221" y="402"/>
                  </a:cubicBezTo>
                  <a:cubicBezTo>
                    <a:pt x="210" y="377"/>
                    <a:pt x="210" y="343"/>
                    <a:pt x="210" y="307"/>
                  </a:cubicBezTo>
                  <a:lnTo>
                    <a:pt x="210" y="204"/>
                  </a:lnTo>
                  <a:cubicBezTo>
                    <a:pt x="210" y="179"/>
                    <a:pt x="196" y="145"/>
                    <a:pt x="185" y="134"/>
                  </a:cubicBezTo>
                  <a:cubicBezTo>
                    <a:pt x="178" y="118"/>
                    <a:pt x="162" y="104"/>
                    <a:pt x="145" y="104"/>
                  </a:cubicBezTo>
                  <a:cubicBezTo>
                    <a:pt x="135" y="104"/>
                    <a:pt x="124" y="109"/>
                    <a:pt x="115" y="123"/>
                  </a:cubicBezTo>
                  <a:cubicBezTo>
                    <a:pt x="115" y="134"/>
                    <a:pt x="104" y="145"/>
                    <a:pt x="115" y="156"/>
                  </a:cubicBezTo>
                  <a:cubicBezTo>
                    <a:pt x="126" y="167"/>
                    <a:pt x="126" y="167"/>
                    <a:pt x="140" y="167"/>
                  </a:cubicBezTo>
                  <a:lnTo>
                    <a:pt x="151" y="179"/>
                  </a:lnTo>
                  <a:cubicBezTo>
                    <a:pt x="162" y="193"/>
                    <a:pt x="140" y="215"/>
                    <a:pt x="140" y="226"/>
                  </a:cubicBezTo>
                  <a:cubicBezTo>
                    <a:pt x="115" y="248"/>
                    <a:pt x="126" y="274"/>
                    <a:pt x="126" y="307"/>
                  </a:cubicBezTo>
                  <a:cubicBezTo>
                    <a:pt x="126" y="355"/>
                    <a:pt x="104" y="413"/>
                    <a:pt x="104" y="458"/>
                  </a:cubicBezTo>
                  <a:cubicBezTo>
                    <a:pt x="104" y="483"/>
                    <a:pt x="115" y="506"/>
                    <a:pt x="115" y="528"/>
                  </a:cubicBezTo>
                  <a:cubicBezTo>
                    <a:pt x="104" y="542"/>
                    <a:pt x="92" y="564"/>
                    <a:pt x="104" y="576"/>
                  </a:cubicBezTo>
                  <a:cubicBezTo>
                    <a:pt x="104" y="612"/>
                    <a:pt x="126" y="634"/>
                    <a:pt x="115" y="657"/>
                  </a:cubicBezTo>
                  <a:cubicBezTo>
                    <a:pt x="104" y="682"/>
                    <a:pt x="70" y="682"/>
                    <a:pt x="56" y="693"/>
                  </a:cubicBezTo>
                  <a:cubicBezTo>
                    <a:pt x="11" y="715"/>
                    <a:pt x="34" y="785"/>
                    <a:pt x="34" y="844"/>
                  </a:cubicBezTo>
                  <a:cubicBezTo>
                    <a:pt x="22" y="866"/>
                    <a:pt x="11" y="892"/>
                    <a:pt x="11" y="914"/>
                  </a:cubicBezTo>
                  <a:cubicBezTo>
                    <a:pt x="0" y="936"/>
                    <a:pt x="0" y="973"/>
                    <a:pt x="22" y="984"/>
                  </a:cubicBezTo>
                  <a:cubicBezTo>
                    <a:pt x="34" y="989"/>
                    <a:pt x="48" y="989"/>
                    <a:pt x="63" y="989"/>
                  </a:cubicBezTo>
                  <a:cubicBezTo>
                    <a:pt x="78" y="989"/>
                    <a:pt x="92" y="989"/>
                    <a:pt x="104" y="995"/>
                  </a:cubicBezTo>
                  <a:cubicBezTo>
                    <a:pt x="126" y="1017"/>
                    <a:pt x="126" y="1065"/>
                    <a:pt x="151" y="1087"/>
                  </a:cubicBezTo>
                  <a:lnTo>
                    <a:pt x="185" y="1087"/>
                  </a:lnTo>
                  <a:cubicBezTo>
                    <a:pt x="235" y="1097"/>
                    <a:pt x="286" y="1101"/>
                    <a:pt x="336" y="1101"/>
                  </a:cubicBezTo>
                  <a:cubicBezTo>
                    <a:pt x="413" y="1101"/>
                    <a:pt x="488" y="1091"/>
                    <a:pt x="559" y="1076"/>
                  </a:cubicBezTo>
                  <a:cubicBezTo>
                    <a:pt x="585" y="1070"/>
                    <a:pt x="612" y="1063"/>
                    <a:pt x="636" y="1063"/>
                  </a:cubicBezTo>
                  <a:cubicBezTo>
                    <a:pt x="654" y="1063"/>
                    <a:pt x="671" y="1067"/>
                    <a:pt x="685" y="1076"/>
                  </a:cubicBezTo>
                  <a:cubicBezTo>
                    <a:pt x="699" y="1076"/>
                    <a:pt x="722" y="1101"/>
                    <a:pt x="733" y="1101"/>
                  </a:cubicBezTo>
                  <a:cubicBezTo>
                    <a:pt x="739" y="1103"/>
                    <a:pt x="745" y="1104"/>
                    <a:pt x="752" y="1104"/>
                  </a:cubicBezTo>
                  <a:cubicBezTo>
                    <a:pt x="781" y="1104"/>
                    <a:pt x="809" y="1085"/>
                    <a:pt x="839" y="1076"/>
                  </a:cubicBezTo>
                  <a:cubicBezTo>
                    <a:pt x="842" y="1076"/>
                    <a:pt x="846" y="1076"/>
                    <a:pt x="849" y="1076"/>
                  </a:cubicBezTo>
                  <a:cubicBezTo>
                    <a:pt x="927" y="1076"/>
                    <a:pt x="990" y="1187"/>
                    <a:pt x="1066" y="1187"/>
                  </a:cubicBezTo>
                  <a:cubicBezTo>
                    <a:pt x="1075" y="1187"/>
                    <a:pt x="1084" y="1186"/>
                    <a:pt x="1093" y="1182"/>
                  </a:cubicBezTo>
                  <a:cubicBezTo>
                    <a:pt x="1119" y="1182"/>
                    <a:pt x="1130" y="1157"/>
                    <a:pt x="1152" y="1157"/>
                  </a:cubicBezTo>
                  <a:cubicBezTo>
                    <a:pt x="1160" y="1153"/>
                    <a:pt x="1167" y="1152"/>
                    <a:pt x="1175" y="1152"/>
                  </a:cubicBezTo>
                  <a:cubicBezTo>
                    <a:pt x="1191" y="1152"/>
                    <a:pt x="1207" y="1157"/>
                    <a:pt x="1222" y="1157"/>
                  </a:cubicBezTo>
                  <a:cubicBezTo>
                    <a:pt x="1270" y="1171"/>
                    <a:pt x="1314" y="1182"/>
                    <a:pt x="1362" y="1194"/>
                  </a:cubicBezTo>
                  <a:cubicBezTo>
                    <a:pt x="1409" y="1205"/>
                    <a:pt x="1468" y="1216"/>
                    <a:pt x="1513" y="1216"/>
                  </a:cubicBezTo>
                  <a:cubicBezTo>
                    <a:pt x="1556" y="1208"/>
                    <a:pt x="1599" y="1180"/>
                    <a:pt x="1637" y="1180"/>
                  </a:cubicBezTo>
                  <a:cubicBezTo>
                    <a:pt x="1652" y="1180"/>
                    <a:pt x="1665" y="1184"/>
                    <a:pt x="1678" y="1194"/>
                  </a:cubicBezTo>
                  <a:cubicBezTo>
                    <a:pt x="1723" y="1216"/>
                    <a:pt x="1734" y="1263"/>
                    <a:pt x="1781" y="1286"/>
                  </a:cubicBezTo>
                  <a:cubicBezTo>
                    <a:pt x="1786" y="1287"/>
                    <a:pt x="1790" y="1288"/>
                    <a:pt x="1795" y="1288"/>
                  </a:cubicBezTo>
                  <a:cubicBezTo>
                    <a:pt x="1819" y="1288"/>
                    <a:pt x="1849" y="1273"/>
                    <a:pt x="1875" y="1273"/>
                  </a:cubicBezTo>
                  <a:cubicBezTo>
                    <a:pt x="1888" y="1273"/>
                    <a:pt x="1900" y="1276"/>
                    <a:pt x="1910" y="1286"/>
                  </a:cubicBezTo>
                  <a:cubicBezTo>
                    <a:pt x="1932" y="1297"/>
                    <a:pt x="1944" y="1322"/>
                    <a:pt x="1957" y="1345"/>
                  </a:cubicBezTo>
                  <a:cubicBezTo>
                    <a:pt x="1984" y="1390"/>
                    <a:pt x="2038" y="1407"/>
                    <a:pt x="2089" y="1407"/>
                  </a:cubicBezTo>
                  <a:cubicBezTo>
                    <a:pt x="2104" y="1407"/>
                    <a:pt x="2118" y="1406"/>
                    <a:pt x="2131" y="1403"/>
                  </a:cubicBezTo>
                  <a:cubicBezTo>
                    <a:pt x="2171" y="1403"/>
                    <a:pt x="2211" y="1396"/>
                    <a:pt x="2249" y="1396"/>
                  </a:cubicBezTo>
                  <a:cubicBezTo>
                    <a:pt x="2277" y="1396"/>
                    <a:pt x="2304" y="1400"/>
                    <a:pt x="2329" y="1414"/>
                  </a:cubicBezTo>
                  <a:cubicBezTo>
                    <a:pt x="2377" y="1437"/>
                    <a:pt x="2399" y="1484"/>
                    <a:pt x="2399" y="1543"/>
                  </a:cubicBezTo>
                  <a:cubicBezTo>
                    <a:pt x="2399" y="1591"/>
                    <a:pt x="2341" y="1602"/>
                    <a:pt x="2363" y="1647"/>
                  </a:cubicBezTo>
                  <a:cubicBezTo>
                    <a:pt x="2377" y="1683"/>
                    <a:pt x="2388" y="1716"/>
                    <a:pt x="2377" y="1753"/>
                  </a:cubicBezTo>
                  <a:cubicBezTo>
                    <a:pt x="2363" y="1764"/>
                    <a:pt x="2341" y="1775"/>
                    <a:pt x="2341" y="1800"/>
                  </a:cubicBezTo>
                  <a:cubicBezTo>
                    <a:pt x="2341" y="1812"/>
                    <a:pt x="2352" y="1823"/>
                    <a:pt x="2352" y="1823"/>
                  </a:cubicBezTo>
                  <a:cubicBezTo>
                    <a:pt x="2367" y="1831"/>
                    <a:pt x="2382" y="1835"/>
                    <a:pt x="2398" y="1835"/>
                  </a:cubicBezTo>
                  <a:cubicBezTo>
                    <a:pt x="2463" y="1835"/>
                    <a:pt x="2534" y="1774"/>
                    <a:pt x="2597" y="1774"/>
                  </a:cubicBezTo>
                  <a:cubicBezTo>
                    <a:pt x="2601" y="1774"/>
                    <a:pt x="2605" y="1775"/>
                    <a:pt x="2609" y="1775"/>
                  </a:cubicBezTo>
                  <a:cubicBezTo>
                    <a:pt x="2643" y="1775"/>
                    <a:pt x="2668" y="1800"/>
                    <a:pt x="2701" y="1812"/>
                  </a:cubicBezTo>
                  <a:cubicBezTo>
                    <a:pt x="2726" y="1821"/>
                    <a:pt x="2751" y="1825"/>
                    <a:pt x="2776" y="1825"/>
                  </a:cubicBezTo>
                  <a:cubicBezTo>
                    <a:pt x="2869" y="1825"/>
                    <a:pt x="2963" y="1773"/>
                    <a:pt x="3062" y="1764"/>
                  </a:cubicBezTo>
                  <a:cubicBezTo>
                    <a:pt x="3157" y="1753"/>
                    <a:pt x="3261" y="1775"/>
                    <a:pt x="3342" y="1716"/>
                  </a:cubicBezTo>
                  <a:cubicBezTo>
                    <a:pt x="3367" y="1705"/>
                    <a:pt x="3389" y="1683"/>
                    <a:pt x="3412" y="1672"/>
                  </a:cubicBezTo>
                  <a:cubicBezTo>
                    <a:pt x="3448" y="1661"/>
                    <a:pt x="3495" y="1672"/>
                    <a:pt x="3529" y="1647"/>
                  </a:cubicBezTo>
                  <a:cubicBezTo>
                    <a:pt x="3551" y="1635"/>
                    <a:pt x="3565" y="1624"/>
                    <a:pt x="3588" y="1613"/>
                  </a:cubicBezTo>
                  <a:cubicBezTo>
                    <a:pt x="3610" y="1613"/>
                    <a:pt x="3635" y="1624"/>
                    <a:pt x="3646" y="1635"/>
                  </a:cubicBezTo>
                  <a:cubicBezTo>
                    <a:pt x="3684" y="1652"/>
                    <a:pt x="3727" y="1661"/>
                    <a:pt x="3771" y="1661"/>
                  </a:cubicBezTo>
                  <a:cubicBezTo>
                    <a:pt x="3822" y="1661"/>
                    <a:pt x="3875" y="1650"/>
                    <a:pt x="3926" y="1624"/>
                  </a:cubicBezTo>
                  <a:cubicBezTo>
                    <a:pt x="3948" y="1613"/>
                    <a:pt x="3971" y="1602"/>
                    <a:pt x="3996" y="1602"/>
                  </a:cubicBezTo>
                  <a:cubicBezTo>
                    <a:pt x="4018" y="1602"/>
                    <a:pt x="4030" y="1613"/>
                    <a:pt x="4055" y="1613"/>
                  </a:cubicBezTo>
                  <a:cubicBezTo>
                    <a:pt x="4099" y="1613"/>
                    <a:pt x="4147" y="1565"/>
                    <a:pt x="4194" y="1565"/>
                  </a:cubicBezTo>
                  <a:cubicBezTo>
                    <a:pt x="4217" y="1577"/>
                    <a:pt x="4239" y="1591"/>
                    <a:pt x="4264" y="1602"/>
                  </a:cubicBezTo>
                  <a:cubicBezTo>
                    <a:pt x="4288" y="1615"/>
                    <a:pt x="4313" y="1620"/>
                    <a:pt x="4337" y="1620"/>
                  </a:cubicBezTo>
                  <a:cubicBezTo>
                    <a:pt x="4397" y="1620"/>
                    <a:pt x="4458" y="1588"/>
                    <a:pt x="4508" y="1554"/>
                  </a:cubicBezTo>
                  <a:cubicBezTo>
                    <a:pt x="4561" y="1532"/>
                    <a:pt x="4625" y="1509"/>
                    <a:pt x="4682" y="1509"/>
                  </a:cubicBezTo>
                  <a:cubicBezTo>
                    <a:pt x="4712" y="1509"/>
                    <a:pt x="4741" y="1516"/>
                    <a:pt x="4765" y="1532"/>
                  </a:cubicBezTo>
                  <a:cubicBezTo>
                    <a:pt x="4776" y="1543"/>
                    <a:pt x="4776" y="1554"/>
                    <a:pt x="4798" y="1554"/>
                  </a:cubicBezTo>
                  <a:cubicBezTo>
                    <a:pt x="4806" y="1559"/>
                    <a:pt x="4814" y="1561"/>
                    <a:pt x="4822" y="1561"/>
                  </a:cubicBezTo>
                  <a:cubicBezTo>
                    <a:pt x="4848" y="1561"/>
                    <a:pt x="4877" y="1541"/>
                    <a:pt x="4903" y="1541"/>
                  </a:cubicBezTo>
                  <a:cubicBezTo>
                    <a:pt x="4907" y="1541"/>
                    <a:pt x="4912" y="1542"/>
                    <a:pt x="4916" y="1543"/>
                  </a:cubicBezTo>
                  <a:cubicBezTo>
                    <a:pt x="4957" y="1553"/>
                    <a:pt x="4979" y="1606"/>
                    <a:pt x="5015" y="1606"/>
                  </a:cubicBezTo>
                  <a:cubicBezTo>
                    <a:pt x="5021" y="1606"/>
                    <a:pt x="5027" y="1605"/>
                    <a:pt x="5033" y="1602"/>
                  </a:cubicBezTo>
                  <a:cubicBezTo>
                    <a:pt x="5045" y="1602"/>
                    <a:pt x="5056" y="1591"/>
                    <a:pt x="5067" y="1577"/>
                  </a:cubicBezTo>
                  <a:cubicBezTo>
                    <a:pt x="5078" y="1565"/>
                    <a:pt x="5114" y="1565"/>
                    <a:pt x="5137" y="1565"/>
                  </a:cubicBezTo>
                  <a:cubicBezTo>
                    <a:pt x="5173" y="1554"/>
                    <a:pt x="5196" y="1532"/>
                    <a:pt x="5218" y="1507"/>
                  </a:cubicBezTo>
                  <a:cubicBezTo>
                    <a:pt x="5277" y="1451"/>
                    <a:pt x="5324" y="1392"/>
                    <a:pt x="5324" y="1322"/>
                  </a:cubicBezTo>
                  <a:cubicBezTo>
                    <a:pt x="5324" y="1275"/>
                    <a:pt x="5313" y="1241"/>
                    <a:pt x="5335" y="1205"/>
                  </a:cubicBezTo>
                  <a:cubicBezTo>
                    <a:pt x="5347" y="1194"/>
                    <a:pt x="5369" y="1182"/>
                    <a:pt x="5383" y="1157"/>
                  </a:cubicBezTo>
                  <a:cubicBezTo>
                    <a:pt x="5394" y="1124"/>
                    <a:pt x="5335" y="1101"/>
                    <a:pt x="5313" y="1065"/>
                  </a:cubicBezTo>
                  <a:cubicBezTo>
                    <a:pt x="5277" y="1031"/>
                    <a:pt x="5299" y="984"/>
                    <a:pt x="5335" y="947"/>
                  </a:cubicBezTo>
                  <a:cubicBezTo>
                    <a:pt x="5358" y="903"/>
                    <a:pt x="5394" y="866"/>
                    <a:pt x="5383" y="822"/>
                  </a:cubicBezTo>
                  <a:cubicBezTo>
                    <a:pt x="5378" y="819"/>
                    <a:pt x="5373" y="818"/>
                    <a:pt x="5368" y="818"/>
                  </a:cubicBezTo>
                  <a:cubicBezTo>
                    <a:pt x="5349" y="818"/>
                    <a:pt x="5331" y="837"/>
                    <a:pt x="5313" y="855"/>
                  </a:cubicBezTo>
                  <a:cubicBezTo>
                    <a:pt x="5299" y="878"/>
                    <a:pt x="5288" y="914"/>
                    <a:pt x="5254" y="914"/>
                  </a:cubicBezTo>
                  <a:cubicBezTo>
                    <a:pt x="5249" y="920"/>
                    <a:pt x="5240" y="920"/>
                    <a:pt x="5230" y="920"/>
                  </a:cubicBezTo>
                  <a:cubicBezTo>
                    <a:pt x="5221" y="920"/>
                    <a:pt x="5212" y="920"/>
                    <a:pt x="5207" y="925"/>
                  </a:cubicBezTo>
                  <a:cubicBezTo>
                    <a:pt x="5148" y="936"/>
                    <a:pt x="5159" y="1031"/>
                    <a:pt x="5126" y="1076"/>
                  </a:cubicBezTo>
                  <a:cubicBezTo>
                    <a:pt x="5109" y="1104"/>
                    <a:pt x="5084" y="1117"/>
                    <a:pt x="5058" y="1117"/>
                  </a:cubicBezTo>
                  <a:cubicBezTo>
                    <a:pt x="5050" y="1117"/>
                    <a:pt x="5042" y="1115"/>
                    <a:pt x="5033" y="1112"/>
                  </a:cubicBezTo>
                  <a:cubicBezTo>
                    <a:pt x="4997" y="1101"/>
                    <a:pt x="4986" y="1065"/>
                    <a:pt x="4986" y="1043"/>
                  </a:cubicBezTo>
                  <a:cubicBezTo>
                    <a:pt x="4975" y="1031"/>
                    <a:pt x="4975" y="1017"/>
                    <a:pt x="4963" y="1017"/>
                  </a:cubicBezTo>
                  <a:cubicBezTo>
                    <a:pt x="4963" y="1017"/>
                    <a:pt x="4949" y="1017"/>
                    <a:pt x="4949" y="1031"/>
                  </a:cubicBezTo>
                  <a:cubicBezTo>
                    <a:pt x="4938" y="1031"/>
                    <a:pt x="4938" y="1031"/>
                    <a:pt x="4927" y="1043"/>
                  </a:cubicBezTo>
                  <a:lnTo>
                    <a:pt x="4905" y="1043"/>
                  </a:lnTo>
                  <a:cubicBezTo>
                    <a:pt x="4888" y="1043"/>
                    <a:pt x="4867" y="1038"/>
                    <a:pt x="4849" y="1038"/>
                  </a:cubicBezTo>
                  <a:cubicBezTo>
                    <a:pt x="4840" y="1038"/>
                    <a:pt x="4831" y="1039"/>
                    <a:pt x="4824" y="1043"/>
                  </a:cubicBezTo>
                  <a:cubicBezTo>
                    <a:pt x="4798" y="1054"/>
                    <a:pt x="4787" y="1076"/>
                    <a:pt x="4776" y="1087"/>
                  </a:cubicBezTo>
                  <a:cubicBezTo>
                    <a:pt x="4740" y="1135"/>
                    <a:pt x="4684" y="1157"/>
                    <a:pt x="4625" y="1171"/>
                  </a:cubicBezTo>
                  <a:cubicBezTo>
                    <a:pt x="4613" y="1177"/>
                    <a:pt x="4598" y="1180"/>
                    <a:pt x="4585" y="1180"/>
                  </a:cubicBezTo>
                  <a:cubicBezTo>
                    <a:pt x="4572" y="1180"/>
                    <a:pt x="4561" y="1177"/>
                    <a:pt x="4555" y="1171"/>
                  </a:cubicBezTo>
                  <a:cubicBezTo>
                    <a:pt x="4530" y="1157"/>
                    <a:pt x="4519" y="1124"/>
                    <a:pt x="4496" y="1124"/>
                  </a:cubicBezTo>
                  <a:cubicBezTo>
                    <a:pt x="4474" y="1124"/>
                    <a:pt x="4474" y="1146"/>
                    <a:pt x="4474" y="1171"/>
                  </a:cubicBezTo>
                  <a:cubicBezTo>
                    <a:pt x="4474" y="1194"/>
                    <a:pt x="4496" y="1205"/>
                    <a:pt x="4485" y="1241"/>
                  </a:cubicBezTo>
                  <a:cubicBezTo>
                    <a:pt x="4474" y="1286"/>
                    <a:pt x="4427" y="1333"/>
                    <a:pt x="4379" y="1333"/>
                  </a:cubicBezTo>
                  <a:cubicBezTo>
                    <a:pt x="4374" y="1334"/>
                    <a:pt x="4370" y="1334"/>
                    <a:pt x="4366" y="1334"/>
                  </a:cubicBezTo>
                  <a:cubicBezTo>
                    <a:pt x="4290" y="1334"/>
                    <a:pt x="4229" y="1248"/>
                    <a:pt x="4250" y="1182"/>
                  </a:cubicBezTo>
                  <a:lnTo>
                    <a:pt x="4250" y="1146"/>
                  </a:lnTo>
                  <a:lnTo>
                    <a:pt x="4250" y="1101"/>
                  </a:lnTo>
                  <a:cubicBezTo>
                    <a:pt x="4239" y="1054"/>
                    <a:pt x="4320" y="1043"/>
                    <a:pt x="4320" y="995"/>
                  </a:cubicBezTo>
                  <a:cubicBezTo>
                    <a:pt x="4320" y="973"/>
                    <a:pt x="4309" y="947"/>
                    <a:pt x="4298" y="936"/>
                  </a:cubicBezTo>
                  <a:cubicBezTo>
                    <a:pt x="4287" y="914"/>
                    <a:pt x="4287" y="892"/>
                    <a:pt x="4309" y="878"/>
                  </a:cubicBezTo>
                  <a:lnTo>
                    <a:pt x="4345" y="878"/>
                  </a:lnTo>
                  <a:cubicBezTo>
                    <a:pt x="4368" y="878"/>
                    <a:pt x="4368" y="844"/>
                    <a:pt x="4357" y="822"/>
                  </a:cubicBezTo>
                  <a:cubicBezTo>
                    <a:pt x="4334" y="796"/>
                    <a:pt x="4309" y="796"/>
                    <a:pt x="4287" y="796"/>
                  </a:cubicBezTo>
                  <a:cubicBezTo>
                    <a:pt x="4237" y="789"/>
                    <a:pt x="4188" y="781"/>
                    <a:pt x="4138" y="781"/>
                  </a:cubicBezTo>
                  <a:cubicBezTo>
                    <a:pt x="4118" y="781"/>
                    <a:pt x="4098" y="782"/>
                    <a:pt x="4077" y="785"/>
                  </a:cubicBezTo>
                  <a:cubicBezTo>
                    <a:pt x="3985" y="796"/>
                    <a:pt x="3890" y="844"/>
                    <a:pt x="3809" y="892"/>
                  </a:cubicBezTo>
                  <a:cubicBezTo>
                    <a:pt x="3775" y="903"/>
                    <a:pt x="3739" y="914"/>
                    <a:pt x="3705" y="914"/>
                  </a:cubicBezTo>
                  <a:cubicBezTo>
                    <a:pt x="3669" y="914"/>
                    <a:pt x="3635" y="892"/>
                    <a:pt x="3621" y="844"/>
                  </a:cubicBezTo>
                  <a:lnTo>
                    <a:pt x="3621" y="833"/>
                  </a:lnTo>
                  <a:cubicBezTo>
                    <a:pt x="3621" y="822"/>
                    <a:pt x="3610" y="822"/>
                    <a:pt x="3599" y="822"/>
                  </a:cubicBezTo>
                  <a:cubicBezTo>
                    <a:pt x="3507" y="833"/>
                    <a:pt x="3426" y="833"/>
                    <a:pt x="3330" y="833"/>
                  </a:cubicBezTo>
                  <a:cubicBezTo>
                    <a:pt x="3308" y="833"/>
                    <a:pt x="3289" y="838"/>
                    <a:pt x="3273" y="838"/>
                  </a:cubicBezTo>
                  <a:cubicBezTo>
                    <a:pt x="3265" y="838"/>
                    <a:pt x="3257" y="837"/>
                    <a:pt x="3249" y="833"/>
                  </a:cubicBezTo>
                  <a:cubicBezTo>
                    <a:pt x="3222" y="812"/>
                    <a:pt x="3193" y="779"/>
                    <a:pt x="3158" y="779"/>
                  </a:cubicBezTo>
                  <a:cubicBezTo>
                    <a:pt x="3150" y="779"/>
                    <a:pt x="3141" y="781"/>
                    <a:pt x="3132" y="785"/>
                  </a:cubicBezTo>
                  <a:cubicBezTo>
                    <a:pt x="3121" y="785"/>
                    <a:pt x="3121" y="796"/>
                    <a:pt x="3110" y="808"/>
                  </a:cubicBezTo>
                  <a:cubicBezTo>
                    <a:pt x="3084" y="835"/>
                    <a:pt x="3051" y="848"/>
                    <a:pt x="3021" y="848"/>
                  </a:cubicBezTo>
                  <a:cubicBezTo>
                    <a:pt x="3011" y="848"/>
                    <a:pt x="3001" y="847"/>
                    <a:pt x="2992" y="844"/>
                  </a:cubicBezTo>
                  <a:cubicBezTo>
                    <a:pt x="2947" y="822"/>
                    <a:pt x="2922" y="785"/>
                    <a:pt x="2936" y="738"/>
                  </a:cubicBezTo>
                  <a:lnTo>
                    <a:pt x="2936" y="693"/>
                  </a:lnTo>
                  <a:cubicBezTo>
                    <a:pt x="2936" y="645"/>
                    <a:pt x="2900" y="623"/>
                    <a:pt x="2866" y="623"/>
                  </a:cubicBezTo>
                  <a:cubicBezTo>
                    <a:pt x="2830" y="623"/>
                    <a:pt x="2796" y="634"/>
                    <a:pt x="2760" y="657"/>
                  </a:cubicBezTo>
                  <a:cubicBezTo>
                    <a:pt x="2760" y="657"/>
                    <a:pt x="2749" y="668"/>
                    <a:pt x="2738" y="668"/>
                  </a:cubicBezTo>
                  <a:cubicBezTo>
                    <a:pt x="2733" y="669"/>
                    <a:pt x="2728" y="670"/>
                    <a:pt x="2723" y="670"/>
                  </a:cubicBezTo>
                  <a:cubicBezTo>
                    <a:pt x="2689" y="670"/>
                    <a:pt x="2667" y="633"/>
                    <a:pt x="2632" y="633"/>
                  </a:cubicBezTo>
                  <a:cubicBezTo>
                    <a:pt x="2628" y="633"/>
                    <a:pt x="2624" y="633"/>
                    <a:pt x="2620" y="634"/>
                  </a:cubicBezTo>
                  <a:cubicBezTo>
                    <a:pt x="2609" y="634"/>
                    <a:pt x="2598" y="645"/>
                    <a:pt x="2587" y="645"/>
                  </a:cubicBezTo>
                  <a:cubicBezTo>
                    <a:pt x="2561" y="661"/>
                    <a:pt x="2534" y="667"/>
                    <a:pt x="2506" y="667"/>
                  </a:cubicBezTo>
                  <a:cubicBezTo>
                    <a:pt x="2437" y="667"/>
                    <a:pt x="2363" y="633"/>
                    <a:pt x="2292" y="633"/>
                  </a:cubicBezTo>
                  <a:cubicBezTo>
                    <a:pt x="2285" y="633"/>
                    <a:pt x="2278" y="634"/>
                    <a:pt x="2271" y="634"/>
                  </a:cubicBezTo>
                  <a:cubicBezTo>
                    <a:pt x="2153" y="634"/>
                    <a:pt x="2072" y="752"/>
                    <a:pt x="1969" y="763"/>
                  </a:cubicBezTo>
                  <a:cubicBezTo>
                    <a:pt x="1955" y="765"/>
                    <a:pt x="1941" y="766"/>
                    <a:pt x="1927" y="766"/>
                  </a:cubicBezTo>
                  <a:cubicBezTo>
                    <a:pt x="1871" y="766"/>
                    <a:pt x="1815" y="752"/>
                    <a:pt x="1759" y="752"/>
                  </a:cubicBezTo>
                  <a:cubicBezTo>
                    <a:pt x="1711" y="763"/>
                    <a:pt x="1664" y="785"/>
                    <a:pt x="1608" y="796"/>
                  </a:cubicBezTo>
                  <a:cubicBezTo>
                    <a:pt x="1587" y="803"/>
                    <a:pt x="1558" y="811"/>
                    <a:pt x="1530" y="811"/>
                  </a:cubicBezTo>
                  <a:cubicBezTo>
                    <a:pt x="1511" y="811"/>
                    <a:pt x="1493" y="807"/>
                    <a:pt x="1479" y="796"/>
                  </a:cubicBezTo>
                  <a:cubicBezTo>
                    <a:pt x="1468" y="785"/>
                    <a:pt x="1454" y="763"/>
                    <a:pt x="1454" y="738"/>
                  </a:cubicBezTo>
                  <a:cubicBezTo>
                    <a:pt x="1443" y="693"/>
                    <a:pt x="1443" y="634"/>
                    <a:pt x="1443" y="587"/>
                  </a:cubicBezTo>
                  <a:cubicBezTo>
                    <a:pt x="1443" y="564"/>
                    <a:pt x="1443" y="528"/>
                    <a:pt x="1421" y="517"/>
                  </a:cubicBezTo>
                  <a:cubicBezTo>
                    <a:pt x="1411" y="507"/>
                    <a:pt x="1399" y="504"/>
                    <a:pt x="1388" y="504"/>
                  </a:cubicBezTo>
                  <a:cubicBezTo>
                    <a:pt x="1372" y="504"/>
                    <a:pt x="1357" y="510"/>
                    <a:pt x="1351" y="517"/>
                  </a:cubicBezTo>
                  <a:cubicBezTo>
                    <a:pt x="1328" y="542"/>
                    <a:pt x="1303" y="564"/>
                    <a:pt x="1281" y="564"/>
                  </a:cubicBezTo>
                  <a:cubicBezTo>
                    <a:pt x="1272" y="567"/>
                    <a:pt x="1263" y="567"/>
                    <a:pt x="1255" y="567"/>
                  </a:cubicBezTo>
                  <a:cubicBezTo>
                    <a:pt x="1220" y="567"/>
                    <a:pt x="1193" y="551"/>
                    <a:pt x="1163" y="542"/>
                  </a:cubicBezTo>
                  <a:cubicBezTo>
                    <a:pt x="1152" y="528"/>
                    <a:pt x="1130" y="517"/>
                    <a:pt x="1119" y="506"/>
                  </a:cubicBezTo>
                  <a:cubicBezTo>
                    <a:pt x="1105" y="483"/>
                    <a:pt x="1093" y="458"/>
                    <a:pt x="1105" y="447"/>
                  </a:cubicBezTo>
                  <a:cubicBezTo>
                    <a:pt x="1112" y="445"/>
                    <a:pt x="1118" y="444"/>
                    <a:pt x="1125" y="444"/>
                  </a:cubicBezTo>
                  <a:cubicBezTo>
                    <a:pt x="1154" y="444"/>
                    <a:pt x="1181" y="461"/>
                    <a:pt x="1211" y="472"/>
                  </a:cubicBezTo>
                  <a:cubicBezTo>
                    <a:pt x="1227" y="472"/>
                    <a:pt x="1243" y="475"/>
                    <a:pt x="1260" y="475"/>
                  </a:cubicBezTo>
                  <a:cubicBezTo>
                    <a:pt x="1278" y="475"/>
                    <a:pt x="1297" y="471"/>
                    <a:pt x="1314" y="458"/>
                  </a:cubicBezTo>
                  <a:cubicBezTo>
                    <a:pt x="1351" y="425"/>
                    <a:pt x="1340" y="366"/>
                    <a:pt x="1314" y="318"/>
                  </a:cubicBezTo>
                  <a:cubicBezTo>
                    <a:pt x="1303" y="274"/>
                    <a:pt x="1270" y="226"/>
                    <a:pt x="1211" y="204"/>
                  </a:cubicBezTo>
                  <a:cubicBezTo>
                    <a:pt x="1205" y="203"/>
                    <a:pt x="1199" y="202"/>
                    <a:pt x="1193" y="202"/>
                  </a:cubicBezTo>
                  <a:cubicBezTo>
                    <a:pt x="1140" y="202"/>
                    <a:pt x="1091" y="243"/>
                    <a:pt x="1071" y="296"/>
                  </a:cubicBezTo>
                  <a:cubicBezTo>
                    <a:pt x="1060" y="318"/>
                    <a:pt x="1060" y="343"/>
                    <a:pt x="1049" y="366"/>
                  </a:cubicBezTo>
                  <a:cubicBezTo>
                    <a:pt x="1024" y="402"/>
                    <a:pt x="1001" y="425"/>
                    <a:pt x="965" y="425"/>
                  </a:cubicBezTo>
                  <a:cubicBezTo>
                    <a:pt x="931" y="425"/>
                    <a:pt x="895" y="413"/>
                    <a:pt x="873" y="388"/>
                  </a:cubicBezTo>
                  <a:cubicBezTo>
                    <a:pt x="861" y="377"/>
                    <a:pt x="861" y="377"/>
                    <a:pt x="861" y="366"/>
                  </a:cubicBezTo>
                  <a:cubicBezTo>
                    <a:pt x="852" y="363"/>
                    <a:pt x="843" y="361"/>
                    <a:pt x="835" y="361"/>
                  </a:cubicBezTo>
                  <a:cubicBezTo>
                    <a:pt x="813" y="361"/>
                    <a:pt x="797" y="372"/>
                    <a:pt x="780" y="388"/>
                  </a:cubicBezTo>
                  <a:cubicBezTo>
                    <a:pt x="763" y="398"/>
                    <a:pt x="741" y="412"/>
                    <a:pt x="722" y="412"/>
                  </a:cubicBezTo>
                  <a:cubicBezTo>
                    <a:pt x="714" y="412"/>
                    <a:pt x="706" y="409"/>
                    <a:pt x="699" y="402"/>
                  </a:cubicBezTo>
                  <a:cubicBezTo>
                    <a:pt x="685" y="402"/>
                    <a:pt x="685" y="388"/>
                    <a:pt x="674" y="388"/>
                  </a:cubicBezTo>
                  <a:cubicBezTo>
                    <a:pt x="663" y="388"/>
                    <a:pt x="652" y="377"/>
                    <a:pt x="640" y="377"/>
                  </a:cubicBezTo>
                  <a:lnTo>
                    <a:pt x="559" y="377"/>
                  </a:lnTo>
                  <a:cubicBezTo>
                    <a:pt x="545" y="366"/>
                    <a:pt x="545" y="355"/>
                    <a:pt x="545" y="332"/>
                  </a:cubicBezTo>
                  <a:cubicBezTo>
                    <a:pt x="545" y="296"/>
                    <a:pt x="534" y="262"/>
                    <a:pt x="523" y="226"/>
                  </a:cubicBezTo>
                  <a:cubicBezTo>
                    <a:pt x="523" y="204"/>
                    <a:pt x="512" y="193"/>
                    <a:pt x="501" y="167"/>
                  </a:cubicBezTo>
                  <a:cubicBezTo>
                    <a:pt x="501" y="145"/>
                    <a:pt x="512" y="134"/>
                    <a:pt x="512" y="123"/>
                  </a:cubicBezTo>
                  <a:cubicBezTo>
                    <a:pt x="512" y="86"/>
                    <a:pt x="512" y="53"/>
                    <a:pt x="501" y="28"/>
                  </a:cubicBezTo>
                  <a:cubicBezTo>
                    <a:pt x="492" y="11"/>
                    <a:pt x="471" y="1"/>
                    <a:pt x="451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" name="Google Shape;64;p17">
              <a:extLst>
                <a:ext uri="{FF2B5EF4-FFF2-40B4-BE49-F238E27FC236}">
                  <a16:creationId xmlns:a16="http://schemas.microsoft.com/office/drawing/2014/main" xmlns="" id="{86556136-0F04-CA58-2253-DD6DD816757C}"/>
                </a:ext>
              </a:extLst>
            </p:cNvPr>
            <p:cNvSpPr/>
            <p:nvPr/>
          </p:nvSpPr>
          <p:spPr>
            <a:xfrm>
              <a:off x="2552806" y="3963487"/>
              <a:ext cx="1252348" cy="432291"/>
            </a:xfrm>
            <a:custGeom>
              <a:avLst/>
              <a:gdLst/>
              <a:ahLst/>
              <a:cxnLst/>
              <a:rect l="l" t="t" r="r" b="b"/>
              <a:pathLst>
                <a:path w="5432" h="1875" extrusionOk="0">
                  <a:moveTo>
                    <a:pt x="166" y="141"/>
                  </a:moveTo>
                  <a:lnTo>
                    <a:pt x="177" y="152"/>
                  </a:lnTo>
                  <a:cubicBezTo>
                    <a:pt x="188" y="152"/>
                    <a:pt x="188" y="163"/>
                    <a:pt x="199" y="163"/>
                  </a:cubicBezTo>
                  <a:cubicBezTo>
                    <a:pt x="199" y="170"/>
                    <a:pt x="204" y="182"/>
                    <a:pt x="208" y="197"/>
                  </a:cubicBezTo>
                  <a:lnTo>
                    <a:pt x="208" y="197"/>
                  </a:lnTo>
                  <a:cubicBezTo>
                    <a:pt x="204" y="189"/>
                    <a:pt x="199" y="181"/>
                    <a:pt x="199" y="174"/>
                  </a:cubicBezTo>
                  <a:lnTo>
                    <a:pt x="188" y="174"/>
                  </a:lnTo>
                  <a:lnTo>
                    <a:pt x="166" y="163"/>
                  </a:lnTo>
                  <a:lnTo>
                    <a:pt x="166" y="152"/>
                  </a:lnTo>
                  <a:lnTo>
                    <a:pt x="166" y="141"/>
                  </a:lnTo>
                  <a:close/>
                  <a:moveTo>
                    <a:pt x="479" y="46"/>
                  </a:moveTo>
                  <a:cubicBezTo>
                    <a:pt x="490" y="46"/>
                    <a:pt x="501" y="46"/>
                    <a:pt x="501" y="57"/>
                  </a:cubicBezTo>
                  <a:cubicBezTo>
                    <a:pt x="515" y="71"/>
                    <a:pt x="515" y="82"/>
                    <a:pt x="515" y="104"/>
                  </a:cubicBezTo>
                  <a:lnTo>
                    <a:pt x="515" y="127"/>
                  </a:lnTo>
                  <a:cubicBezTo>
                    <a:pt x="515" y="141"/>
                    <a:pt x="501" y="163"/>
                    <a:pt x="501" y="174"/>
                  </a:cubicBezTo>
                  <a:lnTo>
                    <a:pt x="515" y="185"/>
                  </a:lnTo>
                  <a:cubicBezTo>
                    <a:pt x="515" y="222"/>
                    <a:pt x="527" y="233"/>
                    <a:pt x="527" y="255"/>
                  </a:cubicBezTo>
                  <a:cubicBezTo>
                    <a:pt x="538" y="280"/>
                    <a:pt x="549" y="303"/>
                    <a:pt x="549" y="336"/>
                  </a:cubicBezTo>
                  <a:lnTo>
                    <a:pt x="549" y="350"/>
                  </a:lnTo>
                  <a:lnTo>
                    <a:pt x="549" y="373"/>
                  </a:lnTo>
                  <a:lnTo>
                    <a:pt x="549" y="384"/>
                  </a:lnTo>
                  <a:cubicBezTo>
                    <a:pt x="549" y="395"/>
                    <a:pt x="560" y="406"/>
                    <a:pt x="560" y="406"/>
                  </a:cubicBezTo>
                  <a:cubicBezTo>
                    <a:pt x="585" y="420"/>
                    <a:pt x="597" y="420"/>
                    <a:pt x="608" y="420"/>
                  </a:cubicBezTo>
                  <a:lnTo>
                    <a:pt x="666" y="420"/>
                  </a:lnTo>
                  <a:cubicBezTo>
                    <a:pt x="678" y="420"/>
                    <a:pt x="689" y="431"/>
                    <a:pt x="689" y="431"/>
                  </a:cubicBezTo>
                  <a:cubicBezTo>
                    <a:pt x="689" y="431"/>
                    <a:pt x="700" y="431"/>
                    <a:pt x="711" y="443"/>
                  </a:cubicBezTo>
                  <a:cubicBezTo>
                    <a:pt x="725" y="454"/>
                    <a:pt x="736" y="454"/>
                    <a:pt x="748" y="454"/>
                  </a:cubicBezTo>
                  <a:cubicBezTo>
                    <a:pt x="770" y="454"/>
                    <a:pt x="795" y="443"/>
                    <a:pt x="817" y="420"/>
                  </a:cubicBezTo>
                  <a:cubicBezTo>
                    <a:pt x="829" y="406"/>
                    <a:pt x="851" y="406"/>
                    <a:pt x="865" y="406"/>
                  </a:cubicBezTo>
                  <a:cubicBezTo>
                    <a:pt x="865" y="406"/>
                    <a:pt x="876" y="406"/>
                    <a:pt x="876" y="420"/>
                  </a:cubicBezTo>
                  <a:cubicBezTo>
                    <a:pt x="899" y="454"/>
                    <a:pt x="946" y="465"/>
                    <a:pt x="980" y="465"/>
                  </a:cubicBezTo>
                  <a:lnTo>
                    <a:pt x="991" y="465"/>
                  </a:lnTo>
                  <a:cubicBezTo>
                    <a:pt x="1027" y="465"/>
                    <a:pt x="1075" y="443"/>
                    <a:pt x="1097" y="395"/>
                  </a:cubicBezTo>
                  <a:cubicBezTo>
                    <a:pt x="1108" y="373"/>
                    <a:pt x="1108" y="336"/>
                    <a:pt x="1119" y="314"/>
                  </a:cubicBezTo>
                  <a:cubicBezTo>
                    <a:pt x="1119" y="303"/>
                    <a:pt x="1145" y="280"/>
                    <a:pt x="1156" y="266"/>
                  </a:cubicBezTo>
                  <a:cubicBezTo>
                    <a:pt x="1178" y="255"/>
                    <a:pt x="1189" y="244"/>
                    <a:pt x="1215" y="244"/>
                  </a:cubicBezTo>
                  <a:lnTo>
                    <a:pt x="1237" y="244"/>
                  </a:lnTo>
                  <a:cubicBezTo>
                    <a:pt x="1259" y="255"/>
                    <a:pt x="1270" y="266"/>
                    <a:pt x="1284" y="292"/>
                  </a:cubicBezTo>
                  <a:cubicBezTo>
                    <a:pt x="1307" y="303"/>
                    <a:pt x="1318" y="325"/>
                    <a:pt x="1318" y="350"/>
                  </a:cubicBezTo>
                  <a:cubicBezTo>
                    <a:pt x="1329" y="373"/>
                    <a:pt x="1340" y="395"/>
                    <a:pt x="1340" y="420"/>
                  </a:cubicBezTo>
                  <a:cubicBezTo>
                    <a:pt x="1340" y="431"/>
                    <a:pt x="1329" y="454"/>
                    <a:pt x="1318" y="454"/>
                  </a:cubicBezTo>
                  <a:cubicBezTo>
                    <a:pt x="1318" y="465"/>
                    <a:pt x="1307" y="465"/>
                    <a:pt x="1284" y="465"/>
                  </a:cubicBezTo>
                  <a:lnTo>
                    <a:pt x="1248" y="465"/>
                  </a:lnTo>
                  <a:cubicBezTo>
                    <a:pt x="1215" y="454"/>
                    <a:pt x="1189" y="443"/>
                    <a:pt x="1156" y="443"/>
                  </a:cubicBezTo>
                  <a:lnTo>
                    <a:pt x="1119" y="443"/>
                  </a:lnTo>
                  <a:lnTo>
                    <a:pt x="1108" y="454"/>
                  </a:lnTo>
                  <a:lnTo>
                    <a:pt x="1108" y="490"/>
                  </a:lnTo>
                  <a:cubicBezTo>
                    <a:pt x="1108" y="501"/>
                    <a:pt x="1119" y="524"/>
                    <a:pt x="1131" y="535"/>
                  </a:cubicBezTo>
                  <a:cubicBezTo>
                    <a:pt x="1145" y="560"/>
                    <a:pt x="1167" y="571"/>
                    <a:pt x="1178" y="582"/>
                  </a:cubicBezTo>
                  <a:cubicBezTo>
                    <a:pt x="1215" y="594"/>
                    <a:pt x="1237" y="605"/>
                    <a:pt x="1284" y="616"/>
                  </a:cubicBezTo>
                  <a:cubicBezTo>
                    <a:pt x="1296" y="616"/>
                    <a:pt x="1296" y="605"/>
                    <a:pt x="1307" y="605"/>
                  </a:cubicBezTo>
                  <a:cubicBezTo>
                    <a:pt x="1340" y="594"/>
                    <a:pt x="1366" y="571"/>
                    <a:pt x="1388" y="560"/>
                  </a:cubicBezTo>
                  <a:cubicBezTo>
                    <a:pt x="1399" y="546"/>
                    <a:pt x="1410" y="546"/>
                    <a:pt x="1424" y="546"/>
                  </a:cubicBezTo>
                  <a:lnTo>
                    <a:pt x="1435" y="546"/>
                  </a:lnTo>
                  <a:cubicBezTo>
                    <a:pt x="1435" y="560"/>
                    <a:pt x="1435" y="560"/>
                    <a:pt x="1447" y="571"/>
                  </a:cubicBezTo>
                  <a:lnTo>
                    <a:pt x="1447" y="594"/>
                  </a:lnTo>
                  <a:lnTo>
                    <a:pt x="1447" y="605"/>
                  </a:lnTo>
                  <a:lnTo>
                    <a:pt x="1447" y="630"/>
                  </a:lnTo>
                  <a:cubicBezTo>
                    <a:pt x="1447" y="675"/>
                    <a:pt x="1447" y="711"/>
                    <a:pt x="1458" y="756"/>
                  </a:cubicBezTo>
                  <a:cubicBezTo>
                    <a:pt x="1458" y="770"/>
                    <a:pt x="1458" y="781"/>
                    <a:pt x="1469" y="803"/>
                  </a:cubicBezTo>
                  <a:cubicBezTo>
                    <a:pt x="1469" y="814"/>
                    <a:pt x="1480" y="826"/>
                    <a:pt x="1505" y="840"/>
                  </a:cubicBezTo>
                  <a:cubicBezTo>
                    <a:pt x="1517" y="851"/>
                    <a:pt x="1539" y="851"/>
                    <a:pt x="1575" y="851"/>
                  </a:cubicBezTo>
                  <a:cubicBezTo>
                    <a:pt x="1598" y="851"/>
                    <a:pt x="1620" y="851"/>
                    <a:pt x="1645" y="840"/>
                  </a:cubicBezTo>
                  <a:cubicBezTo>
                    <a:pt x="1704" y="826"/>
                    <a:pt x="1749" y="803"/>
                    <a:pt x="1785" y="792"/>
                  </a:cubicBezTo>
                  <a:lnTo>
                    <a:pt x="1819" y="792"/>
                  </a:lnTo>
                  <a:cubicBezTo>
                    <a:pt x="1855" y="792"/>
                    <a:pt x="1914" y="803"/>
                    <a:pt x="1958" y="803"/>
                  </a:cubicBezTo>
                  <a:lnTo>
                    <a:pt x="1995" y="803"/>
                  </a:lnTo>
                  <a:cubicBezTo>
                    <a:pt x="2053" y="792"/>
                    <a:pt x="2109" y="770"/>
                    <a:pt x="2157" y="733"/>
                  </a:cubicBezTo>
                  <a:cubicBezTo>
                    <a:pt x="2204" y="700"/>
                    <a:pt x="2249" y="675"/>
                    <a:pt x="2297" y="663"/>
                  </a:cubicBezTo>
                  <a:lnTo>
                    <a:pt x="2308" y="663"/>
                  </a:lnTo>
                  <a:cubicBezTo>
                    <a:pt x="2344" y="663"/>
                    <a:pt x="2378" y="675"/>
                    <a:pt x="2425" y="686"/>
                  </a:cubicBezTo>
                  <a:cubicBezTo>
                    <a:pt x="2459" y="700"/>
                    <a:pt x="2495" y="711"/>
                    <a:pt x="2543" y="711"/>
                  </a:cubicBezTo>
                  <a:cubicBezTo>
                    <a:pt x="2565" y="711"/>
                    <a:pt x="2587" y="700"/>
                    <a:pt x="2624" y="686"/>
                  </a:cubicBezTo>
                  <a:cubicBezTo>
                    <a:pt x="2635" y="675"/>
                    <a:pt x="2646" y="675"/>
                    <a:pt x="2657" y="675"/>
                  </a:cubicBezTo>
                  <a:lnTo>
                    <a:pt x="2669" y="675"/>
                  </a:lnTo>
                  <a:cubicBezTo>
                    <a:pt x="2683" y="675"/>
                    <a:pt x="2694" y="686"/>
                    <a:pt x="2705" y="700"/>
                  </a:cubicBezTo>
                  <a:cubicBezTo>
                    <a:pt x="2716" y="700"/>
                    <a:pt x="2727" y="711"/>
                    <a:pt x="2752" y="711"/>
                  </a:cubicBezTo>
                  <a:lnTo>
                    <a:pt x="2764" y="711"/>
                  </a:lnTo>
                  <a:cubicBezTo>
                    <a:pt x="2786" y="711"/>
                    <a:pt x="2797" y="700"/>
                    <a:pt x="2808" y="686"/>
                  </a:cubicBezTo>
                  <a:cubicBezTo>
                    <a:pt x="2834" y="675"/>
                    <a:pt x="2856" y="663"/>
                    <a:pt x="2878" y="663"/>
                  </a:cubicBezTo>
                  <a:lnTo>
                    <a:pt x="2892" y="663"/>
                  </a:lnTo>
                  <a:cubicBezTo>
                    <a:pt x="2903" y="663"/>
                    <a:pt x="2915" y="663"/>
                    <a:pt x="2926" y="675"/>
                  </a:cubicBezTo>
                  <a:cubicBezTo>
                    <a:pt x="2937" y="686"/>
                    <a:pt x="2937" y="700"/>
                    <a:pt x="2937" y="711"/>
                  </a:cubicBezTo>
                  <a:lnTo>
                    <a:pt x="2937" y="756"/>
                  </a:lnTo>
                  <a:lnTo>
                    <a:pt x="2937" y="770"/>
                  </a:lnTo>
                  <a:cubicBezTo>
                    <a:pt x="2937" y="814"/>
                    <a:pt x="2962" y="862"/>
                    <a:pt x="3007" y="884"/>
                  </a:cubicBezTo>
                  <a:cubicBezTo>
                    <a:pt x="3018" y="884"/>
                    <a:pt x="3043" y="896"/>
                    <a:pt x="3054" y="896"/>
                  </a:cubicBezTo>
                  <a:cubicBezTo>
                    <a:pt x="3088" y="896"/>
                    <a:pt x="3124" y="873"/>
                    <a:pt x="3147" y="851"/>
                  </a:cubicBezTo>
                  <a:cubicBezTo>
                    <a:pt x="3158" y="840"/>
                    <a:pt x="3172" y="826"/>
                    <a:pt x="3172" y="814"/>
                  </a:cubicBezTo>
                  <a:lnTo>
                    <a:pt x="3183" y="814"/>
                  </a:lnTo>
                  <a:cubicBezTo>
                    <a:pt x="3194" y="814"/>
                    <a:pt x="3205" y="826"/>
                    <a:pt x="3217" y="840"/>
                  </a:cubicBezTo>
                  <a:cubicBezTo>
                    <a:pt x="3228" y="840"/>
                    <a:pt x="3242" y="862"/>
                    <a:pt x="3264" y="862"/>
                  </a:cubicBezTo>
                  <a:cubicBezTo>
                    <a:pt x="3287" y="873"/>
                    <a:pt x="3312" y="873"/>
                    <a:pt x="3334" y="873"/>
                  </a:cubicBezTo>
                  <a:lnTo>
                    <a:pt x="3356" y="873"/>
                  </a:lnTo>
                  <a:cubicBezTo>
                    <a:pt x="3452" y="873"/>
                    <a:pt x="3533" y="873"/>
                    <a:pt x="3625" y="862"/>
                  </a:cubicBezTo>
                  <a:cubicBezTo>
                    <a:pt x="3636" y="896"/>
                    <a:pt x="3647" y="921"/>
                    <a:pt x="3661" y="932"/>
                  </a:cubicBezTo>
                  <a:cubicBezTo>
                    <a:pt x="3684" y="943"/>
                    <a:pt x="3706" y="954"/>
                    <a:pt x="3731" y="954"/>
                  </a:cubicBezTo>
                  <a:lnTo>
                    <a:pt x="3742" y="954"/>
                  </a:lnTo>
                  <a:cubicBezTo>
                    <a:pt x="3776" y="954"/>
                    <a:pt x="3812" y="943"/>
                    <a:pt x="3846" y="932"/>
                  </a:cubicBezTo>
                  <a:cubicBezTo>
                    <a:pt x="3927" y="884"/>
                    <a:pt x="4011" y="840"/>
                    <a:pt x="4103" y="826"/>
                  </a:cubicBezTo>
                  <a:lnTo>
                    <a:pt x="4162" y="826"/>
                  </a:lnTo>
                  <a:cubicBezTo>
                    <a:pt x="4206" y="826"/>
                    <a:pt x="4265" y="826"/>
                    <a:pt x="4313" y="840"/>
                  </a:cubicBezTo>
                  <a:lnTo>
                    <a:pt x="4346" y="840"/>
                  </a:lnTo>
                  <a:cubicBezTo>
                    <a:pt x="4346" y="851"/>
                    <a:pt x="4360" y="851"/>
                    <a:pt x="4360" y="851"/>
                  </a:cubicBezTo>
                  <a:lnTo>
                    <a:pt x="4371" y="862"/>
                  </a:lnTo>
                  <a:lnTo>
                    <a:pt x="4371" y="873"/>
                  </a:lnTo>
                  <a:lnTo>
                    <a:pt x="4324" y="873"/>
                  </a:lnTo>
                  <a:cubicBezTo>
                    <a:pt x="4313" y="884"/>
                    <a:pt x="4302" y="884"/>
                    <a:pt x="4302" y="896"/>
                  </a:cubicBezTo>
                  <a:cubicBezTo>
                    <a:pt x="4302" y="910"/>
                    <a:pt x="4290" y="921"/>
                    <a:pt x="4290" y="932"/>
                  </a:cubicBezTo>
                  <a:cubicBezTo>
                    <a:pt x="4290" y="943"/>
                    <a:pt x="4302" y="954"/>
                    <a:pt x="4302" y="965"/>
                  </a:cubicBezTo>
                  <a:cubicBezTo>
                    <a:pt x="4313" y="979"/>
                    <a:pt x="4313" y="979"/>
                    <a:pt x="4324" y="991"/>
                  </a:cubicBezTo>
                  <a:lnTo>
                    <a:pt x="4324" y="1013"/>
                  </a:lnTo>
                  <a:cubicBezTo>
                    <a:pt x="4324" y="1013"/>
                    <a:pt x="4324" y="1024"/>
                    <a:pt x="4313" y="1024"/>
                  </a:cubicBezTo>
                  <a:cubicBezTo>
                    <a:pt x="4313" y="1035"/>
                    <a:pt x="4290" y="1049"/>
                    <a:pt x="4276" y="1061"/>
                  </a:cubicBezTo>
                  <a:cubicBezTo>
                    <a:pt x="4276" y="1072"/>
                    <a:pt x="4265" y="1072"/>
                    <a:pt x="4254" y="1083"/>
                  </a:cubicBezTo>
                  <a:lnTo>
                    <a:pt x="4254" y="1119"/>
                  </a:lnTo>
                  <a:lnTo>
                    <a:pt x="4254" y="1153"/>
                  </a:lnTo>
                  <a:lnTo>
                    <a:pt x="4254" y="1164"/>
                  </a:lnTo>
                  <a:lnTo>
                    <a:pt x="4254" y="1189"/>
                  </a:lnTo>
                  <a:cubicBezTo>
                    <a:pt x="4243" y="1200"/>
                    <a:pt x="4243" y="1212"/>
                    <a:pt x="4243" y="1223"/>
                  </a:cubicBezTo>
                  <a:cubicBezTo>
                    <a:pt x="4243" y="1270"/>
                    <a:pt x="4265" y="1304"/>
                    <a:pt x="4290" y="1329"/>
                  </a:cubicBezTo>
                  <a:cubicBezTo>
                    <a:pt x="4313" y="1351"/>
                    <a:pt x="4360" y="1374"/>
                    <a:pt x="4394" y="1374"/>
                  </a:cubicBezTo>
                  <a:lnTo>
                    <a:pt x="4405" y="1374"/>
                  </a:lnTo>
                  <a:cubicBezTo>
                    <a:pt x="4430" y="1374"/>
                    <a:pt x="4464" y="1363"/>
                    <a:pt x="4486" y="1340"/>
                  </a:cubicBezTo>
                  <a:cubicBezTo>
                    <a:pt x="4511" y="1315"/>
                    <a:pt x="4522" y="1293"/>
                    <a:pt x="4534" y="1259"/>
                  </a:cubicBezTo>
                  <a:lnTo>
                    <a:pt x="4534" y="1234"/>
                  </a:lnTo>
                  <a:lnTo>
                    <a:pt x="4534" y="1212"/>
                  </a:lnTo>
                  <a:cubicBezTo>
                    <a:pt x="4522" y="1200"/>
                    <a:pt x="4522" y="1189"/>
                    <a:pt x="4522" y="1189"/>
                  </a:cubicBezTo>
                  <a:lnTo>
                    <a:pt x="4522" y="1175"/>
                  </a:lnTo>
                  <a:lnTo>
                    <a:pt x="4522" y="1164"/>
                  </a:lnTo>
                  <a:cubicBezTo>
                    <a:pt x="4534" y="1164"/>
                    <a:pt x="4534" y="1175"/>
                    <a:pt x="4545" y="1189"/>
                  </a:cubicBezTo>
                  <a:cubicBezTo>
                    <a:pt x="4545" y="1189"/>
                    <a:pt x="4556" y="1200"/>
                    <a:pt x="4570" y="1212"/>
                  </a:cubicBezTo>
                  <a:cubicBezTo>
                    <a:pt x="4581" y="1223"/>
                    <a:pt x="4592" y="1223"/>
                    <a:pt x="4604" y="1223"/>
                  </a:cubicBezTo>
                  <a:cubicBezTo>
                    <a:pt x="4626" y="1223"/>
                    <a:pt x="4640" y="1212"/>
                    <a:pt x="4651" y="1212"/>
                  </a:cubicBezTo>
                  <a:cubicBezTo>
                    <a:pt x="4710" y="1200"/>
                    <a:pt x="4780" y="1175"/>
                    <a:pt x="4824" y="1119"/>
                  </a:cubicBezTo>
                  <a:cubicBezTo>
                    <a:pt x="4836" y="1105"/>
                    <a:pt x="4850" y="1083"/>
                    <a:pt x="4861" y="1083"/>
                  </a:cubicBezTo>
                  <a:lnTo>
                    <a:pt x="4964" y="1083"/>
                  </a:lnTo>
                  <a:cubicBezTo>
                    <a:pt x="4975" y="1072"/>
                    <a:pt x="4989" y="1061"/>
                    <a:pt x="4989" y="1061"/>
                  </a:cubicBezTo>
                  <a:cubicBezTo>
                    <a:pt x="4989" y="1083"/>
                    <a:pt x="4989" y="1094"/>
                    <a:pt x="5001" y="1105"/>
                  </a:cubicBezTo>
                  <a:cubicBezTo>
                    <a:pt x="5012" y="1130"/>
                    <a:pt x="5023" y="1142"/>
                    <a:pt x="5045" y="1153"/>
                  </a:cubicBezTo>
                  <a:lnTo>
                    <a:pt x="5082" y="1153"/>
                  </a:lnTo>
                  <a:cubicBezTo>
                    <a:pt x="5115" y="1153"/>
                    <a:pt x="5152" y="1142"/>
                    <a:pt x="5163" y="1119"/>
                  </a:cubicBezTo>
                  <a:cubicBezTo>
                    <a:pt x="5185" y="1083"/>
                    <a:pt x="5199" y="1049"/>
                    <a:pt x="5210" y="1013"/>
                  </a:cubicBezTo>
                  <a:cubicBezTo>
                    <a:pt x="5210" y="1002"/>
                    <a:pt x="5210" y="991"/>
                    <a:pt x="5222" y="979"/>
                  </a:cubicBezTo>
                  <a:cubicBezTo>
                    <a:pt x="5222" y="965"/>
                    <a:pt x="5233" y="965"/>
                    <a:pt x="5233" y="965"/>
                  </a:cubicBezTo>
                  <a:lnTo>
                    <a:pt x="5255" y="965"/>
                  </a:lnTo>
                  <a:cubicBezTo>
                    <a:pt x="5269" y="965"/>
                    <a:pt x="5280" y="965"/>
                    <a:pt x="5291" y="954"/>
                  </a:cubicBezTo>
                  <a:cubicBezTo>
                    <a:pt x="5303" y="954"/>
                    <a:pt x="5325" y="932"/>
                    <a:pt x="5339" y="921"/>
                  </a:cubicBezTo>
                  <a:cubicBezTo>
                    <a:pt x="5339" y="910"/>
                    <a:pt x="5350" y="896"/>
                    <a:pt x="5361" y="884"/>
                  </a:cubicBezTo>
                  <a:cubicBezTo>
                    <a:pt x="5361" y="873"/>
                    <a:pt x="5373" y="873"/>
                    <a:pt x="5373" y="862"/>
                  </a:cubicBezTo>
                  <a:lnTo>
                    <a:pt x="5388" y="862"/>
                  </a:lnTo>
                  <a:cubicBezTo>
                    <a:pt x="5389" y="873"/>
                    <a:pt x="5381" y="887"/>
                    <a:pt x="5373" y="896"/>
                  </a:cubicBezTo>
                  <a:cubicBezTo>
                    <a:pt x="5361" y="910"/>
                    <a:pt x="5350" y="932"/>
                    <a:pt x="5339" y="943"/>
                  </a:cubicBezTo>
                  <a:cubicBezTo>
                    <a:pt x="5314" y="979"/>
                    <a:pt x="5303" y="1013"/>
                    <a:pt x="5303" y="1049"/>
                  </a:cubicBezTo>
                  <a:cubicBezTo>
                    <a:pt x="5303" y="1061"/>
                    <a:pt x="5303" y="1083"/>
                    <a:pt x="5314" y="1094"/>
                  </a:cubicBezTo>
                  <a:cubicBezTo>
                    <a:pt x="5325" y="1119"/>
                    <a:pt x="5350" y="1130"/>
                    <a:pt x="5361" y="1142"/>
                  </a:cubicBezTo>
                  <a:lnTo>
                    <a:pt x="5384" y="1164"/>
                  </a:lnTo>
                  <a:lnTo>
                    <a:pt x="5384" y="1175"/>
                  </a:lnTo>
                  <a:cubicBezTo>
                    <a:pt x="5384" y="1175"/>
                    <a:pt x="5373" y="1175"/>
                    <a:pt x="5373" y="1189"/>
                  </a:cubicBezTo>
                  <a:cubicBezTo>
                    <a:pt x="5361" y="1189"/>
                    <a:pt x="5350" y="1200"/>
                    <a:pt x="5339" y="1212"/>
                  </a:cubicBezTo>
                  <a:cubicBezTo>
                    <a:pt x="5325" y="1234"/>
                    <a:pt x="5325" y="1245"/>
                    <a:pt x="5325" y="1270"/>
                  </a:cubicBezTo>
                  <a:lnTo>
                    <a:pt x="5325" y="1340"/>
                  </a:lnTo>
                  <a:cubicBezTo>
                    <a:pt x="5325" y="1374"/>
                    <a:pt x="5314" y="1399"/>
                    <a:pt x="5303" y="1421"/>
                  </a:cubicBezTo>
                  <a:cubicBezTo>
                    <a:pt x="5280" y="1455"/>
                    <a:pt x="5255" y="1480"/>
                    <a:pt x="5233" y="1502"/>
                  </a:cubicBezTo>
                  <a:cubicBezTo>
                    <a:pt x="5210" y="1539"/>
                    <a:pt x="5174" y="1550"/>
                    <a:pt x="5152" y="1561"/>
                  </a:cubicBezTo>
                  <a:lnTo>
                    <a:pt x="5115" y="1561"/>
                  </a:lnTo>
                  <a:cubicBezTo>
                    <a:pt x="5104" y="1561"/>
                    <a:pt x="5093" y="1561"/>
                    <a:pt x="5082" y="1572"/>
                  </a:cubicBezTo>
                  <a:cubicBezTo>
                    <a:pt x="5071" y="1583"/>
                    <a:pt x="5059" y="1583"/>
                    <a:pt x="5059" y="1595"/>
                  </a:cubicBezTo>
                  <a:cubicBezTo>
                    <a:pt x="5045" y="1595"/>
                    <a:pt x="5045" y="1609"/>
                    <a:pt x="5045" y="1609"/>
                  </a:cubicBezTo>
                  <a:cubicBezTo>
                    <a:pt x="5034" y="1609"/>
                    <a:pt x="5034" y="1609"/>
                    <a:pt x="5034" y="1595"/>
                  </a:cubicBezTo>
                  <a:cubicBezTo>
                    <a:pt x="5023" y="1595"/>
                    <a:pt x="5012" y="1583"/>
                    <a:pt x="5001" y="1572"/>
                  </a:cubicBezTo>
                  <a:cubicBezTo>
                    <a:pt x="4989" y="1550"/>
                    <a:pt x="4975" y="1539"/>
                    <a:pt x="4953" y="1539"/>
                  </a:cubicBezTo>
                  <a:cubicBezTo>
                    <a:pt x="4942" y="1539"/>
                    <a:pt x="4942" y="1525"/>
                    <a:pt x="4931" y="1525"/>
                  </a:cubicBezTo>
                  <a:cubicBezTo>
                    <a:pt x="4906" y="1525"/>
                    <a:pt x="4894" y="1539"/>
                    <a:pt x="4872" y="1550"/>
                  </a:cubicBezTo>
                  <a:cubicBezTo>
                    <a:pt x="4861" y="1550"/>
                    <a:pt x="4850" y="1561"/>
                    <a:pt x="4836" y="1561"/>
                  </a:cubicBezTo>
                  <a:lnTo>
                    <a:pt x="4824" y="1561"/>
                  </a:lnTo>
                  <a:cubicBezTo>
                    <a:pt x="4824" y="1550"/>
                    <a:pt x="4813" y="1550"/>
                    <a:pt x="4802" y="1539"/>
                  </a:cubicBezTo>
                  <a:cubicBezTo>
                    <a:pt x="4766" y="1514"/>
                    <a:pt x="4732" y="1502"/>
                    <a:pt x="4696" y="1502"/>
                  </a:cubicBezTo>
                  <a:cubicBezTo>
                    <a:pt x="4640" y="1502"/>
                    <a:pt x="4581" y="1525"/>
                    <a:pt x="4522" y="1561"/>
                  </a:cubicBezTo>
                  <a:cubicBezTo>
                    <a:pt x="4475" y="1583"/>
                    <a:pt x="4405" y="1620"/>
                    <a:pt x="4360" y="1620"/>
                  </a:cubicBezTo>
                  <a:cubicBezTo>
                    <a:pt x="4335" y="1620"/>
                    <a:pt x="4313" y="1609"/>
                    <a:pt x="4302" y="1595"/>
                  </a:cubicBezTo>
                  <a:cubicBezTo>
                    <a:pt x="4276" y="1595"/>
                    <a:pt x="4254" y="1572"/>
                    <a:pt x="4232" y="1561"/>
                  </a:cubicBezTo>
                  <a:lnTo>
                    <a:pt x="4206" y="1561"/>
                  </a:lnTo>
                  <a:cubicBezTo>
                    <a:pt x="4184" y="1561"/>
                    <a:pt x="4162" y="1572"/>
                    <a:pt x="4137" y="1583"/>
                  </a:cubicBezTo>
                  <a:cubicBezTo>
                    <a:pt x="4114" y="1595"/>
                    <a:pt x="4103" y="1609"/>
                    <a:pt x="4081" y="1609"/>
                  </a:cubicBezTo>
                  <a:cubicBezTo>
                    <a:pt x="4067" y="1609"/>
                    <a:pt x="4044" y="1595"/>
                    <a:pt x="4022" y="1595"/>
                  </a:cubicBezTo>
                  <a:cubicBezTo>
                    <a:pt x="3986" y="1595"/>
                    <a:pt x="3963" y="1620"/>
                    <a:pt x="3941" y="1631"/>
                  </a:cubicBezTo>
                  <a:cubicBezTo>
                    <a:pt x="3893" y="1642"/>
                    <a:pt x="3857" y="1653"/>
                    <a:pt x="3812" y="1653"/>
                  </a:cubicBezTo>
                  <a:cubicBezTo>
                    <a:pt x="3765" y="1653"/>
                    <a:pt x="3717" y="1642"/>
                    <a:pt x="3684" y="1631"/>
                  </a:cubicBezTo>
                  <a:cubicBezTo>
                    <a:pt x="3672" y="1620"/>
                    <a:pt x="3647" y="1609"/>
                    <a:pt x="3625" y="1609"/>
                  </a:cubicBezTo>
                  <a:lnTo>
                    <a:pt x="3614" y="1609"/>
                  </a:lnTo>
                  <a:cubicBezTo>
                    <a:pt x="3591" y="1609"/>
                    <a:pt x="3577" y="1620"/>
                    <a:pt x="3566" y="1631"/>
                  </a:cubicBezTo>
                  <a:lnTo>
                    <a:pt x="3544" y="1653"/>
                  </a:lnTo>
                  <a:cubicBezTo>
                    <a:pt x="3533" y="1653"/>
                    <a:pt x="3507" y="1653"/>
                    <a:pt x="3496" y="1665"/>
                  </a:cubicBezTo>
                  <a:lnTo>
                    <a:pt x="3426" y="1665"/>
                  </a:lnTo>
                  <a:cubicBezTo>
                    <a:pt x="3393" y="1690"/>
                    <a:pt x="3382" y="1701"/>
                    <a:pt x="3356" y="1712"/>
                  </a:cubicBezTo>
                  <a:cubicBezTo>
                    <a:pt x="3323" y="1734"/>
                    <a:pt x="3275" y="1748"/>
                    <a:pt x="3228" y="1748"/>
                  </a:cubicBezTo>
                  <a:cubicBezTo>
                    <a:pt x="3205" y="1754"/>
                    <a:pt x="3182" y="1754"/>
                    <a:pt x="3159" y="1754"/>
                  </a:cubicBezTo>
                  <a:cubicBezTo>
                    <a:pt x="3136" y="1754"/>
                    <a:pt x="3112" y="1754"/>
                    <a:pt x="3088" y="1760"/>
                  </a:cubicBezTo>
                  <a:cubicBezTo>
                    <a:pt x="3032" y="1771"/>
                    <a:pt x="2985" y="1782"/>
                    <a:pt x="2937" y="1793"/>
                  </a:cubicBezTo>
                  <a:cubicBezTo>
                    <a:pt x="2892" y="1804"/>
                    <a:pt x="2845" y="1818"/>
                    <a:pt x="2808" y="1818"/>
                  </a:cubicBezTo>
                  <a:cubicBezTo>
                    <a:pt x="2775" y="1818"/>
                    <a:pt x="2752" y="1818"/>
                    <a:pt x="2727" y="1804"/>
                  </a:cubicBezTo>
                  <a:cubicBezTo>
                    <a:pt x="2705" y="1793"/>
                    <a:pt x="2683" y="1771"/>
                    <a:pt x="2635" y="1771"/>
                  </a:cubicBezTo>
                  <a:lnTo>
                    <a:pt x="2624" y="1771"/>
                  </a:lnTo>
                  <a:cubicBezTo>
                    <a:pt x="2576" y="1771"/>
                    <a:pt x="2543" y="1782"/>
                    <a:pt x="2506" y="1793"/>
                  </a:cubicBezTo>
                  <a:cubicBezTo>
                    <a:pt x="2484" y="1818"/>
                    <a:pt x="2448" y="1830"/>
                    <a:pt x="2425" y="1830"/>
                  </a:cubicBezTo>
                  <a:cubicBezTo>
                    <a:pt x="2414" y="1830"/>
                    <a:pt x="2403" y="1830"/>
                    <a:pt x="2389" y="1818"/>
                  </a:cubicBezTo>
                  <a:cubicBezTo>
                    <a:pt x="2389" y="1818"/>
                    <a:pt x="2389" y="1804"/>
                    <a:pt x="2403" y="1804"/>
                  </a:cubicBezTo>
                  <a:cubicBezTo>
                    <a:pt x="2403" y="1793"/>
                    <a:pt x="2414" y="1793"/>
                    <a:pt x="2414" y="1782"/>
                  </a:cubicBezTo>
                  <a:cubicBezTo>
                    <a:pt x="2425" y="1771"/>
                    <a:pt x="2425" y="1748"/>
                    <a:pt x="2425" y="1734"/>
                  </a:cubicBezTo>
                  <a:cubicBezTo>
                    <a:pt x="2425" y="1712"/>
                    <a:pt x="2414" y="1690"/>
                    <a:pt x="2414" y="1665"/>
                  </a:cubicBezTo>
                  <a:lnTo>
                    <a:pt x="2414" y="1653"/>
                  </a:lnTo>
                  <a:cubicBezTo>
                    <a:pt x="2414" y="1642"/>
                    <a:pt x="2414" y="1631"/>
                    <a:pt x="2425" y="1620"/>
                  </a:cubicBezTo>
                  <a:cubicBezTo>
                    <a:pt x="2436" y="1609"/>
                    <a:pt x="2448" y="1583"/>
                    <a:pt x="2448" y="1561"/>
                  </a:cubicBezTo>
                  <a:cubicBezTo>
                    <a:pt x="2448" y="1502"/>
                    <a:pt x="2414" y="1444"/>
                    <a:pt x="2367" y="1410"/>
                  </a:cubicBezTo>
                  <a:cubicBezTo>
                    <a:pt x="2333" y="1399"/>
                    <a:pt x="2297" y="1385"/>
                    <a:pt x="2263" y="1385"/>
                  </a:cubicBezTo>
                  <a:cubicBezTo>
                    <a:pt x="2227" y="1385"/>
                    <a:pt x="2193" y="1399"/>
                    <a:pt x="2157" y="1399"/>
                  </a:cubicBezTo>
                  <a:lnTo>
                    <a:pt x="2123" y="1399"/>
                  </a:lnTo>
                  <a:cubicBezTo>
                    <a:pt x="2098" y="1399"/>
                    <a:pt x="2076" y="1399"/>
                    <a:pt x="2053" y="1385"/>
                  </a:cubicBezTo>
                  <a:cubicBezTo>
                    <a:pt x="2028" y="1385"/>
                    <a:pt x="2017" y="1374"/>
                    <a:pt x="2006" y="1351"/>
                  </a:cubicBezTo>
                  <a:cubicBezTo>
                    <a:pt x="1995" y="1340"/>
                    <a:pt x="1995" y="1329"/>
                    <a:pt x="1983" y="1315"/>
                  </a:cubicBezTo>
                  <a:cubicBezTo>
                    <a:pt x="1983" y="1304"/>
                    <a:pt x="1970" y="1293"/>
                    <a:pt x="1958" y="1281"/>
                  </a:cubicBezTo>
                  <a:cubicBezTo>
                    <a:pt x="1936" y="1270"/>
                    <a:pt x="1925" y="1270"/>
                    <a:pt x="1914" y="1270"/>
                  </a:cubicBezTo>
                  <a:lnTo>
                    <a:pt x="1866" y="1270"/>
                  </a:lnTo>
                  <a:cubicBezTo>
                    <a:pt x="1844" y="1281"/>
                    <a:pt x="1830" y="1281"/>
                    <a:pt x="1819" y="1281"/>
                  </a:cubicBezTo>
                  <a:lnTo>
                    <a:pt x="1807" y="1281"/>
                  </a:lnTo>
                  <a:lnTo>
                    <a:pt x="1796" y="1270"/>
                  </a:lnTo>
                  <a:cubicBezTo>
                    <a:pt x="1785" y="1259"/>
                    <a:pt x="1774" y="1245"/>
                    <a:pt x="1760" y="1223"/>
                  </a:cubicBezTo>
                  <a:cubicBezTo>
                    <a:pt x="1749" y="1212"/>
                    <a:pt x="1737" y="1200"/>
                    <a:pt x="1715" y="1189"/>
                  </a:cubicBezTo>
                  <a:cubicBezTo>
                    <a:pt x="1704" y="1175"/>
                    <a:pt x="1679" y="1175"/>
                    <a:pt x="1668" y="1175"/>
                  </a:cubicBezTo>
                  <a:cubicBezTo>
                    <a:pt x="1645" y="1175"/>
                    <a:pt x="1620" y="1175"/>
                    <a:pt x="1598" y="1189"/>
                  </a:cubicBezTo>
                  <a:cubicBezTo>
                    <a:pt x="1575" y="1200"/>
                    <a:pt x="1550" y="1200"/>
                    <a:pt x="1539" y="1212"/>
                  </a:cubicBezTo>
                  <a:lnTo>
                    <a:pt x="1505" y="1212"/>
                  </a:lnTo>
                  <a:cubicBezTo>
                    <a:pt x="1469" y="1212"/>
                    <a:pt x="1435" y="1200"/>
                    <a:pt x="1399" y="1189"/>
                  </a:cubicBezTo>
                  <a:cubicBezTo>
                    <a:pt x="1354" y="1175"/>
                    <a:pt x="1296" y="1164"/>
                    <a:pt x="1248" y="1153"/>
                  </a:cubicBezTo>
                  <a:lnTo>
                    <a:pt x="1178" y="1153"/>
                  </a:lnTo>
                  <a:cubicBezTo>
                    <a:pt x="1156" y="1153"/>
                    <a:pt x="1145" y="1164"/>
                    <a:pt x="1131" y="1164"/>
                  </a:cubicBezTo>
                  <a:cubicBezTo>
                    <a:pt x="1131" y="1175"/>
                    <a:pt x="1119" y="1175"/>
                    <a:pt x="1108" y="1175"/>
                  </a:cubicBezTo>
                  <a:cubicBezTo>
                    <a:pt x="1108" y="1189"/>
                    <a:pt x="1097" y="1189"/>
                    <a:pt x="1097" y="1189"/>
                  </a:cubicBezTo>
                  <a:cubicBezTo>
                    <a:pt x="1086" y="1189"/>
                    <a:pt x="1061" y="1175"/>
                    <a:pt x="1050" y="1164"/>
                  </a:cubicBezTo>
                  <a:cubicBezTo>
                    <a:pt x="1027" y="1153"/>
                    <a:pt x="1005" y="1130"/>
                    <a:pt x="968" y="1119"/>
                  </a:cubicBezTo>
                  <a:cubicBezTo>
                    <a:pt x="946" y="1094"/>
                    <a:pt x="910" y="1072"/>
                    <a:pt x="876" y="1072"/>
                  </a:cubicBezTo>
                  <a:lnTo>
                    <a:pt x="851" y="1072"/>
                  </a:lnTo>
                  <a:cubicBezTo>
                    <a:pt x="840" y="1083"/>
                    <a:pt x="829" y="1083"/>
                    <a:pt x="806" y="1094"/>
                  </a:cubicBezTo>
                  <a:lnTo>
                    <a:pt x="770" y="1094"/>
                  </a:lnTo>
                  <a:cubicBezTo>
                    <a:pt x="759" y="1094"/>
                    <a:pt x="759" y="1094"/>
                    <a:pt x="748" y="1083"/>
                  </a:cubicBezTo>
                  <a:cubicBezTo>
                    <a:pt x="748" y="1083"/>
                    <a:pt x="736" y="1072"/>
                    <a:pt x="725" y="1072"/>
                  </a:cubicBezTo>
                  <a:cubicBezTo>
                    <a:pt x="700" y="1061"/>
                    <a:pt x="678" y="1061"/>
                    <a:pt x="666" y="1061"/>
                  </a:cubicBezTo>
                  <a:cubicBezTo>
                    <a:pt x="630" y="1061"/>
                    <a:pt x="608" y="1061"/>
                    <a:pt x="585" y="1072"/>
                  </a:cubicBezTo>
                  <a:cubicBezTo>
                    <a:pt x="501" y="1083"/>
                    <a:pt x="420" y="1094"/>
                    <a:pt x="339" y="1094"/>
                  </a:cubicBezTo>
                  <a:cubicBezTo>
                    <a:pt x="292" y="1094"/>
                    <a:pt x="258" y="1094"/>
                    <a:pt x="211" y="1083"/>
                  </a:cubicBezTo>
                  <a:lnTo>
                    <a:pt x="188" y="1083"/>
                  </a:lnTo>
                  <a:cubicBezTo>
                    <a:pt x="188" y="1083"/>
                    <a:pt x="177" y="1072"/>
                    <a:pt x="177" y="1049"/>
                  </a:cubicBezTo>
                  <a:cubicBezTo>
                    <a:pt x="166" y="1035"/>
                    <a:pt x="166" y="1035"/>
                    <a:pt x="166" y="1024"/>
                  </a:cubicBezTo>
                  <a:cubicBezTo>
                    <a:pt x="152" y="1013"/>
                    <a:pt x="152" y="1002"/>
                    <a:pt x="141" y="1002"/>
                  </a:cubicBezTo>
                  <a:cubicBezTo>
                    <a:pt x="118" y="991"/>
                    <a:pt x="107" y="991"/>
                    <a:pt x="96" y="991"/>
                  </a:cubicBezTo>
                  <a:cubicBezTo>
                    <a:pt x="71" y="991"/>
                    <a:pt x="71" y="991"/>
                    <a:pt x="60" y="979"/>
                  </a:cubicBezTo>
                  <a:cubicBezTo>
                    <a:pt x="48" y="965"/>
                    <a:pt x="48" y="965"/>
                    <a:pt x="48" y="954"/>
                  </a:cubicBezTo>
                  <a:cubicBezTo>
                    <a:pt x="48" y="954"/>
                    <a:pt x="48" y="943"/>
                    <a:pt x="60" y="943"/>
                  </a:cubicBezTo>
                  <a:cubicBezTo>
                    <a:pt x="60" y="921"/>
                    <a:pt x="71" y="896"/>
                    <a:pt x="82" y="862"/>
                  </a:cubicBezTo>
                  <a:lnTo>
                    <a:pt x="82" y="840"/>
                  </a:lnTo>
                  <a:lnTo>
                    <a:pt x="82" y="781"/>
                  </a:lnTo>
                  <a:lnTo>
                    <a:pt x="82" y="745"/>
                  </a:lnTo>
                  <a:cubicBezTo>
                    <a:pt x="82" y="733"/>
                    <a:pt x="82" y="733"/>
                    <a:pt x="96" y="722"/>
                  </a:cubicBezTo>
                  <a:cubicBezTo>
                    <a:pt x="96" y="722"/>
                    <a:pt x="107" y="722"/>
                    <a:pt x="118" y="711"/>
                  </a:cubicBezTo>
                  <a:cubicBezTo>
                    <a:pt x="130" y="711"/>
                    <a:pt x="141" y="700"/>
                    <a:pt x="152" y="686"/>
                  </a:cubicBezTo>
                  <a:cubicBezTo>
                    <a:pt x="166" y="675"/>
                    <a:pt x="166" y="663"/>
                    <a:pt x="166" y="652"/>
                  </a:cubicBezTo>
                  <a:cubicBezTo>
                    <a:pt x="166" y="641"/>
                    <a:pt x="166" y="630"/>
                    <a:pt x="152" y="616"/>
                  </a:cubicBezTo>
                  <a:cubicBezTo>
                    <a:pt x="152" y="605"/>
                    <a:pt x="152" y="594"/>
                    <a:pt x="141" y="594"/>
                  </a:cubicBezTo>
                  <a:cubicBezTo>
                    <a:pt x="141" y="582"/>
                    <a:pt x="141" y="582"/>
                    <a:pt x="152" y="582"/>
                  </a:cubicBezTo>
                  <a:cubicBezTo>
                    <a:pt x="152" y="571"/>
                    <a:pt x="152" y="560"/>
                    <a:pt x="166" y="546"/>
                  </a:cubicBezTo>
                  <a:lnTo>
                    <a:pt x="166" y="535"/>
                  </a:lnTo>
                  <a:cubicBezTo>
                    <a:pt x="166" y="512"/>
                    <a:pt x="152" y="490"/>
                    <a:pt x="152" y="476"/>
                  </a:cubicBezTo>
                  <a:lnTo>
                    <a:pt x="152" y="465"/>
                  </a:lnTo>
                  <a:cubicBezTo>
                    <a:pt x="152" y="420"/>
                    <a:pt x="177" y="373"/>
                    <a:pt x="177" y="325"/>
                  </a:cubicBezTo>
                  <a:lnTo>
                    <a:pt x="177" y="314"/>
                  </a:lnTo>
                  <a:lnTo>
                    <a:pt x="177" y="292"/>
                  </a:lnTo>
                  <a:lnTo>
                    <a:pt x="177" y="255"/>
                  </a:lnTo>
                  <a:cubicBezTo>
                    <a:pt x="177" y="255"/>
                    <a:pt x="188" y="244"/>
                    <a:pt x="188" y="233"/>
                  </a:cubicBezTo>
                  <a:cubicBezTo>
                    <a:pt x="198" y="233"/>
                    <a:pt x="208" y="224"/>
                    <a:pt x="210" y="214"/>
                  </a:cubicBezTo>
                  <a:lnTo>
                    <a:pt x="210" y="214"/>
                  </a:lnTo>
                  <a:cubicBezTo>
                    <a:pt x="211" y="216"/>
                    <a:pt x="211" y="219"/>
                    <a:pt x="211" y="222"/>
                  </a:cubicBezTo>
                  <a:lnTo>
                    <a:pt x="211" y="280"/>
                  </a:lnTo>
                  <a:lnTo>
                    <a:pt x="211" y="325"/>
                  </a:lnTo>
                  <a:lnTo>
                    <a:pt x="211" y="361"/>
                  </a:lnTo>
                  <a:lnTo>
                    <a:pt x="211" y="395"/>
                  </a:lnTo>
                  <a:cubicBezTo>
                    <a:pt x="222" y="406"/>
                    <a:pt x="222" y="420"/>
                    <a:pt x="236" y="431"/>
                  </a:cubicBezTo>
                  <a:cubicBezTo>
                    <a:pt x="247" y="443"/>
                    <a:pt x="258" y="443"/>
                    <a:pt x="258" y="443"/>
                  </a:cubicBezTo>
                  <a:lnTo>
                    <a:pt x="269" y="454"/>
                  </a:lnTo>
                  <a:cubicBezTo>
                    <a:pt x="269" y="454"/>
                    <a:pt x="281" y="465"/>
                    <a:pt x="281" y="476"/>
                  </a:cubicBezTo>
                  <a:cubicBezTo>
                    <a:pt x="306" y="501"/>
                    <a:pt x="328" y="501"/>
                    <a:pt x="350" y="501"/>
                  </a:cubicBezTo>
                  <a:cubicBezTo>
                    <a:pt x="376" y="501"/>
                    <a:pt x="409" y="490"/>
                    <a:pt x="420" y="465"/>
                  </a:cubicBezTo>
                  <a:cubicBezTo>
                    <a:pt x="457" y="431"/>
                    <a:pt x="457" y="384"/>
                    <a:pt x="457" y="350"/>
                  </a:cubicBezTo>
                  <a:lnTo>
                    <a:pt x="457" y="336"/>
                  </a:lnTo>
                  <a:cubicBezTo>
                    <a:pt x="457" y="325"/>
                    <a:pt x="457" y="303"/>
                    <a:pt x="446" y="292"/>
                  </a:cubicBezTo>
                  <a:cubicBezTo>
                    <a:pt x="446" y="280"/>
                    <a:pt x="446" y="280"/>
                    <a:pt x="432" y="266"/>
                  </a:cubicBezTo>
                  <a:lnTo>
                    <a:pt x="420" y="255"/>
                  </a:lnTo>
                  <a:lnTo>
                    <a:pt x="420" y="233"/>
                  </a:lnTo>
                  <a:cubicBezTo>
                    <a:pt x="420" y="222"/>
                    <a:pt x="420" y="211"/>
                    <a:pt x="432" y="197"/>
                  </a:cubicBezTo>
                  <a:cubicBezTo>
                    <a:pt x="432" y="174"/>
                    <a:pt x="446" y="163"/>
                    <a:pt x="446" y="141"/>
                  </a:cubicBezTo>
                  <a:lnTo>
                    <a:pt x="446" y="82"/>
                  </a:lnTo>
                  <a:cubicBezTo>
                    <a:pt x="457" y="71"/>
                    <a:pt x="457" y="57"/>
                    <a:pt x="457" y="57"/>
                  </a:cubicBezTo>
                  <a:cubicBezTo>
                    <a:pt x="457" y="46"/>
                    <a:pt x="457" y="46"/>
                    <a:pt x="468" y="46"/>
                  </a:cubicBezTo>
                  <a:close/>
                  <a:moveTo>
                    <a:pt x="479" y="1"/>
                  </a:moveTo>
                  <a:cubicBezTo>
                    <a:pt x="468" y="1"/>
                    <a:pt x="446" y="1"/>
                    <a:pt x="432" y="12"/>
                  </a:cubicBezTo>
                  <a:cubicBezTo>
                    <a:pt x="420" y="12"/>
                    <a:pt x="420" y="23"/>
                    <a:pt x="409" y="34"/>
                  </a:cubicBezTo>
                  <a:cubicBezTo>
                    <a:pt x="409" y="57"/>
                    <a:pt x="398" y="71"/>
                    <a:pt x="398" y="82"/>
                  </a:cubicBezTo>
                  <a:lnTo>
                    <a:pt x="398" y="127"/>
                  </a:lnTo>
                  <a:cubicBezTo>
                    <a:pt x="398" y="141"/>
                    <a:pt x="387" y="163"/>
                    <a:pt x="387" y="174"/>
                  </a:cubicBezTo>
                  <a:cubicBezTo>
                    <a:pt x="376" y="197"/>
                    <a:pt x="376" y="222"/>
                    <a:pt x="376" y="233"/>
                  </a:cubicBezTo>
                  <a:cubicBezTo>
                    <a:pt x="376" y="255"/>
                    <a:pt x="376" y="266"/>
                    <a:pt x="387" y="280"/>
                  </a:cubicBezTo>
                  <a:cubicBezTo>
                    <a:pt x="387" y="292"/>
                    <a:pt x="398" y="292"/>
                    <a:pt x="398" y="303"/>
                  </a:cubicBezTo>
                  <a:cubicBezTo>
                    <a:pt x="409" y="303"/>
                    <a:pt x="409" y="314"/>
                    <a:pt x="409" y="314"/>
                  </a:cubicBezTo>
                  <a:lnTo>
                    <a:pt x="409" y="336"/>
                  </a:lnTo>
                  <a:cubicBezTo>
                    <a:pt x="409" y="384"/>
                    <a:pt x="409" y="420"/>
                    <a:pt x="387" y="443"/>
                  </a:cubicBezTo>
                  <a:cubicBezTo>
                    <a:pt x="376" y="454"/>
                    <a:pt x="362" y="454"/>
                    <a:pt x="350" y="454"/>
                  </a:cubicBezTo>
                  <a:cubicBezTo>
                    <a:pt x="339" y="454"/>
                    <a:pt x="328" y="454"/>
                    <a:pt x="328" y="443"/>
                  </a:cubicBezTo>
                  <a:cubicBezTo>
                    <a:pt x="317" y="443"/>
                    <a:pt x="317" y="431"/>
                    <a:pt x="306" y="420"/>
                  </a:cubicBezTo>
                  <a:cubicBezTo>
                    <a:pt x="292" y="420"/>
                    <a:pt x="292" y="406"/>
                    <a:pt x="281" y="406"/>
                  </a:cubicBezTo>
                  <a:cubicBezTo>
                    <a:pt x="269" y="406"/>
                    <a:pt x="269" y="395"/>
                    <a:pt x="269" y="395"/>
                  </a:cubicBezTo>
                  <a:cubicBezTo>
                    <a:pt x="258" y="395"/>
                    <a:pt x="258" y="395"/>
                    <a:pt x="258" y="384"/>
                  </a:cubicBezTo>
                  <a:lnTo>
                    <a:pt x="258" y="361"/>
                  </a:lnTo>
                  <a:lnTo>
                    <a:pt x="258" y="336"/>
                  </a:lnTo>
                  <a:lnTo>
                    <a:pt x="258" y="280"/>
                  </a:lnTo>
                  <a:lnTo>
                    <a:pt x="258" y="211"/>
                  </a:lnTo>
                  <a:cubicBezTo>
                    <a:pt x="258" y="185"/>
                    <a:pt x="247" y="163"/>
                    <a:pt x="236" y="141"/>
                  </a:cubicBezTo>
                  <a:cubicBezTo>
                    <a:pt x="222" y="127"/>
                    <a:pt x="211" y="115"/>
                    <a:pt x="199" y="104"/>
                  </a:cubicBezTo>
                  <a:cubicBezTo>
                    <a:pt x="199" y="104"/>
                    <a:pt x="188" y="93"/>
                    <a:pt x="166" y="93"/>
                  </a:cubicBezTo>
                  <a:cubicBezTo>
                    <a:pt x="152" y="93"/>
                    <a:pt x="130" y="104"/>
                    <a:pt x="130" y="127"/>
                  </a:cubicBezTo>
                  <a:cubicBezTo>
                    <a:pt x="118" y="127"/>
                    <a:pt x="118" y="141"/>
                    <a:pt x="118" y="152"/>
                  </a:cubicBezTo>
                  <a:cubicBezTo>
                    <a:pt x="118" y="163"/>
                    <a:pt x="118" y="174"/>
                    <a:pt x="130" y="185"/>
                  </a:cubicBezTo>
                  <a:cubicBezTo>
                    <a:pt x="130" y="197"/>
                    <a:pt x="141" y="211"/>
                    <a:pt x="152" y="211"/>
                  </a:cubicBezTo>
                  <a:cubicBezTo>
                    <a:pt x="152" y="211"/>
                    <a:pt x="141" y="222"/>
                    <a:pt x="141" y="233"/>
                  </a:cubicBezTo>
                  <a:cubicBezTo>
                    <a:pt x="130" y="255"/>
                    <a:pt x="130" y="280"/>
                    <a:pt x="130" y="292"/>
                  </a:cubicBezTo>
                  <a:lnTo>
                    <a:pt x="130" y="314"/>
                  </a:lnTo>
                  <a:lnTo>
                    <a:pt x="130" y="325"/>
                  </a:lnTo>
                  <a:cubicBezTo>
                    <a:pt x="130" y="361"/>
                    <a:pt x="107" y="406"/>
                    <a:pt x="107" y="465"/>
                  </a:cubicBezTo>
                  <a:lnTo>
                    <a:pt x="107" y="476"/>
                  </a:lnTo>
                  <a:cubicBezTo>
                    <a:pt x="107" y="501"/>
                    <a:pt x="118" y="524"/>
                    <a:pt x="118" y="535"/>
                  </a:cubicBezTo>
                  <a:cubicBezTo>
                    <a:pt x="118" y="546"/>
                    <a:pt x="118" y="546"/>
                    <a:pt x="107" y="560"/>
                  </a:cubicBezTo>
                  <a:cubicBezTo>
                    <a:pt x="107" y="560"/>
                    <a:pt x="96" y="571"/>
                    <a:pt x="96" y="594"/>
                  </a:cubicBezTo>
                  <a:cubicBezTo>
                    <a:pt x="96" y="594"/>
                    <a:pt x="96" y="605"/>
                    <a:pt x="107" y="605"/>
                  </a:cubicBezTo>
                  <a:cubicBezTo>
                    <a:pt x="107" y="616"/>
                    <a:pt x="107" y="630"/>
                    <a:pt x="118" y="641"/>
                  </a:cubicBezTo>
                  <a:lnTo>
                    <a:pt x="118" y="652"/>
                  </a:lnTo>
                  <a:lnTo>
                    <a:pt x="118" y="663"/>
                  </a:lnTo>
                  <a:cubicBezTo>
                    <a:pt x="118" y="663"/>
                    <a:pt x="107" y="663"/>
                    <a:pt x="107" y="675"/>
                  </a:cubicBezTo>
                  <a:cubicBezTo>
                    <a:pt x="96" y="675"/>
                    <a:pt x="82" y="675"/>
                    <a:pt x="71" y="686"/>
                  </a:cubicBezTo>
                  <a:cubicBezTo>
                    <a:pt x="48" y="700"/>
                    <a:pt x="48" y="711"/>
                    <a:pt x="37" y="733"/>
                  </a:cubicBezTo>
                  <a:lnTo>
                    <a:pt x="37" y="781"/>
                  </a:lnTo>
                  <a:lnTo>
                    <a:pt x="37" y="840"/>
                  </a:lnTo>
                  <a:lnTo>
                    <a:pt x="37" y="862"/>
                  </a:lnTo>
                  <a:cubicBezTo>
                    <a:pt x="26" y="873"/>
                    <a:pt x="12" y="896"/>
                    <a:pt x="12" y="932"/>
                  </a:cubicBezTo>
                  <a:cubicBezTo>
                    <a:pt x="1" y="943"/>
                    <a:pt x="1" y="943"/>
                    <a:pt x="1" y="954"/>
                  </a:cubicBezTo>
                  <a:cubicBezTo>
                    <a:pt x="1" y="965"/>
                    <a:pt x="12" y="979"/>
                    <a:pt x="12" y="991"/>
                  </a:cubicBezTo>
                  <a:cubicBezTo>
                    <a:pt x="12" y="1002"/>
                    <a:pt x="26" y="1013"/>
                    <a:pt x="37" y="1024"/>
                  </a:cubicBezTo>
                  <a:cubicBezTo>
                    <a:pt x="60" y="1035"/>
                    <a:pt x="71" y="1035"/>
                    <a:pt x="82" y="1035"/>
                  </a:cubicBezTo>
                  <a:lnTo>
                    <a:pt x="118" y="1035"/>
                  </a:lnTo>
                  <a:lnTo>
                    <a:pt x="118" y="1049"/>
                  </a:lnTo>
                  <a:cubicBezTo>
                    <a:pt x="130" y="1049"/>
                    <a:pt x="130" y="1072"/>
                    <a:pt x="130" y="1083"/>
                  </a:cubicBezTo>
                  <a:cubicBezTo>
                    <a:pt x="141" y="1094"/>
                    <a:pt x="152" y="1105"/>
                    <a:pt x="166" y="1119"/>
                  </a:cubicBezTo>
                  <a:cubicBezTo>
                    <a:pt x="177" y="1130"/>
                    <a:pt x="199" y="1130"/>
                    <a:pt x="211" y="1130"/>
                  </a:cubicBezTo>
                  <a:cubicBezTo>
                    <a:pt x="258" y="1142"/>
                    <a:pt x="292" y="1142"/>
                    <a:pt x="339" y="1142"/>
                  </a:cubicBezTo>
                  <a:cubicBezTo>
                    <a:pt x="420" y="1142"/>
                    <a:pt x="501" y="1130"/>
                    <a:pt x="597" y="1119"/>
                  </a:cubicBezTo>
                  <a:cubicBezTo>
                    <a:pt x="619" y="1105"/>
                    <a:pt x="641" y="1105"/>
                    <a:pt x="666" y="1105"/>
                  </a:cubicBezTo>
                  <a:lnTo>
                    <a:pt x="700" y="1105"/>
                  </a:lnTo>
                  <a:cubicBezTo>
                    <a:pt x="711" y="1119"/>
                    <a:pt x="711" y="1119"/>
                    <a:pt x="725" y="1130"/>
                  </a:cubicBezTo>
                  <a:cubicBezTo>
                    <a:pt x="736" y="1130"/>
                    <a:pt x="748" y="1142"/>
                    <a:pt x="759" y="1142"/>
                  </a:cubicBezTo>
                  <a:lnTo>
                    <a:pt x="781" y="1142"/>
                  </a:lnTo>
                  <a:cubicBezTo>
                    <a:pt x="795" y="1142"/>
                    <a:pt x="817" y="1142"/>
                    <a:pt x="829" y="1130"/>
                  </a:cubicBezTo>
                  <a:cubicBezTo>
                    <a:pt x="840" y="1130"/>
                    <a:pt x="851" y="1119"/>
                    <a:pt x="865" y="1119"/>
                  </a:cubicBezTo>
                  <a:lnTo>
                    <a:pt x="876" y="1119"/>
                  </a:lnTo>
                  <a:cubicBezTo>
                    <a:pt x="887" y="1119"/>
                    <a:pt x="899" y="1130"/>
                    <a:pt x="921" y="1130"/>
                  </a:cubicBezTo>
                  <a:cubicBezTo>
                    <a:pt x="946" y="1153"/>
                    <a:pt x="968" y="1175"/>
                    <a:pt x="991" y="1189"/>
                  </a:cubicBezTo>
                  <a:cubicBezTo>
                    <a:pt x="1027" y="1212"/>
                    <a:pt x="1050" y="1234"/>
                    <a:pt x="1097" y="1234"/>
                  </a:cubicBezTo>
                  <a:cubicBezTo>
                    <a:pt x="1108" y="1234"/>
                    <a:pt x="1119" y="1234"/>
                    <a:pt x="1119" y="1223"/>
                  </a:cubicBezTo>
                  <a:cubicBezTo>
                    <a:pt x="1145" y="1223"/>
                    <a:pt x="1156" y="1212"/>
                    <a:pt x="1156" y="1212"/>
                  </a:cubicBezTo>
                  <a:cubicBezTo>
                    <a:pt x="1167" y="1200"/>
                    <a:pt x="1178" y="1200"/>
                    <a:pt x="1189" y="1200"/>
                  </a:cubicBezTo>
                  <a:lnTo>
                    <a:pt x="1237" y="1200"/>
                  </a:lnTo>
                  <a:cubicBezTo>
                    <a:pt x="1284" y="1212"/>
                    <a:pt x="1340" y="1223"/>
                    <a:pt x="1388" y="1234"/>
                  </a:cubicBezTo>
                  <a:cubicBezTo>
                    <a:pt x="1424" y="1245"/>
                    <a:pt x="1458" y="1259"/>
                    <a:pt x="1505" y="1259"/>
                  </a:cubicBezTo>
                  <a:lnTo>
                    <a:pt x="1539" y="1259"/>
                  </a:lnTo>
                  <a:cubicBezTo>
                    <a:pt x="1564" y="1245"/>
                    <a:pt x="1586" y="1234"/>
                    <a:pt x="1609" y="1234"/>
                  </a:cubicBezTo>
                  <a:cubicBezTo>
                    <a:pt x="1634" y="1223"/>
                    <a:pt x="1656" y="1223"/>
                    <a:pt x="1668" y="1223"/>
                  </a:cubicBezTo>
                  <a:lnTo>
                    <a:pt x="1690" y="1223"/>
                  </a:lnTo>
                  <a:cubicBezTo>
                    <a:pt x="1704" y="1234"/>
                    <a:pt x="1726" y="1245"/>
                    <a:pt x="1737" y="1270"/>
                  </a:cubicBezTo>
                  <a:cubicBezTo>
                    <a:pt x="1737" y="1281"/>
                    <a:pt x="1749" y="1293"/>
                    <a:pt x="1760" y="1304"/>
                  </a:cubicBezTo>
                  <a:cubicBezTo>
                    <a:pt x="1774" y="1304"/>
                    <a:pt x="1785" y="1315"/>
                    <a:pt x="1796" y="1329"/>
                  </a:cubicBezTo>
                  <a:lnTo>
                    <a:pt x="1819" y="1329"/>
                  </a:lnTo>
                  <a:cubicBezTo>
                    <a:pt x="1844" y="1329"/>
                    <a:pt x="1855" y="1329"/>
                    <a:pt x="1877" y="1315"/>
                  </a:cubicBezTo>
                  <a:lnTo>
                    <a:pt x="1925" y="1315"/>
                  </a:lnTo>
                  <a:cubicBezTo>
                    <a:pt x="1936" y="1315"/>
                    <a:pt x="1936" y="1329"/>
                    <a:pt x="1947" y="1340"/>
                  </a:cubicBezTo>
                  <a:cubicBezTo>
                    <a:pt x="1947" y="1351"/>
                    <a:pt x="1958" y="1363"/>
                    <a:pt x="1958" y="1374"/>
                  </a:cubicBezTo>
                  <a:cubicBezTo>
                    <a:pt x="1983" y="1410"/>
                    <a:pt x="2006" y="1421"/>
                    <a:pt x="2028" y="1432"/>
                  </a:cubicBezTo>
                  <a:cubicBezTo>
                    <a:pt x="2065" y="1444"/>
                    <a:pt x="2087" y="1444"/>
                    <a:pt x="2123" y="1444"/>
                  </a:cubicBezTo>
                  <a:lnTo>
                    <a:pt x="2157" y="1444"/>
                  </a:lnTo>
                  <a:cubicBezTo>
                    <a:pt x="2193" y="1444"/>
                    <a:pt x="2238" y="1432"/>
                    <a:pt x="2263" y="1432"/>
                  </a:cubicBezTo>
                  <a:cubicBezTo>
                    <a:pt x="2297" y="1432"/>
                    <a:pt x="2319" y="1444"/>
                    <a:pt x="2344" y="1455"/>
                  </a:cubicBezTo>
                  <a:cubicBezTo>
                    <a:pt x="2378" y="1469"/>
                    <a:pt x="2403" y="1514"/>
                    <a:pt x="2403" y="1561"/>
                  </a:cubicBezTo>
                  <a:cubicBezTo>
                    <a:pt x="2403" y="1572"/>
                    <a:pt x="2403" y="1572"/>
                    <a:pt x="2389" y="1583"/>
                  </a:cubicBezTo>
                  <a:cubicBezTo>
                    <a:pt x="2378" y="1609"/>
                    <a:pt x="2367" y="1620"/>
                    <a:pt x="2367" y="1653"/>
                  </a:cubicBezTo>
                  <a:lnTo>
                    <a:pt x="2367" y="1679"/>
                  </a:lnTo>
                  <a:cubicBezTo>
                    <a:pt x="2378" y="1701"/>
                    <a:pt x="2378" y="1723"/>
                    <a:pt x="2378" y="1734"/>
                  </a:cubicBezTo>
                  <a:lnTo>
                    <a:pt x="2378" y="1760"/>
                  </a:lnTo>
                  <a:lnTo>
                    <a:pt x="2367" y="1771"/>
                  </a:lnTo>
                  <a:cubicBezTo>
                    <a:pt x="2355" y="1782"/>
                    <a:pt x="2355" y="1782"/>
                    <a:pt x="2344" y="1793"/>
                  </a:cubicBezTo>
                  <a:lnTo>
                    <a:pt x="2344" y="1818"/>
                  </a:lnTo>
                  <a:lnTo>
                    <a:pt x="2344" y="1830"/>
                  </a:lnTo>
                  <a:cubicBezTo>
                    <a:pt x="2344" y="1830"/>
                    <a:pt x="2355" y="1841"/>
                    <a:pt x="2355" y="1852"/>
                  </a:cubicBezTo>
                  <a:cubicBezTo>
                    <a:pt x="2367" y="1852"/>
                    <a:pt x="2367" y="1852"/>
                    <a:pt x="2378" y="1863"/>
                  </a:cubicBezTo>
                  <a:cubicBezTo>
                    <a:pt x="2389" y="1863"/>
                    <a:pt x="2414" y="1874"/>
                    <a:pt x="2425" y="1874"/>
                  </a:cubicBezTo>
                  <a:cubicBezTo>
                    <a:pt x="2459" y="1874"/>
                    <a:pt x="2495" y="1852"/>
                    <a:pt x="2529" y="1841"/>
                  </a:cubicBezTo>
                  <a:cubicBezTo>
                    <a:pt x="2565" y="1830"/>
                    <a:pt x="2587" y="1818"/>
                    <a:pt x="2624" y="1818"/>
                  </a:cubicBezTo>
                  <a:lnTo>
                    <a:pt x="2635" y="1818"/>
                  </a:lnTo>
                  <a:cubicBezTo>
                    <a:pt x="2657" y="1818"/>
                    <a:pt x="2683" y="1841"/>
                    <a:pt x="2716" y="1852"/>
                  </a:cubicBezTo>
                  <a:cubicBezTo>
                    <a:pt x="2738" y="1863"/>
                    <a:pt x="2775" y="1863"/>
                    <a:pt x="2808" y="1863"/>
                  </a:cubicBezTo>
                  <a:cubicBezTo>
                    <a:pt x="2856" y="1863"/>
                    <a:pt x="2903" y="1852"/>
                    <a:pt x="2948" y="1841"/>
                  </a:cubicBezTo>
                  <a:cubicBezTo>
                    <a:pt x="2996" y="1830"/>
                    <a:pt x="3043" y="1804"/>
                    <a:pt x="3088" y="1804"/>
                  </a:cubicBezTo>
                  <a:cubicBezTo>
                    <a:pt x="3112" y="1799"/>
                    <a:pt x="3136" y="1799"/>
                    <a:pt x="3161" y="1799"/>
                  </a:cubicBezTo>
                  <a:cubicBezTo>
                    <a:pt x="3186" y="1799"/>
                    <a:pt x="3212" y="1799"/>
                    <a:pt x="3242" y="1793"/>
                  </a:cubicBezTo>
                  <a:cubicBezTo>
                    <a:pt x="3287" y="1793"/>
                    <a:pt x="3334" y="1782"/>
                    <a:pt x="3382" y="1760"/>
                  </a:cubicBezTo>
                  <a:cubicBezTo>
                    <a:pt x="3404" y="1734"/>
                    <a:pt x="3426" y="1723"/>
                    <a:pt x="3452" y="1712"/>
                  </a:cubicBezTo>
                  <a:lnTo>
                    <a:pt x="3496" y="1712"/>
                  </a:lnTo>
                  <a:cubicBezTo>
                    <a:pt x="3521" y="1701"/>
                    <a:pt x="3544" y="1701"/>
                    <a:pt x="3566" y="1690"/>
                  </a:cubicBezTo>
                  <a:cubicBezTo>
                    <a:pt x="3577" y="1690"/>
                    <a:pt x="3591" y="1679"/>
                    <a:pt x="3603" y="1665"/>
                  </a:cubicBezTo>
                  <a:cubicBezTo>
                    <a:pt x="3603" y="1665"/>
                    <a:pt x="3614" y="1653"/>
                    <a:pt x="3625" y="1653"/>
                  </a:cubicBezTo>
                  <a:cubicBezTo>
                    <a:pt x="3636" y="1653"/>
                    <a:pt x="3647" y="1665"/>
                    <a:pt x="3661" y="1665"/>
                  </a:cubicBezTo>
                  <a:cubicBezTo>
                    <a:pt x="3706" y="1690"/>
                    <a:pt x="3754" y="1701"/>
                    <a:pt x="3812" y="1701"/>
                  </a:cubicBezTo>
                  <a:cubicBezTo>
                    <a:pt x="3857" y="1701"/>
                    <a:pt x="3916" y="1690"/>
                    <a:pt x="3963" y="1665"/>
                  </a:cubicBezTo>
                  <a:cubicBezTo>
                    <a:pt x="3986" y="1653"/>
                    <a:pt x="4011" y="1642"/>
                    <a:pt x="4022" y="1642"/>
                  </a:cubicBezTo>
                  <a:cubicBezTo>
                    <a:pt x="4033" y="1642"/>
                    <a:pt x="4056" y="1642"/>
                    <a:pt x="4081" y="1653"/>
                  </a:cubicBezTo>
                  <a:cubicBezTo>
                    <a:pt x="4114" y="1653"/>
                    <a:pt x="4137" y="1642"/>
                    <a:pt x="4162" y="1631"/>
                  </a:cubicBezTo>
                  <a:cubicBezTo>
                    <a:pt x="4173" y="1620"/>
                    <a:pt x="4195" y="1609"/>
                    <a:pt x="4206" y="1609"/>
                  </a:cubicBezTo>
                  <a:lnTo>
                    <a:pt x="4220" y="1609"/>
                  </a:lnTo>
                  <a:cubicBezTo>
                    <a:pt x="4232" y="1620"/>
                    <a:pt x="4254" y="1631"/>
                    <a:pt x="4276" y="1642"/>
                  </a:cubicBezTo>
                  <a:cubicBezTo>
                    <a:pt x="4302" y="1653"/>
                    <a:pt x="4324" y="1665"/>
                    <a:pt x="4360" y="1665"/>
                  </a:cubicBezTo>
                  <a:cubicBezTo>
                    <a:pt x="4430" y="1665"/>
                    <a:pt x="4486" y="1631"/>
                    <a:pt x="4545" y="1595"/>
                  </a:cubicBezTo>
                  <a:cubicBezTo>
                    <a:pt x="4592" y="1572"/>
                    <a:pt x="4651" y="1550"/>
                    <a:pt x="4696" y="1550"/>
                  </a:cubicBezTo>
                  <a:cubicBezTo>
                    <a:pt x="4732" y="1550"/>
                    <a:pt x="4755" y="1561"/>
                    <a:pt x="4766" y="1572"/>
                  </a:cubicBezTo>
                  <a:cubicBezTo>
                    <a:pt x="4780" y="1583"/>
                    <a:pt x="4791" y="1595"/>
                    <a:pt x="4813" y="1595"/>
                  </a:cubicBezTo>
                  <a:cubicBezTo>
                    <a:pt x="4824" y="1609"/>
                    <a:pt x="4824" y="1609"/>
                    <a:pt x="4836" y="1609"/>
                  </a:cubicBezTo>
                  <a:cubicBezTo>
                    <a:pt x="4861" y="1609"/>
                    <a:pt x="4872" y="1595"/>
                    <a:pt x="4894" y="1583"/>
                  </a:cubicBezTo>
                  <a:cubicBezTo>
                    <a:pt x="4906" y="1583"/>
                    <a:pt x="4920" y="1572"/>
                    <a:pt x="4931" y="1572"/>
                  </a:cubicBezTo>
                  <a:lnTo>
                    <a:pt x="4942" y="1583"/>
                  </a:lnTo>
                  <a:cubicBezTo>
                    <a:pt x="4942" y="1583"/>
                    <a:pt x="4964" y="1595"/>
                    <a:pt x="4975" y="1609"/>
                  </a:cubicBezTo>
                  <a:cubicBezTo>
                    <a:pt x="4989" y="1620"/>
                    <a:pt x="4989" y="1631"/>
                    <a:pt x="5001" y="1631"/>
                  </a:cubicBezTo>
                  <a:cubicBezTo>
                    <a:pt x="5012" y="1642"/>
                    <a:pt x="5023" y="1653"/>
                    <a:pt x="5045" y="1653"/>
                  </a:cubicBezTo>
                  <a:cubicBezTo>
                    <a:pt x="5045" y="1653"/>
                    <a:pt x="5059" y="1653"/>
                    <a:pt x="5059" y="1642"/>
                  </a:cubicBezTo>
                  <a:cubicBezTo>
                    <a:pt x="5071" y="1642"/>
                    <a:pt x="5082" y="1631"/>
                    <a:pt x="5093" y="1631"/>
                  </a:cubicBezTo>
                  <a:cubicBezTo>
                    <a:pt x="5093" y="1620"/>
                    <a:pt x="5104" y="1620"/>
                    <a:pt x="5104" y="1620"/>
                  </a:cubicBezTo>
                  <a:cubicBezTo>
                    <a:pt x="5104" y="1609"/>
                    <a:pt x="5115" y="1609"/>
                    <a:pt x="5129" y="1609"/>
                  </a:cubicBezTo>
                  <a:lnTo>
                    <a:pt x="5163" y="1609"/>
                  </a:lnTo>
                  <a:cubicBezTo>
                    <a:pt x="5210" y="1595"/>
                    <a:pt x="5233" y="1561"/>
                    <a:pt x="5269" y="1539"/>
                  </a:cubicBezTo>
                  <a:cubicBezTo>
                    <a:pt x="5291" y="1514"/>
                    <a:pt x="5314" y="1480"/>
                    <a:pt x="5339" y="1455"/>
                  </a:cubicBezTo>
                  <a:cubicBezTo>
                    <a:pt x="5361" y="1421"/>
                    <a:pt x="5373" y="1385"/>
                    <a:pt x="5373" y="1340"/>
                  </a:cubicBezTo>
                  <a:lnTo>
                    <a:pt x="5373" y="1270"/>
                  </a:lnTo>
                  <a:lnTo>
                    <a:pt x="5373" y="1234"/>
                  </a:lnTo>
                  <a:cubicBezTo>
                    <a:pt x="5384" y="1234"/>
                    <a:pt x="5384" y="1234"/>
                    <a:pt x="5395" y="1223"/>
                  </a:cubicBezTo>
                  <a:cubicBezTo>
                    <a:pt x="5409" y="1212"/>
                    <a:pt x="5420" y="1200"/>
                    <a:pt x="5431" y="1189"/>
                  </a:cubicBezTo>
                  <a:lnTo>
                    <a:pt x="5431" y="1164"/>
                  </a:lnTo>
                  <a:cubicBezTo>
                    <a:pt x="5431" y="1153"/>
                    <a:pt x="5420" y="1142"/>
                    <a:pt x="5420" y="1130"/>
                  </a:cubicBezTo>
                  <a:cubicBezTo>
                    <a:pt x="5409" y="1119"/>
                    <a:pt x="5395" y="1105"/>
                    <a:pt x="5384" y="1094"/>
                  </a:cubicBezTo>
                  <a:cubicBezTo>
                    <a:pt x="5373" y="1094"/>
                    <a:pt x="5361" y="1083"/>
                    <a:pt x="5350" y="1072"/>
                  </a:cubicBezTo>
                  <a:lnTo>
                    <a:pt x="5350" y="1049"/>
                  </a:lnTo>
                  <a:cubicBezTo>
                    <a:pt x="5350" y="1024"/>
                    <a:pt x="5361" y="1002"/>
                    <a:pt x="5373" y="979"/>
                  </a:cubicBezTo>
                  <a:cubicBezTo>
                    <a:pt x="5384" y="954"/>
                    <a:pt x="5409" y="943"/>
                    <a:pt x="5420" y="921"/>
                  </a:cubicBezTo>
                  <a:cubicBezTo>
                    <a:pt x="5431" y="896"/>
                    <a:pt x="5431" y="873"/>
                    <a:pt x="5431" y="851"/>
                  </a:cubicBezTo>
                  <a:lnTo>
                    <a:pt x="5431" y="840"/>
                  </a:lnTo>
                  <a:lnTo>
                    <a:pt x="5431" y="826"/>
                  </a:lnTo>
                  <a:cubicBezTo>
                    <a:pt x="5420" y="814"/>
                    <a:pt x="5409" y="814"/>
                    <a:pt x="5395" y="814"/>
                  </a:cubicBezTo>
                  <a:cubicBezTo>
                    <a:pt x="5373" y="814"/>
                    <a:pt x="5361" y="814"/>
                    <a:pt x="5350" y="826"/>
                  </a:cubicBezTo>
                  <a:cubicBezTo>
                    <a:pt x="5339" y="840"/>
                    <a:pt x="5325" y="851"/>
                    <a:pt x="5325" y="862"/>
                  </a:cubicBezTo>
                  <a:cubicBezTo>
                    <a:pt x="5314" y="873"/>
                    <a:pt x="5303" y="884"/>
                    <a:pt x="5291" y="896"/>
                  </a:cubicBezTo>
                  <a:cubicBezTo>
                    <a:pt x="5291" y="910"/>
                    <a:pt x="5280" y="910"/>
                    <a:pt x="5280" y="910"/>
                  </a:cubicBezTo>
                  <a:cubicBezTo>
                    <a:pt x="5269" y="921"/>
                    <a:pt x="5269" y="921"/>
                    <a:pt x="5255" y="921"/>
                  </a:cubicBezTo>
                  <a:lnTo>
                    <a:pt x="5222" y="921"/>
                  </a:lnTo>
                  <a:cubicBezTo>
                    <a:pt x="5210" y="921"/>
                    <a:pt x="5185" y="943"/>
                    <a:pt x="5174" y="954"/>
                  </a:cubicBezTo>
                  <a:cubicBezTo>
                    <a:pt x="5163" y="979"/>
                    <a:pt x="5163" y="1002"/>
                    <a:pt x="5152" y="1024"/>
                  </a:cubicBezTo>
                  <a:cubicBezTo>
                    <a:pt x="5152" y="1049"/>
                    <a:pt x="5140" y="1072"/>
                    <a:pt x="5129" y="1083"/>
                  </a:cubicBezTo>
                  <a:cubicBezTo>
                    <a:pt x="5115" y="1094"/>
                    <a:pt x="5104" y="1105"/>
                    <a:pt x="5082" y="1105"/>
                  </a:cubicBezTo>
                  <a:lnTo>
                    <a:pt x="5059" y="1105"/>
                  </a:lnTo>
                  <a:cubicBezTo>
                    <a:pt x="5045" y="1105"/>
                    <a:pt x="5045" y="1094"/>
                    <a:pt x="5045" y="1083"/>
                  </a:cubicBezTo>
                  <a:cubicBezTo>
                    <a:pt x="5034" y="1083"/>
                    <a:pt x="5034" y="1072"/>
                    <a:pt x="5034" y="1049"/>
                  </a:cubicBezTo>
                  <a:cubicBezTo>
                    <a:pt x="5023" y="1049"/>
                    <a:pt x="5023" y="1035"/>
                    <a:pt x="5023" y="1035"/>
                  </a:cubicBezTo>
                  <a:cubicBezTo>
                    <a:pt x="5023" y="1024"/>
                    <a:pt x="5012" y="1013"/>
                    <a:pt x="5001" y="1013"/>
                  </a:cubicBezTo>
                  <a:lnTo>
                    <a:pt x="4989" y="1013"/>
                  </a:lnTo>
                  <a:cubicBezTo>
                    <a:pt x="4975" y="1013"/>
                    <a:pt x="4964" y="1024"/>
                    <a:pt x="4953" y="1024"/>
                  </a:cubicBezTo>
                  <a:lnTo>
                    <a:pt x="4942" y="1035"/>
                  </a:lnTo>
                  <a:lnTo>
                    <a:pt x="4883" y="1035"/>
                  </a:lnTo>
                  <a:cubicBezTo>
                    <a:pt x="4861" y="1035"/>
                    <a:pt x="4850" y="1035"/>
                    <a:pt x="4836" y="1049"/>
                  </a:cubicBezTo>
                  <a:cubicBezTo>
                    <a:pt x="4813" y="1061"/>
                    <a:pt x="4802" y="1083"/>
                    <a:pt x="4791" y="1094"/>
                  </a:cubicBezTo>
                  <a:cubicBezTo>
                    <a:pt x="4755" y="1130"/>
                    <a:pt x="4696" y="1153"/>
                    <a:pt x="4640" y="1164"/>
                  </a:cubicBezTo>
                  <a:cubicBezTo>
                    <a:pt x="4626" y="1175"/>
                    <a:pt x="4615" y="1175"/>
                    <a:pt x="4604" y="1175"/>
                  </a:cubicBezTo>
                  <a:lnTo>
                    <a:pt x="4592" y="1175"/>
                  </a:lnTo>
                  <a:cubicBezTo>
                    <a:pt x="4592" y="1164"/>
                    <a:pt x="4581" y="1153"/>
                    <a:pt x="4570" y="1142"/>
                  </a:cubicBezTo>
                  <a:lnTo>
                    <a:pt x="4556" y="1130"/>
                  </a:lnTo>
                  <a:cubicBezTo>
                    <a:pt x="4545" y="1130"/>
                    <a:pt x="4534" y="1119"/>
                    <a:pt x="4522" y="1119"/>
                  </a:cubicBezTo>
                  <a:cubicBezTo>
                    <a:pt x="4511" y="1119"/>
                    <a:pt x="4511" y="1119"/>
                    <a:pt x="4500" y="1130"/>
                  </a:cubicBezTo>
                  <a:cubicBezTo>
                    <a:pt x="4486" y="1130"/>
                    <a:pt x="4486" y="1142"/>
                    <a:pt x="4475" y="1153"/>
                  </a:cubicBezTo>
                  <a:lnTo>
                    <a:pt x="4475" y="1175"/>
                  </a:lnTo>
                  <a:lnTo>
                    <a:pt x="4475" y="1189"/>
                  </a:lnTo>
                  <a:cubicBezTo>
                    <a:pt x="4475" y="1200"/>
                    <a:pt x="4486" y="1212"/>
                    <a:pt x="4486" y="1223"/>
                  </a:cubicBezTo>
                  <a:lnTo>
                    <a:pt x="4486" y="1234"/>
                  </a:lnTo>
                  <a:lnTo>
                    <a:pt x="4486" y="1245"/>
                  </a:lnTo>
                  <a:cubicBezTo>
                    <a:pt x="4486" y="1270"/>
                    <a:pt x="4475" y="1293"/>
                    <a:pt x="4453" y="1304"/>
                  </a:cubicBezTo>
                  <a:cubicBezTo>
                    <a:pt x="4441" y="1315"/>
                    <a:pt x="4416" y="1329"/>
                    <a:pt x="4394" y="1329"/>
                  </a:cubicBezTo>
                  <a:cubicBezTo>
                    <a:pt x="4371" y="1329"/>
                    <a:pt x="4346" y="1315"/>
                    <a:pt x="4324" y="1293"/>
                  </a:cubicBezTo>
                  <a:cubicBezTo>
                    <a:pt x="4302" y="1281"/>
                    <a:pt x="4290" y="1245"/>
                    <a:pt x="4290" y="1223"/>
                  </a:cubicBezTo>
                  <a:cubicBezTo>
                    <a:pt x="4290" y="1223"/>
                    <a:pt x="4290" y="1212"/>
                    <a:pt x="4302" y="1200"/>
                  </a:cubicBezTo>
                  <a:lnTo>
                    <a:pt x="4302" y="1164"/>
                  </a:lnTo>
                  <a:lnTo>
                    <a:pt x="4302" y="1142"/>
                  </a:lnTo>
                  <a:lnTo>
                    <a:pt x="4302" y="1119"/>
                  </a:lnTo>
                  <a:lnTo>
                    <a:pt x="4302" y="1105"/>
                  </a:lnTo>
                  <a:cubicBezTo>
                    <a:pt x="4313" y="1094"/>
                    <a:pt x="4324" y="1083"/>
                    <a:pt x="4335" y="1072"/>
                  </a:cubicBezTo>
                  <a:cubicBezTo>
                    <a:pt x="4346" y="1061"/>
                    <a:pt x="4360" y="1061"/>
                    <a:pt x="4360" y="1049"/>
                  </a:cubicBezTo>
                  <a:cubicBezTo>
                    <a:pt x="4371" y="1035"/>
                    <a:pt x="4371" y="1024"/>
                    <a:pt x="4371" y="1013"/>
                  </a:cubicBezTo>
                  <a:cubicBezTo>
                    <a:pt x="4371" y="991"/>
                    <a:pt x="4371" y="979"/>
                    <a:pt x="4360" y="965"/>
                  </a:cubicBezTo>
                  <a:cubicBezTo>
                    <a:pt x="4360" y="954"/>
                    <a:pt x="4346" y="954"/>
                    <a:pt x="4346" y="943"/>
                  </a:cubicBezTo>
                  <a:lnTo>
                    <a:pt x="4335" y="932"/>
                  </a:lnTo>
                  <a:lnTo>
                    <a:pt x="4346" y="921"/>
                  </a:lnTo>
                  <a:lnTo>
                    <a:pt x="4371" y="921"/>
                  </a:lnTo>
                  <a:cubicBezTo>
                    <a:pt x="4383" y="921"/>
                    <a:pt x="4394" y="910"/>
                    <a:pt x="4405" y="896"/>
                  </a:cubicBezTo>
                  <a:cubicBezTo>
                    <a:pt x="4405" y="884"/>
                    <a:pt x="4416" y="873"/>
                    <a:pt x="4416" y="862"/>
                  </a:cubicBezTo>
                  <a:cubicBezTo>
                    <a:pt x="4416" y="851"/>
                    <a:pt x="4405" y="840"/>
                    <a:pt x="4394" y="826"/>
                  </a:cubicBezTo>
                  <a:cubicBezTo>
                    <a:pt x="4383" y="814"/>
                    <a:pt x="4371" y="803"/>
                    <a:pt x="4360" y="792"/>
                  </a:cubicBezTo>
                  <a:lnTo>
                    <a:pt x="4313" y="792"/>
                  </a:lnTo>
                  <a:cubicBezTo>
                    <a:pt x="4265" y="781"/>
                    <a:pt x="4220" y="781"/>
                    <a:pt x="4162" y="781"/>
                  </a:cubicBezTo>
                  <a:lnTo>
                    <a:pt x="4103" y="781"/>
                  </a:lnTo>
                  <a:cubicBezTo>
                    <a:pt x="3997" y="792"/>
                    <a:pt x="3905" y="851"/>
                    <a:pt x="3823" y="884"/>
                  </a:cubicBezTo>
                  <a:cubicBezTo>
                    <a:pt x="3787" y="896"/>
                    <a:pt x="3765" y="910"/>
                    <a:pt x="3742" y="910"/>
                  </a:cubicBezTo>
                  <a:lnTo>
                    <a:pt x="3731" y="910"/>
                  </a:lnTo>
                  <a:cubicBezTo>
                    <a:pt x="3717" y="910"/>
                    <a:pt x="3706" y="910"/>
                    <a:pt x="3695" y="896"/>
                  </a:cubicBezTo>
                  <a:cubicBezTo>
                    <a:pt x="3684" y="884"/>
                    <a:pt x="3672" y="873"/>
                    <a:pt x="3672" y="862"/>
                  </a:cubicBezTo>
                  <a:lnTo>
                    <a:pt x="3672" y="851"/>
                  </a:lnTo>
                  <a:lnTo>
                    <a:pt x="3672" y="840"/>
                  </a:lnTo>
                  <a:cubicBezTo>
                    <a:pt x="3661" y="826"/>
                    <a:pt x="3661" y="826"/>
                    <a:pt x="3647" y="814"/>
                  </a:cubicBezTo>
                  <a:lnTo>
                    <a:pt x="3625" y="814"/>
                  </a:lnTo>
                  <a:cubicBezTo>
                    <a:pt x="3533" y="826"/>
                    <a:pt x="3438" y="826"/>
                    <a:pt x="3356" y="826"/>
                  </a:cubicBezTo>
                  <a:lnTo>
                    <a:pt x="3287" y="826"/>
                  </a:lnTo>
                  <a:cubicBezTo>
                    <a:pt x="3275" y="814"/>
                    <a:pt x="3253" y="803"/>
                    <a:pt x="3242" y="792"/>
                  </a:cubicBezTo>
                  <a:cubicBezTo>
                    <a:pt x="3228" y="781"/>
                    <a:pt x="3205" y="770"/>
                    <a:pt x="3183" y="770"/>
                  </a:cubicBezTo>
                  <a:cubicBezTo>
                    <a:pt x="3172" y="770"/>
                    <a:pt x="3158" y="770"/>
                    <a:pt x="3158" y="781"/>
                  </a:cubicBezTo>
                  <a:cubicBezTo>
                    <a:pt x="3136" y="792"/>
                    <a:pt x="3124" y="803"/>
                    <a:pt x="3113" y="814"/>
                  </a:cubicBezTo>
                  <a:cubicBezTo>
                    <a:pt x="3102" y="840"/>
                    <a:pt x="3077" y="851"/>
                    <a:pt x="3054" y="851"/>
                  </a:cubicBezTo>
                  <a:cubicBezTo>
                    <a:pt x="3043" y="851"/>
                    <a:pt x="3032" y="840"/>
                    <a:pt x="3032" y="840"/>
                  </a:cubicBezTo>
                  <a:cubicBezTo>
                    <a:pt x="2996" y="826"/>
                    <a:pt x="2985" y="792"/>
                    <a:pt x="2985" y="770"/>
                  </a:cubicBezTo>
                  <a:lnTo>
                    <a:pt x="2985" y="756"/>
                  </a:lnTo>
                  <a:lnTo>
                    <a:pt x="2985" y="711"/>
                  </a:lnTo>
                  <a:lnTo>
                    <a:pt x="2985" y="700"/>
                  </a:lnTo>
                  <a:cubicBezTo>
                    <a:pt x="2985" y="675"/>
                    <a:pt x="2973" y="652"/>
                    <a:pt x="2962" y="641"/>
                  </a:cubicBezTo>
                  <a:cubicBezTo>
                    <a:pt x="2937" y="630"/>
                    <a:pt x="2915" y="616"/>
                    <a:pt x="2892" y="616"/>
                  </a:cubicBezTo>
                  <a:lnTo>
                    <a:pt x="2878" y="616"/>
                  </a:lnTo>
                  <a:cubicBezTo>
                    <a:pt x="2845" y="616"/>
                    <a:pt x="2808" y="630"/>
                    <a:pt x="2775" y="652"/>
                  </a:cubicBezTo>
                  <a:cubicBezTo>
                    <a:pt x="2764" y="663"/>
                    <a:pt x="2764" y="663"/>
                    <a:pt x="2752" y="663"/>
                  </a:cubicBezTo>
                  <a:lnTo>
                    <a:pt x="2738" y="663"/>
                  </a:lnTo>
                  <a:cubicBezTo>
                    <a:pt x="2727" y="652"/>
                    <a:pt x="2716" y="652"/>
                    <a:pt x="2705" y="641"/>
                  </a:cubicBezTo>
                  <a:cubicBezTo>
                    <a:pt x="2694" y="630"/>
                    <a:pt x="2683" y="630"/>
                    <a:pt x="2657" y="630"/>
                  </a:cubicBezTo>
                  <a:lnTo>
                    <a:pt x="2646" y="630"/>
                  </a:lnTo>
                  <a:cubicBezTo>
                    <a:pt x="2624" y="630"/>
                    <a:pt x="2613" y="641"/>
                    <a:pt x="2599" y="641"/>
                  </a:cubicBezTo>
                  <a:cubicBezTo>
                    <a:pt x="2576" y="652"/>
                    <a:pt x="2565" y="663"/>
                    <a:pt x="2543" y="663"/>
                  </a:cubicBezTo>
                  <a:cubicBezTo>
                    <a:pt x="2506" y="663"/>
                    <a:pt x="2473" y="652"/>
                    <a:pt x="2436" y="641"/>
                  </a:cubicBezTo>
                  <a:cubicBezTo>
                    <a:pt x="2389" y="630"/>
                    <a:pt x="2355" y="616"/>
                    <a:pt x="2308" y="616"/>
                  </a:cubicBezTo>
                  <a:cubicBezTo>
                    <a:pt x="2308" y="616"/>
                    <a:pt x="2297" y="616"/>
                    <a:pt x="2297" y="630"/>
                  </a:cubicBezTo>
                  <a:cubicBezTo>
                    <a:pt x="2227" y="630"/>
                    <a:pt x="2179" y="663"/>
                    <a:pt x="2134" y="700"/>
                  </a:cubicBezTo>
                  <a:cubicBezTo>
                    <a:pt x="2076" y="722"/>
                    <a:pt x="2039" y="756"/>
                    <a:pt x="1983" y="756"/>
                  </a:cubicBezTo>
                  <a:lnTo>
                    <a:pt x="1958" y="756"/>
                  </a:lnTo>
                  <a:cubicBezTo>
                    <a:pt x="1914" y="756"/>
                    <a:pt x="1866" y="745"/>
                    <a:pt x="1819" y="745"/>
                  </a:cubicBezTo>
                  <a:lnTo>
                    <a:pt x="1785" y="745"/>
                  </a:lnTo>
                  <a:cubicBezTo>
                    <a:pt x="1726" y="756"/>
                    <a:pt x="1679" y="781"/>
                    <a:pt x="1634" y="792"/>
                  </a:cubicBezTo>
                  <a:cubicBezTo>
                    <a:pt x="1609" y="803"/>
                    <a:pt x="1586" y="803"/>
                    <a:pt x="1575" y="803"/>
                  </a:cubicBezTo>
                  <a:cubicBezTo>
                    <a:pt x="1550" y="803"/>
                    <a:pt x="1528" y="803"/>
                    <a:pt x="1517" y="792"/>
                  </a:cubicBezTo>
                  <a:lnTo>
                    <a:pt x="1505" y="781"/>
                  </a:lnTo>
                  <a:lnTo>
                    <a:pt x="1505" y="745"/>
                  </a:lnTo>
                  <a:cubicBezTo>
                    <a:pt x="1494" y="711"/>
                    <a:pt x="1494" y="675"/>
                    <a:pt x="1494" y="630"/>
                  </a:cubicBezTo>
                  <a:lnTo>
                    <a:pt x="1494" y="605"/>
                  </a:lnTo>
                  <a:lnTo>
                    <a:pt x="1494" y="594"/>
                  </a:lnTo>
                  <a:cubicBezTo>
                    <a:pt x="1494" y="582"/>
                    <a:pt x="1494" y="571"/>
                    <a:pt x="1480" y="546"/>
                  </a:cubicBezTo>
                  <a:cubicBezTo>
                    <a:pt x="1480" y="535"/>
                    <a:pt x="1469" y="524"/>
                    <a:pt x="1458" y="512"/>
                  </a:cubicBezTo>
                  <a:cubicBezTo>
                    <a:pt x="1447" y="501"/>
                    <a:pt x="1435" y="501"/>
                    <a:pt x="1424" y="501"/>
                  </a:cubicBezTo>
                  <a:cubicBezTo>
                    <a:pt x="1399" y="501"/>
                    <a:pt x="1377" y="512"/>
                    <a:pt x="1354" y="524"/>
                  </a:cubicBezTo>
                  <a:cubicBezTo>
                    <a:pt x="1329" y="535"/>
                    <a:pt x="1318" y="560"/>
                    <a:pt x="1296" y="560"/>
                  </a:cubicBezTo>
                  <a:lnTo>
                    <a:pt x="1284" y="571"/>
                  </a:lnTo>
                  <a:cubicBezTo>
                    <a:pt x="1259" y="571"/>
                    <a:pt x="1237" y="546"/>
                    <a:pt x="1201" y="535"/>
                  </a:cubicBezTo>
                  <a:cubicBezTo>
                    <a:pt x="1189" y="524"/>
                    <a:pt x="1167" y="512"/>
                    <a:pt x="1167" y="512"/>
                  </a:cubicBezTo>
                  <a:cubicBezTo>
                    <a:pt x="1156" y="501"/>
                    <a:pt x="1156" y="490"/>
                    <a:pt x="1156" y="490"/>
                  </a:cubicBezTo>
                  <a:cubicBezTo>
                    <a:pt x="1178" y="490"/>
                    <a:pt x="1201" y="501"/>
                    <a:pt x="1226" y="501"/>
                  </a:cubicBezTo>
                  <a:cubicBezTo>
                    <a:pt x="1248" y="512"/>
                    <a:pt x="1270" y="512"/>
                    <a:pt x="1284" y="512"/>
                  </a:cubicBezTo>
                  <a:cubicBezTo>
                    <a:pt x="1307" y="512"/>
                    <a:pt x="1329" y="512"/>
                    <a:pt x="1354" y="490"/>
                  </a:cubicBezTo>
                  <a:cubicBezTo>
                    <a:pt x="1377" y="476"/>
                    <a:pt x="1388" y="443"/>
                    <a:pt x="1388" y="420"/>
                  </a:cubicBezTo>
                  <a:cubicBezTo>
                    <a:pt x="1388" y="384"/>
                    <a:pt x="1377" y="361"/>
                    <a:pt x="1366" y="336"/>
                  </a:cubicBezTo>
                  <a:cubicBezTo>
                    <a:pt x="1354" y="303"/>
                    <a:pt x="1340" y="280"/>
                    <a:pt x="1318" y="255"/>
                  </a:cubicBezTo>
                  <a:cubicBezTo>
                    <a:pt x="1307" y="233"/>
                    <a:pt x="1284" y="211"/>
                    <a:pt x="1248" y="197"/>
                  </a:cubicBezTo>
                  <a:lnTo>
                    <a:pt x="1215" y="197"/>
                  </a:lnTo>
                  <a:cubicBezTo>
                    <a:pt x="1178" y="197"/>
                    <a:pt x="1156" y="211"/>
                    <a:pt x="1131" y="233"/>
                  </a:cubicBezTo>
                  <a:cubicBezTo>
                    <a:pt x="1108" y="244"/>
                    <a:pt x="1086" y="280"/>
                    <a:pt x="1075" y="303"/>
                  </a:cubicBezTo>
                  <a:cubicBezTo>
                    <a:pt x="1061" y="336"/>
                    <a:pt x="1061" y="361"/>
                    <a:pt x="1050" y="384"/>
                  </a:cubicBezTo>
                  <a:cubicBezTo>
                    <a:pt x="1038" y="406"/>
                    <a:pt x="1016" y="420"/>
                    <a:pt x="980" y="420"/>
                  </a:cubicBezTo>
                  <a:cubicBezTo>
                    <a:pt x="957" y="420"/>
                    <a:pt x="935" y="406"/>
                    <a:pt x="910" y="395"/>
                  </a:cubicBezTo>
                  <a:cubicBezTo>
                    <a:pt x="910" y="384"/>
                    <a:pt x="910" y="373"/>
                    <a:pt x="899" y="373"/>
                  </a:cubicBezTo>
                  <a:cubicBezTo>
                    <a:pt x="887" y="361"/>
                    <a:pt x="876" y="361"/>
                    <a:pt x="865" y="361"/>
                  </a:cubicBezTo>
                  <a:cubicBezTo>
                    <a:pt x="829" y="361"/>
                    <a:pt x="806" y="373"/>
                    <a:pt x="781" y="384"/>
                  </a:cubicBezTo>
                  <a:cubicBezTo>
                    <a:pt x="770" y="395"/>
                    <a:pt x="748" y="406"/>
                    <a:pt x="748" y="406"/>
                  </a:cubicBezTo>
                  <a:lnTo>
                    <a:pt x="736" y="406"/>
                  </a:lnTo>
                  <a:cubicBezTo>
                    <a:pt x="736" y="406"/>
                    <a:pt x="725" y="395"/>
                    <a:pt x="711" y="384"/>
                  </a:cubicBezTo>
                  <a:cubicBezTo>
                    <a:pt x="706" y="378"/>
                    <a:pt x="697" y="378"/>
                    <a:pt x="689" y="378"/>
                  </a:cubicBezTo>
                  <a:cubicBezTo>
                    <a:pt x="680" y="378"/>
                    <a:pt x="672" y="378"/>
                    <a:pt x="666" y="373"/>
                  </a:cubicBezTo>
                  <a:lnTo>
                    <a:pt x="597" y="373"/>
                  </a:lnTo>
                  <a:lnTo>
                    <a:pt x="597" y="350"/>
                  </a:lnTo>
                  <a:lnTo>
                    <a:pt x="597" y="336"/>
                  </a:lnTo>
                  <a:cubicBezTo>
                    <a:pt x="597" y="303"/>
                    <a:pt x="585" y="266"/>
                    <a:pt x="571" y="233"/>
                  </a:cubicBezTo>
                  <a:cubicBezTo>
                    <a:pt x="560" y="222"/>
                    <a:pt x="560" y="197"/>
                    <a:pt x="549" y="185"/>
                  </a:cubicBezTo>
                  <a:lnTo>
                    <a:pt x="549" y="174"/>
                  </a:lnTo>
                  <a:cubicBezTo>
                    <a:pt x="549" y="163"/>
                    <a:pt x="560" y="152"/>
                    <a:pt x="560" y="141"/>
                  </a:cubicBezTo>
                  <a:lnTo>
                    <a:pt x="560" y="104"/>
                  </a:lnTo>
                  <a:cubicBezTo>
                    <a:pt x="560" y="82"/>
                    <a:pt x="560" y="57"/>
                    <a:pt x="549" y="34"/>
                  </a:cubicBezTo>
                  <a:cubicBezTo>
                    <a:pt x="527" y="12"/>
                    <a:pt x="501" y="1"/>
                    <a:pt x="47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" name="Google Shape;65;p17">
              <a:extLst>
                <a:ext uri="{FF2B5EF4-FFF2-40B4-BE49-F238E27FC236}">
                  <a16:creationId xmlns:a16="http://schemas.microsoft.com/office/drawing/2014/main" xmlns="" id="{8360901C-04A2-487F-0A47-092F7D783C89}"/>
                </a:ext>
              </a:extLst>
            </p:cNvPr>
            <p:cNvSpPr/>
            <p:nvPr/>
          </p:nvSpPr>
          <p:spPr>
            <a:xfrm>
              <a:off x="3726773" y="4132483"/>
              <a:ext cx="13833" cy="29972"/>
            </a:xfrm>
            <a:custGeom>
              <a:avLst/>
              <a:gdLst/>
              <a:ahLst/>
              <a:cxnLst/>
              <a:rect l="l" t="t" r="r" b="b"/>
              <a:pathLst>
                <a:path w="60" h="130" extrusionOk="0">
                  <a:moveTo>
                    <a:pt x="37" y="0"/>
                  </a:moveTo>
                  <a:cubicBezTo>
                    <a:pt x="23" y="0"/>
                    <a:pt x="12" y="12"/>
                    <a:pt x="12" y="23"/>
                  </a:cubicBezTo>
                  <a:cubicBezTo>
                    <a:pt x="1" y="37"/>
                    <a:pt x="12" y="59"/>
                    <a:pt x="12" y="70"/>
                  </a:cubicBezTo>
                  <a:cubicBezTo>
                    <a:pt x="23" y="93"/>
                    <a:pt x="12" y="107"/>
                    <a:pt x="12" y="129"/>
                  </a:cubicBezTo>
                  <a:lnTo>
                    <a:pt x="48" y="129"/>
                  </a:lnTo>
                  <a:lnTo>
                    <a:pt x="48" y="118"/>
                  </a:lnTo>
                  <a:cubicBezTo>
                    <a:pt x="60" y="93"/>
                    <a:pt x="60" y="70"/>
                    <a:pt x="60" y="37"/>
                  </a:cubicBezTo>
                  <a:lnTo>
                    <a:pt x="60" y="23"/>
                  </a:lnTo>
                  <a:cubicBezTo>
                    <a:pt x="48" y="12"/>
                    <a:pt x="37" y="0"/>
                    <a:pt x="37" y="0"/>
                  </a:cubicBezTo>
                  <a:close/>
                </a:path>
              </a:pathLst>
            </a:custGeom>
            <a:solidFill>
              <a:srgbClr val="027CB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" name="Google Shape;66;p17">
              <a:extLst>
                <a:ext uri="{FF2B5EF4-FFF2-40B4-BE49-F238E27FC236}">
                  <a16:creationId xmlns:a16="http://schemas.microsoft.com/office/drawing/2014/main" xmlns="" id="{93C73E61-9562-A4B7-C85D-679DF45F1B61}"/>
                </a:ext>
              </a:extLst>
            </p:cNvPr>
            <p:cNvSpPr/>
            <p:nvPr/>
          </p:nvSpPr>
          <p:spPr>
            <a:xfrm>
              <a:off x="3724237" y="4127411"/>
              <a:ext cx="21441" cy="40117"/>
            </a:xfrm>
            <a:custGeom>
              <a:avLst/>
              <a:gdLst/>
              <a:ahLst/>
              <a:cxnLst/>
              <a:rect l="l" t="t" r="r" b="b"/>
              <a:pathLst>
                <a:path w="93" h="174" extrusionOk="0">
                  <a:moveTo>
                    <a:pt x="34" y="0"/>
                  </a:moveTo>
                  <a:cubicBezTo>
                    <a:pt x="23" y="11"/>
                    <a:pt x="1" y="11"/>
                    <a:pt x="1" y="34"/>
                  </a:cubicBezTo>
                  <a:lnTo>
                    <a:pt x="1" y="59"/>
                  </a:lnTo>
                  <a:lnTo>
                    <a:pt x="1" y="81"/>
                  </a:lnTo>
                  <a:lnTo>
                    <a:pt x="1" y="92"/>
                  </a:lnTo>
                  <a:lnTo>
                    <a:pt x="1" y="103"/>
                  </a:lnTo>
                  <a:lnTo>
                    <a:pt x="1" y="140"/>
                  </a:lnTo>
                  <a:lnTo>
                    <a:pt x="1" y="151"/>
                  </a:lnTo>
                  <a:lnTo>
                    <a:pt x="1" y="162"/>
                  </a:lnTo>
                  <a:lnTo>
                    <a:pt x="12" y="162"/>
                  </a:lnTo>
                  <a:cubicBezTo>
                    <a:pt x="23" y="173"/>
                    <a:pt x="23" y="173"/>
                    <a:pt x="34" y="173"/>
                  </a:cubicBezTo>
                  <a:lnTo>
                    <a:pt x="48" y="173"/>
                  </a:lnTo>
                  <a:cubicBezTo>
                    <a:pt x="59" y="173"/>
                    <a:pt x="71" y="173"/>
                    <a:pt x="82" y="162"/>
                  </a:cubicBezTo>
                  <a:lnTo>
                    <a:pt x="82" y="151"/>
                  </a:lnTo>
                  <a:lnTo>
                    <a:pt x="82" y="140"/>
                  </a:lnTo>
                  <a:cubicBezTo>
                    <a:pt x="93" y="129"/>
                    <a:pt x="93" y="103"/>
                    <a:pt x="93" y="92"/>
                  </a:cubicBezTo>
                  <a:lnTo>
                    <a:pt x="93" y="59"/>
                  </a:lnTo>
                  <a:cubicBezTo>
                    <a:pt x="93" y="59"/>
                    <a:pt x="93" y="45"/>
                    <a:pt x="82" y="34"/>
                  </a:cubicBezTo>
                  <a:cubicBezTo>
                    <a:pt x="82" y="11"/>
                    <a:pt x="59" y="0"/>
                    <a:pt x="4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" name="Google Shape;67;p17">
              <a:extLst>
                <a:ext uri="{FF2B5EF4-FFF2-40B4-BE49-F238E27FC236}">
                  <a16:creationId xmlns:a16="http://schemas.microsoft.com/office/drawing/2014/main" xmlns="" id="{70C35190-C964-BCE9-6515-307B90A643B6}"/>
                </a:ext>
              </a:extLst>
            </p:cNvPr>
            <p:cNvSpPr/>
            <p:nvPr/>
          </p:nvSpPr>
          <p:spPr>
            <a:xfrm>
              <a:off x="3802394" y="4178824"/>
              <a:ext cx="13602" cy="15678"/>
            </a:xfrm>
            <a:custGeom>
              <a:avLst/>
              <a:gdLst/>
              <a:ahLst/>
              <a:cxnLst/>
              <a:rect l="l" t="t" r="r" b="b"/>
              <a:pathLst>
                <a:path w="59" h="68" extrusionOk="0">
                  <a:moveTo>
                    <a:pt x="28" y="1"/>
                  </a:moveTo>
                  <a:cubicBezTo>
                    <a:pt x="22" y="1"/>
                    <a:pt x="17" y="4"/>
                    <a:pt x="11" y="9"/>
                  </a:cubicBezTo>
                  <a:cubicBezTo>
                    <a:pt x="0" y="20"/>
                    <a:pt x="0" y="31"/>
                    <a:pt x="0" y="45"/>
                  </a:cubicBezTo>
                  <a:lnTo>
                    <a:pt x="11" y="57"/>
                  </a:lnTo>
                  <a:cubicBezTo>
                    <a:pt x="11" y="57"/>
                    <a:pt x="22" y="57"/>
                    <a:pt x="22" y="68"/>
                  </a:cubicBezTo>
                  <a:cubicBezTo>
                    <a:pt x="34" y="68"/>
                    <a:pt x="45" y="68"/>
                    <a:pt x="59" y="57"/>
                  </a:cubicBezTo>
                  <a:lnTo>
                    <a:pt x="59" y="20"/>
                  </a:lnTo>
                  <a:cubicBezTo>
                    <a:pt x="59" y="20"/>
                    <a:pt x="59" y="9"/>
                    <a:pt x="45" y="9"/>
                  </a:cubicBezTo>
                  <a:cubicBezTo>
                    <a:pt x="39" y="4"/>
                    <a:pt x="34" y="1"/>
                    <a:pt x="28" y="1"/>
                  </a:cubicBezTo>
                  <a:close/>
                </a:path>
              </a:pathLst>
            </a:custGeom>
            <a:solidFill>
              <a:srgbClr val="027CB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" name="Google Shape;68;p17">
              <a:extLst>
                <a:ext uri="{FF2B5EF4-FFF2-40B4-BE49-F238E27FC236}">
                  <a16:creationId xmlns:a16="http://schemas.microsoft.com/office/drawing/2014/main" xmlns="" id="{E3BC5641-DCE6-C79A-9BD0-69132A3B247A}"/>
                </a:ext>
              </a:extLst>
            </p:cNvPr>
            <p:cNvSpPr/>
            <p:nvPr/>
          </p:nvSpPr>
          <p:spPr>
            <a:xfrm>
              <a:off x="3796400" y="4173060"/>
              <a:ext cx="24899" cy="26744"/>
            </a:xfrm>
            <a:custGeom>
              <a:avLst/>
              <a:gdLst/>
              <a:ahLst/>
              <a:cxnLst/>
              <a:rect l="l" t="t" r="r" b="b"/>
              <a:pathLst>
                <a:path w="108" h="116" extrusionOk="0">
                  <a:moveTo>
                    <a:pt x="60" y="45"/>
                  </a:moveTo>
                  <a:lnTo>
                    <a:pt x="60" y="56"/>
                  </a:lnTo>
                  <a:lnTo>
                    <a:pt x="60" y="70"/>
                  </a:lnTo>
                  <a:lnTo>
                    <a:pt x="48" y="56"/>
                  </a:lnTo>
                  <a:cubicBezTo>
                    <a:pt x="48" y="45"/>
                    <a:pt x="60" y="45"/>
                    <a:pt x="60" y="45"/>
                  </a:cubicBezTo>
                  <a:close/>
                  <a:moveTo>
                    <a:pt x="60" y="1"/>
                  </a:moveTo>
                  <a:cubicBezTo>
                    <a:pt x="48" y="1"/>
                    <a:pt x="26" y="12"/>
                    <a:pt x="26" y="23"/>
                  </a:cubicBezTo>
                  <a:cubicBezTo>
                    <a:pt x="15" y="34"/>
                    <a:pt x="1" y="45"/>
                    <a:pt x="1" y="56"/>
                  </a:cubicBezTo>
                  <a:cubicBezTo>
                    <a:pt x="1" y="56"/>
                    <a:pt x="1" y="70"/>
                    <a:pt x="15" y="70"/>
                  </a:cubicBezTo>
                  <a:lnTo>
                    <a:pt x="15" y="82"/>
                  </a:lnTo>
                  <a:lnTo>
                    <a:pt x="15" y="93"/>
                  </a:lnTo>
                  <a:cubicBezTo>
                    <a:pt x="26" y="104"/>
                    <a:pt x="37" y="104"/>
                    <a:pt x="48" y="104"/>
                  </a:cubicBezTo>
                  <a:cubicBezTo>
                    <a:pt x="48" y="115"/>
                    <a:pt x="60" y="115"/>
                    <a:pt x="60" y="115"/>
                  </a:cubicBezTo>
                  <a:cubicBezTo>
                    <a:pt x="71" y="115"/>
                    <a:pt x="85" y="115"/>
                    <a:pt x="85" y="104"/>
                  </a:cubicBezTo>
                  <a:lnTo>
                    <a:pt x="107" y="104"/>
                  </a:lnTo>
                  <a:lnTo>
                    <a:pt x="107" y="82"/>
                  </a:lnTo>
                  <a:lnTo>
                    <a:pt x="107" y="45"/>
                  </a:lnTo>
                  <a:cubicBezTo>
                    <a:pt x="107" y="45"/>
                    <a:pt x="107" y="34"/>
                    <a:pt x="96" y="23"/>
                  </a:cubicBezTo>
                  <a:cubicBezTo>
                    <a:pt x="85" y="12"/>
                    <a:pt x="71" y="1"/>
                    <a:pt x="6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" name="Google Shape;69;p17">
              <a:extLst>
                <a:ext uri="{FF2B5EF4-FFF2-40B4-BE49-F238E27FC236}">
                  <a16:creationId xmlns:a16="http://schemas.microsoft.com/office/drawing/2014/main" xmlns="" id="{1F56B1CF-EEB2-6982-938D-465D6CDF00F9}"/>
                </a:ext>
              </a:extLst>
            </p:cNvPr>
            <p:cNvSpPr/>
            <p:nvPr/>
          </p:nvSpPr>
          <p:spPr>
            <a:xfrm>
              <a:off x="3715937" y="4352892"/>
              <a:ext cx="13833" cy="21442"/>
            </a:xfrm>
            <a:custGeom>
              <a:avLst/>
              <a:gdLst/>
              <a:ahLst/>
              <a:cxnLst/>
              <a:rect l="l" t="t" r="r" b="b"/>
              <a:pathLst>
                <a:path w="60" h="93" extrusionOk="0">
                  <a:moveTo>
                    <a:pt x="26" y="1"/>
                  </a:moveTo>
                  <a:cubicBezTo>
                    <a:pt x="14" y="1"/>
                    <a:pt x="14" y="1"/>
                    <a:pt x="0" y="12"/>
                  </a:cubicBezTo>
                  <a:lnTo>
                    <a:pt x="0" y="23"/>
                  </a:lnTo>
                  <a:lnTo>
                    <a:pt x="0" y="59"/>
                  </a:lnTo>
                  <a:lnTo>
                    <a:pt x="0" y="82"/>
                  </a:lnTo>
                  <a:cubicBezTo>
                    <a:pt x="14" y="93"/>
                    <a:pt x="37" y="93"/>
                    <a:pt x="48" y="93"/>
                  </a:cubicBezTo>
                  <a:cubicBezTo>
                    <a:pt x="48" y="82"/>
                    <a:pt x="59" y="71"/>
                    <a:pt x="59" y="45"/>
                  </a:cubicBezTo>
                  <a:lnTo>
                    <a:pt x="48" y="34"/>
                  </a:lnTo>
                  <a:lnTo>
                    <a:pt x="37" y="23"/>
                  </a:lnTo>
                  <a:cubicBezTo>
                    <a:pt x="37" y="12"/>
                    <a:pt x="26" y="1"/>
                    <a:pt x="26" y="1"/>
                  </a:cubicBezTo>
                  <a:close/>
                </a:path>
              </a:pathLst>
            </a:custGeom>
            <a:solidFill>
              <a:srgbClr val="027CB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" name="Google Shape;70;p17">
              <a:extLst>
                <a:ext uri="{FF2B5EF4-FFF2-40B4-BE49-F238E27FC236}">
                  <a16:creationId xmlns:a16="http://schemas.microsoft.com/office/drawing/2014/main" xmlns="" id="{C56C8275-7919-815B-5935-0F5EA3B2F962}"/>
                </a:ext>
              </a:extLst>
            </p:cNvPr>
            <p:cNvSpPr/>
            <p:nvPr/>
          </p:nvSpPr>
          <p:spPr>
            <a:xfrm>
              <a:off x="3710635" y="4347128"/>
              <a:ext cx="24899" cy="32508"/>
            </a:xfrm>
            <a:custGeom>
              <a:avLst/>
              <a:gdLst/>
              <a:ahLst/>
              <a:cxnLst/>
              <a:rect l="l" t="t" r="r" b="b"/>
              <a:pathLst>
                <a:path w="108" h="141" extrusionOk="0">
                  <a:moveTo>
                    <a:pt x="49" y="67"/>
                  </a:moveTo>
                  <a:cubicBezTo>
                    <a:pt x="51" y="71"/>
                    <a:pt x="53" y="76"/>
                    <a:pt x="58" y="82"/>
                  </a:cubicBezTo>
                  <a:lnTo>
                    <a:pt x="58" y="82"/>
                  </a:lnTo>
                  <a:cubicBezTo>
                    <a:pt x="56" y="87"/>
                    <a:pt x="53" y="91"/>
                    <a:pt x="51" y="96"/>
                  </a:cubicBezTo>
                  <a:lnTo>
                    <a:pt x="49" y="96"/>
                  </a:lnTo>
                  <a:lnTo>
                    <a:pt x="49" y="84"/>
                  </a:lnTo>
                  <a:lnTo>
                    <a:pt x="49" y="70"/>
                  </a:lnTo>
                  <a:lnTo>
                    <a:pt x="49" y="67"/>
                  </a:lnTo>
                  <a:close/>
                  <a:moveTo>
                    <a:pt x="37" y="1"/>
                  </a:moveTo>
                  <a:cubicBezTo>
                    <a:pt x="23" y="1"/>
                    <a:pt x="12" y="15"/>
                    <a:pt x="12" y="26"/>
                  </a:cubicBezTo>
                  <a:cubicBezTo>
                    <a:pt x="1" y="37"/>
                    <a:pt x="1" y="48"/>
                    <a:pt x="1" y="48"/>
                  </a:cubicBezTo>
                  <a:lnTo>
                    <a:pt x="1" y="70"/>
                  </a:lnTo>
                  <a:lnTo>
                    <a:pt x="1" y="84"/>
                  </a:lnTo>
                  <a:cubicBezTo>
                    <a:pt x="1" y="96"/>
                    <a:pt x="1" y="107"/>
                    <a:pt x="12" y="118"/>
                  </a:cubicBezTo>
                  <a:cubicBezTo>
                    <a:pt x="12" y="129"/>
                    <a:pt x="23" y="129"/>
                    <a:pt x="37" y="140"/>
                  </a:cubicBezTo>
                  <a:lnTo>
                    <a:pt x="82" y="140"/>
                  </a:lnTo>
                  <a:lnTo>
                    <a:pt x="93" y="129"/>
                  </a:lnTo>
                  <a:cubicBezTo>
                    <a:pt x="93" y="107"/>
                    <a:pt x="107" y="96"/>
                    <a:pt x="107" y="70"/>
                  </a:cubicBezTo>
                  <a:lnTo>
                    <a:pt x="107" y="59"/>
                  </a:lnTo>
                  <a:lnTo>
                    <a:pt x="93" y="48"/>
                  </a:lnTo>
                  <a:lnTo>
                    <a:pt x="82" y="37"/>
                  </a:lnTo>
                  <a:cubicBezTo>
                    <a:pt x="82" y="37"/>
                    <a:pt x="82" y="26"/>
                    <a:pt x="71" y="26"/>
                  </a:cubicBezTo>
                  <a:cubicBezTo>
                    <a:pt x="71" y="15"/>
                    <a:pt x="60" y="1"/>
                    <a:pt x="4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71;p17">
              <a:extLst>
                <a:ext uri="{FF2B5EF4-FFF2-40B4-BE49-F238E27FC236}">
                  <a16:creationId xmlns:a16="http://schemas.microsoft.com/office/drawing/2014/main" xmlns="" id="{F7A0244F-B40B-AFF4-910A-2A3C3C21F2A7}"/>
                </a:ext>
              </a:extLst>
            </p:cNvPr>
            <p:cNvSpPr/>
            <p:nvPr/>
          </p:nvSpPr>
          <p:spPr>
            <a:xfrm>
              <a:off x="3517433" y="4394392"/>
              <a:ext cx="32277" cy="14756"/>
            </a:xfrm>
            <a:custGeom>
              <a:avLst/>
              <a:gdLst/>
              <a:ahLst/>
              <a:cxnLst/>
              <a:rect l="l" t="t" r="r" b="b"/>
              <a:pathLst>
                <a:path w="140" h="64" extrusionOk="0">
                  <a:moveTo>
                    <a:pt x="102" y="1"/>
                  </a:moveTo>
                  <a:cubicBezTo>
                    <a:pt x="72" y="1"/>
                    <a:pt x="45" y="9"/>
                    <a:pt x="11" y="19"/>
                  </a:cubicBezTo>
                  <a:cubicBezTo>
                    <a:pt x="0" y="30"/>
                    <a:pt x="0" y="30"/>
                    <a:pt x="0" y="42"/>
                  </a:cubicBezTo>
                  <a:cubicBezTo>
                    <a:pt x="0" y="42"/>
                    <a:pt x="0" y="53"/>
                    <a:pt x="11" y="53"/>
                  </a:cubicBezTo>
                  <a:cubicBezTo>
                    <a:pt x="11" y="64"/>
                    <a:pt x="22" y="64"/>
                    <a:pt x="22" y="64"/>
                  </a:cubicBezTo>
                  <a:lnTo>
                    <a:pt x="81" y="64"/>
                  </a:lnTo>
                  <a:cubicBezTo>
                    <a:pt x="92" y="53"/>
                    <a:pt x="106" y="53"/>
                    <a:pt x="118" y="53"/>
                  </a:cubicBezTo>
                  <a:cubicBezTo>
                    <a:pt x="140" y="42"/>
                    <a:pt x="140" y="19"/>
                    <a:pt x="140" y="5"/>
                  </a:cubicBezTo>
                  <a:cubicBezTo>
                    <a:pt x="126" y="2"/>
                    <a:pt x="114" y="1"/>
                    <a:pt x="102" y="1"/>
                  </a:cubicBezTo>
                  <a:close/>
                </a:path>
              </a:pathLst>
            </a:custGeom>
            <a:solidFill>
              <a:srgbClr val="027CB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72;p17">
              <a:extLst>
                <a:ext uri="{FF2B5EF4-FFF2-40B4-BE49-F238E27FC236}">
                  <a16:creationId xmlns:a16="http://schemas.microsoft.com/office/drawing/2014/main" xmlns="" id="{AEBDEF59-4061-F289-113F-D11CB5087C3C}"/>
                </a:ext>
              </a:extLst>
            </p:cNvPr>
            <p:cNvSpPr/>
            <p:nvPr/>
          </p:nvSpPr>
          <p:spPr>
            <a:xfrm>
              <a:off x="3512130" y="4390242"/>
              <a:ext cx="42882" cy="24900"/>
            </a:xfrm>
            <a:custGeom>
              <a:avLst/>
              <a:gdLst/>
              <a:ahLst/>
              <a:cxnLst/>
              <a:rect l="l" t="t" r="r" b="b"/>
              <a:pathLst>
                <a:path w="186" h="108" extrusionOk="0">
                  <a:moveTo>
                    <a:pt x="129" y="48"/>
                  </a:moveTo>
                  <a:cubicBezTo>
                    <a:pt x="129" y="48"/>
                    <a:pt x="115" y="60"/>
                    <a:pt x="104" y="60"/>
                  </a:cubicBezTo>
                  <a:lnTo>
                    <a:pt x="45" y="60"/>
                  </a:lnTo>
                  <a:cubicBezTo>
                    <a:pt x="71" y="48"/>
                    <a:pt x="104" y="48"/>
                    <a:pt x="129" y="48"/>
                  </a:cubicBezTo>
                  <a:close/>
                  <a:moveTo>
                    <a:pt x="129" y="1"/>
                  </a:moveTo>
                  <a:cubicBezTo>
                    <a:pt x="93" y="1"/>
                    <a:pt x="59" y="12"/>
                    <a:pt x="34" y="12"/>
                  </a:cubicBezTo>
                  <a:lnTo>
                    <a:pt x="23" y="23"/>
                  </a:lnTo>
                  <a:cubicBezTo>
                    <a:pt x="1" y="23"/>
                    <a:pt x="1" y="48"/>
                    <a:pt x="1" y="60"/>
                  </a:cubicBezTo>
                  <a:cubicBezTo>
                    <a:pt x="1" y="71"/>
                    <a:pt x="1" y="82"/>
                    <a:pt x="23" y="93"/>
                  </a:cubicBezTo>
                  <a:cubicBezTo>
                    <a:pt x="34" y="107"/>
                    <a:pt x="45" y="107"/>
                    <a:pt x="45" y="107"/>
                  </a:cubicBezTo>
                  <a:lnTo>
                    <a:pt x="104" y="107"/>
                  </a:lnTo>
                  <a:cubicBezTo>
                    <a:pt x="115" y="93"/>
                    <a:pt x="141" y="93"/>
                    <a:pt x="163" y="82"/>
                  </a:cubicBezTo>
                  <a:cubicBezTo>
                    <a:pt x="174" y="71"/>
                    <a:pt x="185" y="60"/>
                    <a:pt x="185" y="37"/>
                  </a:cubicBezTo>
                  <a:cubicBezTo>
                    <a:pt x="185" y="37"/>
                    <a:pt x="185" y="23"/>
                    <a:pt x="174" y="12"/>
                  </a:cubicBezTo>
                  <a:lnTo>
                    <a:pt x="16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73;p17">
              <a:extLst>
                <a:ext uri="{FF2B5EF4-FFF2-40B4-BE49-F238E27FC236}">
                  <a16:creationId xmlns:a16="http://schemas.microsoft.com/office/drawing/2014/main" xmlns="" id="{A6B9A341-CDC4-5ADF-9A4D-E84C3076BE45}"/>
                </a:ext>
              </a:extLst>
            </p:cNvPr>
            <p:cNvSpPr/>
            <p:nvPr/>
          </p:nvSpPr>
          <p:spPr>
            <a:xfrm>
              <a:off x="3022900" y="4325917"/>
              <a:ext cx="24669" cy="21442"/>
            </a:xfrm>
            <a:custGeom>
              <a:avLst/>
              <a:gdLst/>
              <a:ahLst/>
              <a:cxnLst/>
              <a:rect l="l" t="t" r="r" b="b"/>
              <a:pathLst>
                <a:path w="107" h="93" extrusionOk="0">
                  <a:moveTo>
                    <a:pt x="48" y="0"/>
                  </a:moveTo>
                  <a:lnTo>
                    <a:pt x="0" y="37"/>
                  </a:lnTo>
                  <a:cubicBezTo>
                    <a:pt x="0" y="48"/>
                    <a:pt x="0" y="70"/>
                    <a:pt x="14" y="81"/>
                  </a:cubicBezTo>
                  <a:cubicBezTo>
                    <a:pt x="26" y="81"/>
                    <a:pt x="26" y="93"/>
                    <a:pt x="37" y="93"/>
                  </a:cubicBezTo>
                  <a:cubicBezTo>
                    <a:pt x="59" y="93"/>
                    <a:pt x="70" y="81"/>
                    <a:pt x="84" y="81"/>
                  </a:cubicBezTo>
                  <a:cubicBezTo>
                    <a:pt x="95" y="81"/>
                    <a:pt x="107" y="70"/>
                    <a:pt x="107" y="59"/>
                  </a:cubicBezTo>
                  <a:cubicBezTo>
                    <a:pt x="107" y="59"/>
                    <a:pt x="107" y="48"/>
                    <a:pt x="95" y="37"/>
                  </a:cubicBezTo>
                  <a:cubicBezTo>
                    <a:pt x="84" y="23"/>
                    <a:pt x="70" y="11"/>
                    <a:pt x="48" y="0"/>
                  </a:cubicBezTo>
                  <a:close/>
                </a:path>
              </a:pathLst>
            </a:custGeom>
            <a:solidFill>
              <a:srgbClr val="027CB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74;p17">
              <a:extLst>
                <a:ext uri="{FF2B5EF4-FFF2-40B4-BE49-F238E27FC236}">
                  <a16:creationId xmlns:a16="http://schemas.microsoft.com/office/drawing/2014/main" xmlns="" id="{200DD3ED-D8FF-73E7-E110-D7B9B68ABFA3}"/>
                </a:ext>
              </a:extLst>
            </p:cNvPr>
            <p:cNvSpPr/>
            <p:nvPr/>
          </p:nvSpPr>
          <p:spPr>
            <a:xfrm>
              <a:off x="3017828" y="4320615"/>
              <a:ext cx="35044" cy="32508"/>
            </a:xfrm>
            <a:custGeom>
              <a:avLst/>
              <a:gdLst/>
              <a:ahLst/>
              <a:cxnLst/>
              <a:rect l="l" t="t" r="r" b="b"/>
              <a:pathLst>
                <a:path w="152" h="141" extrusionOk="0">
                  <a:moveTo>
                    <a:pt x="78" y="48"/>
                  </a:moveTo>
                  <a:cubicBezTo>
                    <a:pt x="86" y="52"/>
                    <a:pt x="96" y="62"/>
                    <a:pt x="106" y="71"/>
                  </a:cubicBezTo>
                  <a:lnTo>
                    <a:pt x="106" y="82"/>
                  </a:lnTo>
                  <a:lnTo>
                    <a:pt x="92" y="82"/>
                  </a:lnTo>
                  <a:cubicBezTo>
                    <a:pt x="81" y="82"/>
                    <a:pt x="70" y="93"/>
                    <a:pt x="59" y="93"/>
                  </a:cubicBezTo>
                  <a:lnTo>
                    <a:pt x="59" y="82"/>
                  </a:lnTo>
                  <a:lnTo>
                    <a:pt x="48" y="82"/>
                  </a:lnTo>
                  <a:lnTo>
                    <a:pt x="48" y="71"/>
                  </a:lnTo>
                  <a:lnTo>
                    <a:pt x="48" y="65"/>
                  </a:lnTo>
                  <a:lnTo>
                    <a:pt x="78" y="48"/>
                  </a:lnTo>
                  <a:close/>
                  <a:moveTo>
                    <a:pt x="70" y="1"/>
                  </a:moveTo>
                  <a:lnTo>
                    <a:pt x="59" y="12"/>
                  </a:lnTo>
                  <a:lnTo>
                    <a:pt x="0" y="34"/>
                  </a:lnTo>
                  <a:lnTo>
                    <a:pt x="0" y="60"/>
                  </a:lnTo>
                  <a:lnTo>
                    <a:pt x="0" y="71"/>
                  </a:lnTo>
                  <a:lnTo>
                    <a:pt x="0" y="93"/>
                  </a:lnTo>
                  <a:cubicBezTo>
                    <a:pt x="11" y="104"/>
                    <a:pt x="11" y="116"/>
                    <a:pt x="22" y="116"/>
                  </a:cubicBezTo>
                  <a:cubicBezTo>
                    <a:pt x="36" y="130"/>
                    <a:pt x="48" y="141"/>
                    <a:pt x="59" y="141"/>
                  </a:cubicBezTo>
                  <a:cubicBezTo>
                    <a:pt x="81" y="141"/>
                    <a:pt x="92" y="130"/>
                    <a:pt x="117" y="130"/>
                  </a:cubicBezTo>
                  <a:cubicBezTo>
                    <a:pt x="117" y="116"/>
                    <a:pt x="129" y="116"/>
                    <a:pt x="129" y="116"/>
                  </a:cubicBezTo>
                  <a:cubicBezTo>
                    <a:pt x="140" y="104"/>
                    <a:pt x="140" y="104"/>
                    <a:pt x="151" y="93"/>
                  </a:cubicBezTo>
                  <a:lnTo>
                    <a:pt x="151" y="82"/>
                  </a:lnTo>
                  <a:cubicBezTo>
                    <a:pt x="151" y="71"/>
                    <a:pt x="140" y="60"/>
                    <a:pt x="140" y="46"/>
                  </a:cubicBezTo>
                  <a:cubicBezTo>
                    <a:pt x="129" y="23"/>
                    <a:pt x="106" y="12"/>
                    <a:pt x="7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75;p17">
              <a:extLst>
                <a:ext uri="{FF2B5EF4-FFF2-40B4-BE49-F238E27FC236}">
                  <a16:creationId xmlns:a16="http://schemas.microsoft.com/office/drawing/2014/main" xmlns="" id="{E1D56780-C571-6D68-E987-75C37CC6E469}"/>
                </a:ext>
              </a:extLst>
            </p:cNvPr>
            <p:cNvSpPr/>
            <p:nvPr/>
          </p:nvSpPr>
          <p:spPr>
            <a:xfrm>
              <a:off x="3286651" y="4086603"/>
              <a:ext cx="42652" cy="28128"/>
            </a:xfrm>
            <a:custGeom>
              <a:avLst/>
              <a:gdLst/>
              <a:ahLst/>
              <a:cxnLst/>
              <a:rect l="l" t="t" r="r" b="b"/>
              <a:pathLst>
                <a:path w="185" h="122" extrusionOk="0">
                  <a:moveTo>
                    <a:pt x="45" y="1"/>
                  </a:moveTo>
                  <a:cubicBezTo>
                    <a:pt x="0" y="48"/>
                    <a:pt x="81" y="71"/>
                    <a:pt x="104" y="96"/>
                  </a:cubicBezTo>
                  <a:cubicBezTo>
                    <a:pt x="124" y="105"/>
                    <a:pt x="142" y="121"/>
                    <a:pt x="161" y="121"/>
                  </a:cubicBezTo>
                  <a:cubicBezTo>
                    <a:pt x="165" y="121"/>
                    <a:pt x="169" y="120"/>
                    <a:pt x="173" y="118"/>
                  </a:cubicBezTo>
                  <a:lnTo>
                    <a:pt x="185" y="118"/>
                  </a:lnTo>
                  <a:lnTo>
                    <a:pt x="185" y="107"/>
                  </a:lnTo>
                  <a:cubicBezTo>
                    <a:pt x="185" y="96"/>
                    <a:pt x="185" y="71"/>
                    <a:pt x="173" y="48"/>
                  </a:cubicBezTo>
                  <a:cubicBezTo>
                    <a:pt x="162" y="48"/>
                    <a:pt x="162" y="37"/>
                    <a:pt x="151" y="37"/>
                  </a:cubicBezTo>
                  <a:lnTo>
                    <a:pt x="129" y="12"/>
                  </a:lnTo>
                  <a:cubicBezTo>
                    <a:pt x="104" y="1"/>
                    <a:pt x="81" y="1"/>
                    <a:pt x="59" y="1"/>
                  </a:cubicBezTo>
                  <a:close/>
                </a:path>
              </a:pathLst>
            </a:custGeom>
            <a:solidFill>
              <a:srgbClr val="027CB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76;p17">
              <a:extLst>
                <a:ext uri="{FF2B5EF4-FFF2-40B4-BE49-F238E27FC236}">
                  <a16:creationId xmlns:a16="http://schemas.microsoft.com/office/drawing/2014/main" xmlns="" id="{5556E417-BC14-1374-A6DF-49523323FA41}"/>
                </a:ext>
              </a:extLst>
            </p:cNvPr>
            <p:cNvSpPr/>
            <p:nvPr/>
          </p:nvSpPr>
          <p:spPr>
            <a:xfrm>
              <a:off x="3289187" y="4081530"/>
              <a:ext cx="45879" cy="37580"/>
            </a:xfrm>
            <a:custGeom>
              <a:avLst/>
              <a:gdLst/>
              <a:ahLst/>
              <a:cxnLst/>
              <a:rect l="l" t="t" r="r" b="b"/>
              <a:pathLst>
                <a:path w="199" h="163" extrusionOk="0">
                  <a:moveTo>
                    <a:pt x="48" y="48"/>
                  </a:moveTo>
                  <a:cubicBezTo>
                    <a:pt x="70" y="48"/>
                    <a:pt x="81" y="48"/>
                    <a:pt x="104" y="59"/>
                  </a:cubicBezTo>
                  <a:lnTo>
                    <a:pt x="133" y="77"/>
                  </a:lnTo>
                  <a:lnTo>
                    <a:pt x="133" y="77"/>
                  </a:lnTo>
                  <a:cubicBezTo>
                    <a:pt x="136" y="83"/>
                    <a:pt x="140" y="86"/>
                    <a:pt x="140" y="93"/>
                  </a:cubicBezTo>
                  <a:cubicBezTo>
                    <a:pt x="151" y="93"/>
                    <a:pt x="151" y="104"/>
                    <a:pt x="151" y="118"/>
                  </a:cubicBezTo>
                  <a:lnTo>
                    <a:pt x="140" y="118"/>
                  </a:lnTo>
                  <a:cubicBezTo>
                    <a:pt x="129" y="104"/>
                    <a:pt x="118" y="104"/>
                    <a:pt x="104" y="93"/>
                  </a:cubicBezTo>
                  <a:cubicBezTo>
                    <a:pt x="104" y="82"/>
                    <a:pt x="93" y="82"/>
                    <a:pt x="81" y="82"/>
                  </a:cubicBezTo>
                  <a:cubicBezTo>
                    <a:pt x="70" y="70"/>
                    <a:pt x="59" y="70"/>
                    <a:pt x="48" y="59"/>
                  </a:cubicBezTo>
                  <a:lnTo>
                    <a:pt x="48" y="48"/>
                  </a:lnTo>
                  <a:close/>
                  <a:moveTo>
                    <a:pt x="34" y="0"/>
                  </a:moveTo>
                  <a:cubicBezTo>
                    <a:pt x="23" y="0"/>
                    <a:pt x="23" y="0"/>
                    <a:pt x="11" y="12"/>
                  </a:cubicBezTo>
                  <a:cubicBezTo>
                    <a:pt x="0" y="23"/>
                    <a:pt x="0" y="34"/>
                    <a:pt x="0" y="48"/>
                  </a:cubicBezTo>
                  <a:cubicBezTo>
                    <a:pt x="0" y="59"/>
                    <a:pt x="0" y="70"/>
                    <a:pt x="11" y="82"/>
                  </a:cubicBezTo>
                  <a:cubicBezTo>
                    <a:pt x="23" y="93"/>
                    <a:pt x="34" y="104"/>
                    <a:pt x="48" y="118"/>
                  </a:cubicBezTo>
                  <a:cubicBezTo>
                    <a:pt x="59" y="118"/>
                    <a:pt x="81" y="129"/>
                    <a:pt x="81" y="129"/>
                  </a:cubicBezTo>
                  <a:cubicBezTo>
                    <a:pt x="93" y="140"/>
                    <a:pt x="104" y="140"/>
                    <a:pt x="118" y="151"/>
                  </a:cubicBezTo>
                  <a:cubicBezTo>
                    <a:pt x="129" y="163"/>
                    <a:pt x="140" y="163"/>
                    <a:pt x="151" y="163"/>
                  </a:cubicBezTo>
                  <a:lnTo>
                    <a:pt x="188" y="163"/>
                  </a:lnTo>
                  <a:lnTo>
                    <a:pt x="199" y="140"/>
                  </a:lnTo>
                  <a:lnTo>
                    <a:pt x="199" y="118"/>
                  </a:lnTo>
                  <a:cubicBezTo>
                    <a:pt x="199" y="93"/>
                    <a:pt x="188" y="70"/>
                    <a:pt x="174" y="59"/>
                  </a:cubicBezTo>
                  <a:lnTo>
                    <a:pt x="162" y="48"/>
                  </a:lnTo>
                  <a:lnTo>
                    <a:pt x="162" y="34"/>
                  </a:lnTo>
                  <a:lnTo>
                    <a:pt x="129" y="12"/>
                  </a:lnTo>
                  <a:lnTo>
                    <a:pt x="125" y="20"/>
                  </a:lnTo>
                  <a:lnTo>
                    <a:pt x="125" y="20"/>
                  </a:lnTo>
                  <a:cubicBezTo>
                    <a:pt x="100" y="0"/>
                    <a:pt x="69" y="0"/>
                    <a:pt x="4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77;p17">
              <a:extLst>
                <a:ext uri="{FF2B5EF4-FFF2-40B4-BE49-F238E27FC236}">
                  <a16:creationId xmlns:a16="http://schemas.microsoft.com/office/drawing/2014/main" xmlns="" id="{E3ED2F75-01B5-A871-97BD-54CEF8B299F5}"/>
                </a:ext>
              </a:extLst>
            </p:cNvPr>
            <p:cNvSpPr/>
            <p:nvPr/>
          </p:nvSpPr>
          <p:spPr>
            <a:xfrm>
              <a:off x="2764913" y="4369031"/>
              <a:ext cx="16369" cy="20058"/>
            </a:xfrm>
            <a:custGeom>
              <a:avLst/>
              <a:gdLst/>
              <a:ahLst/>
              <a:cxnLst/>
              <a:rect l="l" t="t" r="r" b="b"/>
              <a:pathLst>
                <a:path w="71" h="87" extrusionOk="0">
                  <a:moveTo>
                    <a:pt x="26" y="1"/>
                  </a:moveTo>
                  <a:lnTo>
                    <a:pt x="15" y="12"/>
                  </a:lnTo>
                  <a:cubicBezTo>
                    <a:pt x="1" y="12"/>
                    <a:pt x="1" y="23"/>
                    <a:pt x="1" y="23"/>
                  </a:cubicBezTo>
                  <a:cubicBezTo>
                    <a:pt x="1" y="34"/>
                    <a:pt x="1" y="34"/>
                    <a:pt x="15" y="45"/>
                  </a:cubicBezTo>
                  <a:lnTo>
                    <a:pt x="15" y="59"/>
                  </a:lnTo>
                  <a:cubicBezTo>
                    <a:pt x="26" y="71"/>
                    <a:pt x="26" y="71"/>
                    <a:pt x="37" y="82"/>
                  </a:cubicBezTo>
                  <a:cubicBezTo>
                    <a:pt x="45" y="82"/>
                    <a:pt x="52" y="87"/>
                    <a:pt x="56" y="87"/>
                  </a:cubicBezTo>
                  <a:cubicBezTo>
                    <a:pt x="58" y="87"/>
                    <a:pt x="60" y="85"/>
                    <a:pt x="60" y="82"/>
                  </a:cubicBezTo>
                  <a:lnTo>
                    <a:pt x="71" y="82"/>
                  </a:lnTo>
                  <a:lnTo>
                    <a:pt x="71" y="45"/>
                  </a:lnTo>
                  <a:lnTo>
                    <a:pt x="71" y="23"/>
                  </a:lnTo>
                  <a:cubicBezTo>
                    <a:pt x="71" y="12"/>
                    <a:pt x="60" y="12"/>
                    <a:pt x="48" y="12"/>
                  </a:cubicBezTo>
                  <a:cubicBezTo>
                    <a:pt x="48" y="12"/>
                    <a:pt x="37" y="1"/>
                    <a:pt x="26" y="1"/>
                  </a:cubicBezTo>
                  <a:close/>
                </a:path>
              </a:pathLst>
            </a:custGeom>
            <a:solidFill>
              <a:srgbClr val="027CB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78;p17">
              <a:extLst>
                <a:ext uri="{FF2B5EF4-FFF2-40B4-BE49-F238E27FC236}">
                  <a16:creationId xmlns:a16="http://schemas.microsoft.com/office/drawing/2014/main" xmlns="" id="{F1010B6B-ACA8-13A0-7274-153F1D931D3C}"/>
                </a:ext>
              </a:extLst>
            </p:cNvPr>
            <p:cNvSpPr/>
            <p:nvPr/>
          </p:nvSpPr>
          <p:spPr>
            <a:xfrm>
              <a:off x="2759841" y="4363267"/>
              <a:ext cx="27205" cy="32508"/>
            </a:xfrm>
            <a:custGeom>
              <a:avLst/>
              <a:gdLst/>
              <a:ahLst/>
              <a:cxnLst/>
              <a:rect l="l" t="t" r="r" b="b"/>
              <a:pathLst>
                <a:path w="118" h="141" extrusionOk="0">
                  <a:moveTo>
                    <a:pt x="48" y="48"/>
                  </a:moveTo>
                  <a:cubicBezTo>
                    <a:pt x="48" y="48"/>
                    <a:pt x="59" y="48"/>
                    <a:pt x="59" y="59"/>
                  </a:cubicBezTo>
                  <a:lnTo>
                    <a:pt x="70" y="59"/>
                  </a:lnTo>
                  <a:lnTo>
                    <a:pt x="70" y="70"/>
                  </a:lnTo>
                  <a:lnTo>
                    <a:pt x="70" y="84"/>
                  </a:lnTo>
                  <a:cubicBezTo>
                    <a:pt x="70" y="84"/>
                    <a:pt x="59" y="84"/>
                    <a:pt x="59" y="70"/>
                  </a:cubicBezTo>
                  <a:lnTo>
                    <a:pt x="48" y="59"/>
                  </a:lnTo>
                  <a:lnTo>
                    <a:pt x="48" y="48"/>
                  </a:lnTo>
                  <a:close/>
                  <a:moveTo>
                    <a:pt x="48" y="0"/>
                  </a:moveTo>
                  <a:cubicBezTo>
                    <a:pt x="37" y="0"/>
                    <a:pt x="23" y="14"/>
                    <a:pt x="12" y="26"/>
                  </a:cubicBezTo>
                  <a:cubicBezTo>
                    <a:pt x="1" y="37"/>
                    <a:pt x="1" y="48"/>
                    <a:pt x="1" y="48"/>
                  </a:cubicBezTo>
                  <a:lnTo>
                    <a:pt x="1" y="59"/>
                  </a:lnTo>
                  <a:cubicBezTo>
                    <a:pt x="1" y="59"/>
                    <a:pt x="1" y="70"/>
                    <a:pt x="12" y="84"/>
                  </a:cubicBezTo>
                  <a:cubicBezTo>
                    <a:pt x="12" y="84"/>
                    <a:pt x="12" y="96"/>
                    <a:pt x="23" y="96"/>
                  </a:cubicBezTo>
                  <a:cubicBezTo>
                    <a:pt x="23" y="107"/>
                    <a:pt x="37" y="118"/>
                    <a:pt x="48" y="129"/>
                  </a:cubicBezTo>
                  <a:cubicBezTo>
                    <a:pt x="59" y="129"/>
                    <a:pt x="59" y="140"/>
                    <a:pt x="82" y="140"/>
                  </a:cubicBezTo>
                  <a:lnTo>
                    <a:pt x="93" y="129"/>
                  </a:lnTo>
                  <a:lnTo>
                    <a:pt x="107" y="129"/>
                  </a:lnTo>
                  <a:lnTo>
                    <a:pt x="118" y="118"/>
                  </a:lnTo>
                  <a:lnTo>
                    <a:pt x="118" y="107"/>
                  </a:lnTo>
                  <a:lnTo>
                    <a:pt x="118" y="70"/>
                  </a:lnTo>
                  <a:lnTo>
                    <a:pt x="118" y="59"/>
                  </a:lnTo>
                  <a:lnTo>
                    <a:pt x="118" y="37"/>
                  </a:lnTo>
                  <a:cubicBezTo>
                    <a:pt x="118" y="26"/>
                    <a:pt x="107" y="26"/>
                    <a:pt x="93" y="26"/>
                  </a:cubicBezTo>
                  <a:cubicBezTo>
                    <a:pt x="93" y="14"/>
                    <a:pt x="82" y="14"/>
                    <a:pt x="82" y="14"/>
                  </a:cubicBezTo>
                  <a:cubicBezTo>
                    <a:pt x="70" y="14"/>
                    <a:pt x="59" y="0"/>
                    <a:pt x="4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79;p17">
              <a:extLst>
                <a:ext uri="{FF2B5EF4-FFF2-40B4-BE49-F238E27FC236}">
                  <a16:creationId xmlns:a16="http://schemas.microsoft.com/office/drawing/2014/main" xmlns="" id="{4E9BE2CB-66E1-A6F3-A693-3BBA7C0E5B60}"/>
                </a:ext>
              </a:extLst>
            </p:cNvPr>
            <p:cNvSpPr/>
            <p:nvPr/>
          </p:nvSpPr>
          <p:spPr>
            <a:xfrm>
              <a:off x="2789582" y="4406381"/>
              <a:ext cx="51182" cy="47033"/>
            </a:xfrm>
            <a:custGeom>
              <a:avLst/>
              <a:gdLst/>
              <a:ahLst/>
              <a:cxnLst/>
              <a:rect l="l" t="t" r="r" b="b"/>
              <a:pathLst>
                <a:path w="222" h="204" extrusionOk="0">
                  <a:moveTo>
                    <a:pt x="48" y="1"/>
                  </a:moveTo>
                  <a:cubicBezTo>
                    <a:pt x="34" y="1"/>
                    <a:pt x="34" y="23"/>
                    <a:pt x="23" y="37"/>
                  </a:cubicBezTo>
                  <a:cubicBezTo>
                    <a:pt x="23" y="37"/>
                    <a:pt x="0" y="37"/>
                    <a:pt x="0" y="48"/>
                  </a:cubicBezTo>
                  <a:lnTo>
                    <a:pt x="0" y="71"/>
                  </a:lnTo>
                  <a:cubicBezTo>
                    <a:pt x="23" y="107"/>
                    <a:pt x="48" y="141"/>
                    <a:pt x="81" y="163"/>
                  </a:cubicBezTo>
                  <a:cubicBezTo>
                    <a:pt x="109" y="190"/>
                    <a:pt x="141" y="203"/>
                    <a:pt x="175" y="203"/>
                  </a:cubicBezTo>
                  <a:cubicBezTo>
                    <a:pt x="187" y="203"/>
                    <a:pt x="198" y="202"/>
                    <a:pt x="210" y="199"/>
                  </a:cubicBezTo>
                  <a:cubicBezTo>
                    <a:pt x="221" y="152"/>
                    <a:pt x="174" y="129"/>
                    <a:pt x="174" y="93"/>
                  </a:cubicBezTo>
                  <a:cubicBezTo>
                    <a:pt x="174" y="82"/>
                    <a:pt x="188" y="71"/>
                    <a:pt x="188" y="60"/>
                  </a:cubicBezTo>
                  <a:cubicBezTo>
                    <a:pt x="188" y="48"/>
                    <a:pt x="174" y="37"/>
                    <a:pt x="162" y="23"/>
                  </a:cubicBezTo>
                  <a:cubicBezTo>
                    <a:pt x="129" y="12"/>
                    <a:pt x="92" y="1"/>
                    <a:pt x="59" y="1"/>
                  </a:cubicBezTo>
                  <a:close/>
                </a:path>
              </a:pathLst>
            </a:custGeom>
            <a:solidFill>
              <a:srgbClr val="027CB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80;p17">
              <a:extLst>
                <a:ext uri="{FF2B5EF4-FFF2-40B4-BE49-F238E27FC236}">
                  <a16:creationId xmlns:a16="http://schemas.microsoft.com/office/drawing/2014/main" xmlns="" id="{AF77FEA5-08B3-9825-D171-1A866D179C89}"/>
                </a:ext>
              </a:extLst>
            </p:cNvPr>
            <p:cNvSpPr/>
            <p:nvPr/>
          </p:nvSpPr>
          <p:spPr>
            <a:xfrm>
              <a:off x="2784280" y="4401308"/>
              <a:ext cx="61557" cy="58792"/>
            </a:xfrm>
            <a:custGeom>
              <a:avLst/>
              <a:gdLst/>
              <a:ahLst/>
              <a:cxnLst/>
              <a:rect l="l" t="t" r="r" b="b"/>
              <a:pathLst>
                <a:path w="267" h="255" extrusionOk="0">
                  <a:moveTo>
                    <a:pt x="82" y="45"/>
                  </a:moveTo>
                  <a:cubicBezTo>
                    <a:pt x="104" y="45"/>
                    <a:pt x="141" y="59"/>
                    <a:pt x="174" y="70"/>
                  </a:cubicBezTo>
                  <a:lnTo>
                    <a:pt x="185" y="82"/>
                  </a:lnTo>
                  <a:lnTo>
                    <a:pt x="185" y="93"/>
                  </a:lnTo>
                  <a:cubicBezTo>
                    <a:pt x="185" y="93"/>
                    <a:pt x="174" y="104"/>
                    <a:pt x="174" y="115"/>
                  </a:cubicBezTo>
                  <a:cubicBezTo>
                    <a:pt x="174" y="140"/>
                    <a:pt x="174" y="151"/>
                    <a:pt x="185" y="151"/>
                  </a:cubicBezTo>
                  <a:cubicBezTo>
                    <a:pt x="185" y="163"/>
                    <a:pt x="197" y="174"/>
                    <a:pt x="211" y="185"/>
                  </a:cubicBezTo>
                  <a:cubicBezTo>
                    <a:pt x="211" y="193"/>
                    <a:pt x="214" y="199"/>
                    <a:pt x="217" y="204"/>
                  </a:cubicBezTo>
                  <a:lnTo>
                    <a:pt x="217" y="204"/>
                  </a:lnTo>
                  <a:cubicBezTo>
                    <a:pt x="210" y="210"/>
                    <a:pt x="208" y="210"/>
                    <a:pt x="197" y="210"/>
                  </a:cubicBezTo>
                  <a:cubicBezTo>
                    <a:pt x="174" y="210"/>
                    <a:pt x="141" y="199"/>
                    <a:pt x="115" y="174"/>
                  </a:cubicBezTo>
                  <a:cubicBezTo>
                    <a:pt x="93" y="151"/>
                    <a:pt x="71" y="115"/>
                    <a:pt x="46" y="82"/>
                  </a:cubicBezTo>
                  <a:cubicBezTo>
                    <a:pt x="46" y="82"/>
                    <a:pt x="57" y="82"/>
                    <a:pt x="71" y="70"/>
                  </a:cubicBezTo>
                  <a:cubicBezTo>
                    <a:pt x="82" y="59"/>
                    <a:pt x="82" y="45"/>
                    <a:pt x="82" y="45"/>
                  </a:cubicBezTo>
                  <a:close/>
                  <a:moveTo>
                    <a:pt x="57" y="0"/>
                  </a:moveTo>
                  <a:lnTo>
                    <a:pt x="46" y="12"/>
                  </a:lnTo>
                  <a:cubicBezTo>
                    <a:pt x="34" y="23"/>
                    <a:pt x="34" y="34"/>
                    <a:pt x="34" y="34"/>
                  </a:cubicBezTo>
                  <a:lnTo>
                    <a:pt x="23" y="34"/>
                  </a:lnTo>
                  <a:lnTo>
                    <a:pt x="12" y="45"/>
                  </a:lnTo>
                  <a:cubicBezTo>
                    <a:pt x="12" y="45"/>
                    <a:pt x="1" y="45"/>
                    <a:pt x="1" y="59"/>
                  </a:cubicBezTo>
                  <a:lnTo>
                    <a:pt x="1" y="70"/>
                  </a:lnTo>
                  <a:cubicBezTo>
                    <a:pt x="1" y="93"/>
                    <a:pt x="1" y="93"/>
                    <a:pt x="12" y="104"/>
                  </a:cubicBezTo>
                  <a:cubicBezTo>
                    <a:pt x="34" y="140"/>
                    <a:pt x="57" y="174"/>
                    <a:pt x="93" y="210"/>
                  </a:cubicBezTo>
                  <a:cubicBezTo>
                    <a:pt x="115" y="233"/>
                    <a:pt x="163" y="255"/>
                    <a:pt x="197" y="255"/>
                  </a:cubicBezTo>
                  <a:cubicBezTo>
                    <a:pt x="211" y="255"/>
                    <a:pt x="222" y="255"/>
                    <a:pt x="233" y="244"/>
                  </a:cubicBezTo>
                  <a:lnTo>
                    <a:pt x="244" y="244"/>
                  </a:lnTo>
                  <a:lnTo>
                    <a:pt x="255" y="233"/>
                  </a:lnTo>
                  <a:lnTo>
                    <a:pt x="255" y="221"/>
                  </a:lnTo>
                  <a:lnTo>
                    <a:pt x="266" y="210"/>
                  </a:lnTo>
                  <a:cubicBezTo>
                    <a:pt x="266" y="199"/>
                    <a:pt x="255" y="185"/>
                    <a:pt x="255" y="174"/>
                  </a:cubicBezTo>
                  <a:cubicBezTo>
                    <a:pt x="244" y="163"/>
                    <a:pt x="233" y="151"/>
                    <a:pt x="233" y="140"/>
                  </a:cubicBezTo>
                  <a:cubicBezTo>
                    <a:pt x="222" y="129"/>
                    <a:pt x="222" y="129"/>
                    <a:pt x="222" y="115"/>
                  </a:cubicBezTo>
                  <a:lnTo>
                    <a:pt x="233" y="104"/>
                  </a:lnTo>
                  <a:lnTo>
                    <a:pt x="233" y="82"/>
                  </a:lnTo>
                  <a:lnTo>
                    <a:pt x="233" y="70"/>
                  </a:lnTo>
                  <a:cubicBezTo>
                    <a:pt x="233" y="59"/>
                    <a:pt x="222" y="45"/>
                    <a:pt x="222" y="45"/>
                  </a:cubicBezTo>
                  <a:cubicBezTo>
                    <a:pt x="211" y="34"/>
                    <a:pt x="197" y="34"/>
                    <a:pt x="197" y="34"/>
                  </a:cubicBezTo>
                  <a:cubicBezTo>
                    <a:pt x="163" y="12"/>
                    <a:pt x="115" y="0"/>
                    <a:pt x="8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81;p17">
              <a:extLst>
                <a:ext uri="{FF2B5EF4-FFF2-40B4-BE49-F238E27FC236}">
                  <a16:creationId xmlns:a16="http://schemas.microsoft.com/office/drawing/2014/main" xmlns="" id="{6F64B8EB-306E-83BC-A4D3-75E67835ABD6}"/>
                </a:ext>
              </a:extLst>
            </p:cNvPr>
            <p:cNvSpPr/>
            <p:nvPr/>
          </p:nvSpPr>
          <p:spPr>
            <a:xfrm>
              <a:off x="2974485" y="1216901"/>
              <a:ext cx="126572" cy="128189"/>
            </a:xfrm>
            <a:custGeom>
              <a:avLst/>
              <a:gdLst/>
              <a:ahLst/>
              <a:cxnLst/>
              <a:rect l="l" t="t" r="r" b="b"/>
              <a:pathLst>
                <a:path w="549" h="556" extrusionOk="0">
                  <a:moveTo>
                    <a:pt x="266" y="1"/>
                  </a:moveTo>
                  <a:cubicBezTo>
                    <a:pt x="243" y="1"/>
                    <a:pt x="220" y="6"/>
                    <a:pt x="199" y="16"/>
                  </a:cubicBezTo>
                  <a:cubicBezTo>
                    <a:pt x="166" y="52"/>
                    <a:pt x="154" y="86"/>
                    <a:pt x="129" y="122"/>
                  </a:cubicBezTo>
                  <a:cubicBezTo>
                    <a:pt x="96" y="181"/>
                    <a:pt x="48" y="226"/>
                    <a:pt x="15" y="284"/>
                  </a:cubicBezTo>
                  <a:cubicBezTo>
                    <a:pt x="1" y="295"/>
                    <a:pt x="1" y="321"/>
                    <a:pt x="1" y="343"/>
                  </a:cubicBezTo>
                  <a:cubicBezTo>
                    <a:pt x="1" y="365"/>
                    <a:pt x="15" y="391"/>
                    <a:pt x="37" y="402"/>
                  </a:cubicBezTo>
                  <a:cubicBezTo>
                    <a:pt x="53" y="410"/>
                    <a:pt x="70" y="418"/>
                    <a:pt x="91" y="418"/>
                  </a:cubicBezTo>
                  <a:cubicBezTo>
                    <a:pt x="99" y="418"/>
                    <a:pt x="108" y="416"/>
                    <a:pt x="118" y="413"/>
                  </a:cubicBezTo>
                  <a:lnTo>
                    <a:pt x="177" y="413"/>
                  </a:lnTo>
                  <a:cubicBezTo>
                    <a:pt x="188" y="413"/>
                    <a:pt x="199" y="424"/>
                    <a:pt x="210" y="424"/>
                  </a:cubicBezTo>
                  <a:cubicBezTo>
                    <a:pt x="210" y="424"/>
                    <a:pt x="224" y="424"/>
                    <a:pt x="224" y="435"/>
                  </a:cubicBezTo>
                  <a:cubicBezTo>
                    <a:pt x="236" y="449"/>
                    <a:pt x="236" y="460"/>
                    <a:pt x="236" y="472"/>
                  </a:cubicBezTo>
                  <a:cubicBezTo>
                    <a:pt x="247" y="494"/>
                    <a:pt x="247" y="519"/>
                    <a:pt x="247" y="542"/>
                  </a:cubicBezTo>
                  <a:lnTo>
                    <a:pt x="247" y="553"/>
                  </a:lnTo>
                  <a:lnTo>
                    <a:pt x="258" y="553"/>
                  </a:lnTo>
                  <a:cubicBezTo>
                    <a:pt x="262" y="555"/>
                    <a:pt x="267" y="556"/>
                    <a:pt x="271" y="556"/>
                  </a:cubicBezTo>
                  <a:cubicBezTo>
                    <a:pt x="289" y="556"/>
                    <a:pt x="308" y="539"/>
                    <a:pt x="317" y="530"/>
                  </a:cubicBezTo>
                  <a:cubicBezTo>
                    <a:pt x="339" y="519"/>
                    <a:pt x="350" y="494"/>
                    <a:pt x="375" y="483"/>
                  </a:cubicBezTo>
                  <a:cubicBezTo>
                    <a:pt x="387" y="472"/>
                    <a:pt x="420" y="472"/>
                    <a:pt x="445" y="472"/>
                  </a:cubicBezTo>
                  <a:lnTo>
                    <a:pt x="468" y="472"/>
                  </a:lnTo>
                  <a:cubicBezTo>
                    <a:pt x="479" y="460"/>
                    <a:pt x="490" y="449"/>
                    <a:pt x="504" y="435"/>
                  </a:cubicBezTo>
                  <a:cubicBezTo>
                    <a:pt x="515" y="424"/>
                    <a:pt x="526" y="402"/>
                    <a:pt x="526" y="379"/>
                  </a:cubicBezTo>
                  <a:cubicBezTo>
                    <a:pt x="526" y="365"/>
                    <a:pt x="515" y="343"/>
                    <a:pt x="504" y="332"/>
                  </a:cubicBezTo>
                  <a:cubicBezTo>
                    <a:pt x="504" y="273"/>
                    <a:pt x="549" y="226"/>
                    <a:pt x="526" y="181"/>
                  </a:cubicBezTo>
                  <a:cubicBezTo>
                    <a:pt x="526" y="144"/>
                    <a:pt x="504" y="133"/>
                    <a:pt x="479" y="111"/>
                  </a:cubicBezTo>
                  <a:cubicBezTo>
                    <a:pt x="456" y="86"/>
                    <a:pt x="456" y="63"/>
                    <a:pt x="434" y="41"/>
                  </a:cubicBezTo>
                  <a:cubicBezTo>
                    <a:pt x="429" y="39"/>
                    <a:pt x="424" y="38"/>
                    <a:pt x="420" y="38"/>
                  </a:cubicBezTo>
                  <a:cubicBezTo>
                    <a:pt x="408" y="38"/>
                    <a:pt x="401" y="44"/>
                    <a:pt x="394" y="44"/>
                  </a:cubicBezTo>
                  <a:cubicBezTo>
                    <a:pt x="391" y="44"/>
                    <a:pt x="389" y="43"/>
                    <a:pt x="387" y="41"/>
                  </a:cubicBezTo>
                  <a:cubicBezTo>
                    <a:pt x="375" y="41"/>
                    <a:pt x="364" y="30"/>
                    <a:pt x="350" y="30"/>
                  </a:cubicBezTo>
                  <a:cubicBezTo>
                    <a:pt x="325" y="9"/>
                    <a:pt x="296" y="1"/>
                    <a:pt x="266" y="1"/>
                  </a:cubicBezTo>
                  <a:close/>
                </a:path>
              </a:pathLst>
            </a:custGeom>
            <a:solidFill>
              <a:srgbClr val="027CB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82;p17">
              <a:extLst>
                <a:ext uri="{FF2B5EF4-FFF2-40B4-BE49-F238E27FC236}">
                  <a16:creationId xmlns:a16="http://schemas.microsoft.com/office/drawing/2014/main" xmlns="" id="{A6B2CF94-1A3C-4C13-2339-91E760137A3E}"/>
                </a:ext>
              </a:extLst>
            </p:cNvPr>
            <p:cNvSpPr/>
            <p:nvPr/>
          </p:nvSpPr>
          <p:spPr>
            <a:xfrm>
              <a:off x="2969412" y="1212751"/>
              <a:ext cx="134180" cy="136950"/>
            </a:xfrm>
            <a:custGeom>
              <a:avLst/>
              <a:gdLst/>
              <a:ahLst/>
              <a:cxnLst/>
              <a:rect l="l" t="t" r="r" b="b"/>
              <a:pathLst>
                <a:path w="582" h="594" extrusionOk="0">
                  <a:moveTo>
                    <a:pt x="313" y="42"/>
                  </a:moveTo>
                  <a:cubicBezTo>
                    <a:pt x="330" y="42"/>
                    <a:pt x="345" y="51"/>
                    <a:pt x="361" y="59"/>
                  </a:cubicBezTo>
                  <a:cubicBezTo>
                    <a:pt x="361" y="70"/>
                    <a:pt x="372" y="81"/>
                    <a:pt x="397" y="81"/>
                  </a:cubicBezTo>
                  <a:lnTo>
                    <a:pt x="442" y="81"/>
                  </a:lnTo>
                  <a:cubicBezTo>
                    <a:pt x="442" y="81"/>
                    <a:pt x="456" y="93"/>
                    <a:pt x="456" y="104"/>
                  </a:cubicBezTo>
                  <a:cubicBezTo>
                    <a:pt x="467" y="118"/>
                    <a:pt x="467" y="129"/>
                    <a:pt x="478" y="140"/>
                  </a:cubicBezTo>
                  <a:cubicBezTo>
                    <a:pt x="501" y="162"/>
                    <a:pt x="526" y="188"/>
                    <a:pt x="537" y="199"/>
                  </a:cubicBezTo>
                  <a:lnTo>
                    <a:pt x="537" y="210"/>
                  </a:lnTo>
                  <a:cubicBezTo>
                    <a:pt x="537" y="232"/>
                    <a:pt x="526" y="244"/>
                    <a:pt x="526" y="269"/>
                  </a:cubicBezTo>
                  <a:cubicBezTo>
                    <a:pt x="512" y="280"/>
                    <a:pt x="501" y="302"/>
                    <a:pt x="501" y="339"/>
                  </a:cubicBezTo>
                  <a:lnTo>
                    <a:pt x="512" y="350"/>
                  </a:lnTo>
                  <a:cubicBezTo>
                    <a:pt x="512" y="372"/>
                    <a:pt x="526" y="383"/>
                    <a:pt x="526" y="397"/>
                  </a:cubicBezTo>
                  <a:cubicBezTo>
                    <a:pt x="526" y="420"/>
                    <a:pt x="512" y="431"/>
                    <a:pt x="501" y="442"/>
                  </a:cubicBezTo>
                  <a:cubicBezTo>
                    <a:pt x="501" y="453"/>
                    <a:pt x="490" y="453"/>
                    <a:pt x="490" y="467"/>
                  </a:cubicBezTo>
                  <a:lnTo>
                    <a:pt x="467" y="467"/>
                  </a:lnTo>
                  <a:cubicBezTo>
                    <a:pt x="442" y="467"/>
                    <a:pt x="409" y="467"/>
                    <a:pt x="386" y="478"/>
                  </a:cubicBezTo>
                  <a:cubicBezTo>
                    <a:pt x="350" y="501"/>
                    <a:pt x="339" y="512"/>
                    <a:pt x="327" y="537"/>
                  </a:cubicBezTo>
                  <a:cubicBezTo>
                    <a:pt x="316" y="537"/>
                    <a:pt x="316" y="548"/>
                    <a:pt x="302" y="548"/>
                  </a:cubicBezTo>
                  <a:lnTo>
                    <a:pt x="291" y="548"/>
                  </a:lnTo>
                  <a:lnTo>
                    <a:pt x="291" y="548"/>
                  </a:lnTo>
                  <a:lnTo>
                    <a:pt x="291" y="548"/>
                  </a:lnTo>
                  <a:cubicBezTo>
                    <a:pt x="291" y="529"/>
                    <a:pt x="289" y="508"/>
                    <a:pt x="280" y="490"/>
                  </a:cubicBezTo>
                  <a:lnTo>
                    <a:pt x="280" y="467"/>
                  </a:lnTo>
                  <a:cubicBezTo>
                    <a:pt x="280" y="453"/>
                    <a:pt x="269" y="442"/>
                    <a:pt x="258" y="431"/>
                  </a:cubicBezTo>
                  <a:lnTo>
                    <a:pt x="246" y="420"/>
                  </a:lnTo>
                  <a:cubicBezTo>
                    <a:pt x="232" y="420"/>
                    <a:pt x="210" y="409"/>
                    <a:pt x="199" y="409"/>
                  </a:cubicBezTo>
                  <a:lnTo>
                    <a:pt x="70" y="409"/>
                  </a:lnTo>
                  <a:cubicBezTo>
                    <a:pt x="59" y="397"/>
                    <a:pt x="48" y="372"/>
                    <a:pt x="48" y="361"/>
                  </a:cubicBezTo>
                  <a:cubicBezTo>
                    <a:pt x="48" y="350"/>
                    <a:pt x="48" y="327"/>
                    <a:pt x="59" y="313"/>
                  </a:cubicBezTo>
                  <a:cubicBezTo>
                    <a:pt x="93" y="258"/>
                    <a:pt x="140" y="210"/>
                    <a:pt x="176" y="151"/>
                  </a:cubicBezTo>
                  <a:cubicBezTo>
                    <a:pt x="199" y="118"/>
                    <a:pt x="210" y="81"/>
                    <a:pt x="232" y="59"/>
                  </a:cubicBezTo>
                  <a:cubicBezTo>
                    <a:pt x="258" y="48"/>
                    <a:pt x="269" y="48"/>
                    <a:pt x="291" y="48"/>
                  </a:cubicBezTo>
                  <a:cubicBezTo>
                    <a:pt x="299" y="44"/>
                    <a:pt x="306" y="42"/>
                    <a:pt x="313" y="42"/>
                  </a:cubicBezTo>
                  <a:close/>
                  <a:moveTo>
                    <a:pt x="291" y="0"/>
                  </a:moveTo>
                  <a:cubicBezTo>
                    <a:pt x="269" y="0"/>
                    <a:pt x="232" y="0"/>
                    <a:pt x="210" y="23"/>
                  </a:cubicBezTo>
                  <a:cubicBezTo>
                    <a:pt x="163" y="48"/>
                    <a:pt x="151" y="93"/>
                    <a:pt x="129" y="129"/>
                  </a:cubicBezTo>
                  <a:cubicBezTo>
                    <a:pt x="107" y="188"/>
                    <a:pt x="59" y="232"/>
                    <a:pt x="23" y="291"/>
                  </a:cubicBezTo>
                  <a:cubicBezTo>
                    <a:pt x="12" y="302"/>
                    <a:pt x="0" y="327"/>
                    <a:pt x="0" y="361"/>
                  </a:cubicBezTo>
                  <a:cubicBezTo>
                    <a:pt x="0" y="397"/>
                    <a:pt x="23" y="431"/>
                    <a:pt x="48" y="442"/>
                  </a:cubicBezTo>
                  <a:cubicBezTo>
                    <a:pt x="70" y="453"/>
                    <a:pt x="93" y="453"/>
                    <a:pt x="118" y="453"/>
                  </a:cubicBezTo>
                  <a:lnTo>
                    <a:pt x="188" y="453"/>
                  </a:lnTo>
                  <a:cubicBezTo>
                    <a:pt x="199" y="453"/>
                    <a:pt x="210" y="453"/>
                    <a:pt x="221" y="467"/>
                  </a:cubicBezTo>
                  <a:lnTo>
                    <a:pt x="232" y="467"/>
                  </a:lnTo>
                  <a:lnTo>
                    <a:pt x="232" y="478"/>
                  </a:lnTo>
                  <a:lnTo>
                    <a:pt x="232" y="501"/>
                  </a:lnTo>
                  <a:cubicBezTo>
                    <a:pt x="246" y="523"/>
                    <a:pt x="246" y="548"/>
                    <a:pt x="246" y="560"/>
                  </a:cubicBezTo>
                  <a:lnTo>
                    <a:pt x="246" y="571"/>
                  </a:lnTo>
                  <a:lnTo>
                    <a:pt x="246" y="582"/>
                  </a:lnTo>
                  <a:lnTo>
                    <a:pt x="258" y="582"/>
                  </a:lnTo>
                  <a:cubicBezTo>
                    <a:pt x="258" y="593"/>
                    <a:pt x="269" y="593"/>
                    <a:pt x="269" y="593"/>
                  </a:cubicBezTo>
                  <a:lnTo>
                    <a:pt x="291" y="593"/>
                  </a:lnTo>
                  <a:cubicBezTo>
                    <a:pt x="302" y="593"/>
                    <a:pt x="316" y="593"/>
                    <a:pt x="327" y="582"/>
                  </a:cubicBezTo>
                  <a:cubicBezTo>
                    <a:pt x="339" y="582"/>
                    <a:pt x="350" y="571"/>
                    <a:pt x="361" y="560"/>
                  </a:cubicBezTo>
                  <a:cubicBezTo>
                    <a:pt x="372" y="548"/>
                    <a:pt x="386" y="537"/>
                    <a:pt x="409" y="523"/>
                  </a:cubicBezTo>
                  <a:cubicBezTo>
                    <a:pt x="420" y="512"/>
                    <a:pt x="442" y="512"/>
                    <a:pt x="467" y="512"/>
                  </a:cubicBezTo>
                  <a:cubicBezTo>
                    <a:pt x="478" y="512"/>
                    <a:pt x="490" y="512"/>
                    <a:pt x="501" y="501"/>
                  </a:cubicBezTo>
                  <a:cubicBezTo>
                    <a:pt x="526" y="501"/>
                    <a:pt x="537" y="478"/>
                    <a:pt x="548" y="467"/>
                  </a:cubicBezTo>
                  <a:cubicBezTo>
                    <a:pt x="560" y="453"/>
                    <a:pt x="571" y="431"/>
                    <a:pt x="571" y="397"/>
                  </a:cubicBezTo>
                  <a:cubicBezTo>
                    <a:pt x="560" y="372"/>
                    <a:pt x="560" y="350"/>
                    <a:pt x="548" y="339"/>
                  </a:cubicBezTo>
                  <a:cubicBezTo>
                    <a:pt x="548" y="313"/>
                    <a:pt x="560" y="302"/>
                    <a:pt x="560" y="280"/>
                  </a:cubicBezTo>
                  <a:cubicBezTo>
                    <a:pt x="571" y="258"/>
                    <a:pt x="582" y="244"/>
                    <a:pt x="582" y="210"/>
                  </a:cubicBezTo>
                  <a:cubicBezTo>
                    <a:pt x="582" y="210"/>
                    <a:pt x="582" y="199"/>
                    <a:pt x="571" y="188"/>
                  </a:cubicBezTo>
                  <a:cubicBezTo>
                    <a:pt x="560" y="151"/>
                    <a:pt x="537" y="129"/>
                    <a:pt x="512" y="104"/>
                  </a:cubicBezTo>
                  <a:cubicBezTo>
                    <a:pt x="512" y="104"/>
                    <a:pt x="501" y="93"/>
                    <a:pt x="501" y="81"/>
                  </a:cubicBezTo>
                  <a:cubicBezTo>
                    <a:pt x="490" y="70"/>
                    <a:pt x="478" y="59"/>
                    <a:pt x="467" y="48"/>
                  </a:cubicBezTo>
                  <a:cubicBezTo>
                    <a:pt x="456" y="34"/>
                    <a:pt x="442" y="34"/>
                    <a:pt x="442" y="34"/>
                  </a:cubicBezTo>
                  <a:lnTo>
                    <a:pt x="409" y="34"/>
                  </a:lnTo>
                  <a:cubicBezTo>
                    <a:pt x="409" y="34"/>
                    <a:pt x="397" y="34"/>
                    <a:pt x="386" y="23"/>
                  </a:cubicBezTo>
                  <a:cubicBezTo>
                    <a:pt x="361" y="0"/>
                    <a:pt x="327" y="0"/>
                    <a:pt x="29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83;p17">
              <a:extLst>
                <a:ext uri="{FF2B5EF4-FFF2-40B4-BE49-F238E27FC236}">
                  <a16:creationId xmlns:a16="http://schemas.microsoft.com/office/drawing/2014/main" xmlns="" id="{D63C3400-DFB3-56EB-230F-40B13CEE266E}"/>
                </a:ext>
              </a:extLst>
            </p:cNvPr>
            <p:cNvSpPr/>
            <p:nvPr/>
          </p:nvSpPr>
          <p:spPr>
            <a:xfrm>
              <a:off x="3367113" y="1362842"/>
              <a:ext cx="110433" cy="72164"/>
            </a:xfrm>
            <a:custGeom>
              <a:avLst/>
              <a:gdLst/>
              <a:ahLst/>
              <a:cxnLst/>
              <a:rect l="l" t="t" r="r" b="b"/>
              <a:pathLst>
                <a:path w="479" h="313" extrusionOk="0">
                  <a:moveTo>
                    <a:pt x="152" y="1"/>
                  </a:moveTo>
                  <a:cubicBezTo>
                    <a:pt x="104" y="26"/>
                    <a:pt x="82" y="60"/>
                    <a:pt x="45" y="71"/>
                  </a:cubicBezTo>
                  <a:cubicBezTo>
                    <a:pt x="34" y="82"/>
                    <a:pt x="12" y="82"/>
                    <a:pt x="1" y="96"/>
                  </a:cubicBezTo>
                  <a:lnTo>
                    <a:pt x="1" y="107"/>
                  </a:lnTo>
                  <a:cubicBezTo>
                    <a:pt x="1" y="129"/>
                    <a:pt x="12" y="152"/>
                    <a:pt x="34" y="166"/>
                  </a:cubicBezTo>
                  <a:cubicBezTo>
                    <a:pt x="59" y="177"/>
                    <a:pt x="71" y="188"/>
                    <a:pt x="93" y="199"/>
                  </a:cubicBezTo>
                  <a:cubicBezTo>
                    <a:pt x="129" y="222"/>
                    <a:pt x="152" y="269"/>
                    <a:pt x="185" y="292"/>
                  </a:cubicBezTo>
                  <a:cubicBezTo>
                    <a:pt x="200" y="307"/>
                    <a:pt x="218" y="313"/>
                    <a:pt x="236" y="313"/>
                  </a:cubicBezTo>
                  <a:cubicBezTo>
                    <a:pt x="248" y="313"/>
                    <a:pt x="259" y="310"/>
                    <a:pt x="269" y="306"/>
                  </a:cubicBezTo>
                  <a:cubicBezTo>
                    <a:pt x="303" y="306"/>
                    <a:pt x="325" y="280"/>
                    <a:pt x="350" y="269"/>
                  </a:cubicBezTo>
                  <a:cubicBezTo>
                    <a:pt x="373" y="258"/>
                    <a:pt x="384" y="247"/>
                    <a:pt x="395" y="247"/>
                  </a:cubicBezTo>
                  <a:lnTo>
                    <a:pt x="442" y="247"/>
                  </a:lnTo>
                  <a:lnTo>
                    <a:pt x="454" y="236"/>
                  </a:lnTo>
                  <a:cubicBezTo>
                    <a:pt x="479" y="211"/>
                    <a:pt x="479" y="188"/>
                    <a:pt x="479" y="166"/>
                  </a:cubicBezTo>
                  <a:cubicBezTo>
                    <a:pt x="479" y="129"/>
                    <a:pt x="479" y="96"/>
                    <a:pt x="454" y="71"/>
                  </a:cubicBezTo>
                  <a:cubicBezTo>
                    <a:pt x="442" y="60"/>
                    <a:pt x="420" y="60"/>
                    <a:pt x="409" y="48"/>
                  </a:cubicBezTo>
                  <a:cubicBezTo>
                    <a:pt x="350" y="37"/>
                    <a:pt x="291" y="26"/>
                    <a:pt x="233" y="1"/>
                  </a:cubicBezTo>
                  <a:close/>
                </a:path>
              </a:pathLst>
            </a:custGeom>
            <a:solidFill>
              <a:srgbClr val="027CB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84;p17">
              <a:extLst>
                <a:ext uri="{FF2B5EF4-FFF2-40B4-BE49-F238E27FC236}">
                  <a16:creationId xmlns:a16="http://schemas.microsoft.com/office/drawing/2014/main" xmlns="" id="{C2F10A44-C14D-3BA1-CEDE-457FD4D51266}"/>
                </a:ext>
              </a:extLst>
            </p:cNvPr>
            <p:cNvSpPr/>
            <p:nvPr/>
          </p:nvSpPr>
          <p:spPr>
            <a:xfrm>
              <a:off x="3361350" y="1357769"/>
              <a:ext cx="121500" cy="80694"/>
            </a:xfrm>
            <a:custGeom>
              <a:avLst/>
              <a:gdLst/>
              <a:ahLst/>
              <a:cxnLst/>
              <a:rect l="l" t="t" r="r" b="b"/>
              <a:pathLst>
                <a:path w="527" h="350" extrusionOk="0">
                  <a:moveTo>
                    <a:pt x="247" y="48"/>
                  </a:moveTo>
                  <a:cubicBezTo>
                    <a:pt x="305" y="59"/>
                    <a:pt x="364" y="82"/>
                    <a:pt x="420" y="93"/>
                  </a:cubicBezTo>
                  <a:cubicBezTo>
                    <a:pt x="445" y="104"/>
                    <a:pt x="456" y="104"/>
                    <a:pt x="456" y="118"/>
                  </a:cubicBezTo>
                  <a:cubicBezTo>
                    <a:pt x="467" y="118"/>
                    <a:pt x="467" y="129"/>
                    <a:pt x="479" y="140"/>
                  </a:cubicBezTo>
                  <a:lnTo>
                    <a:pt x="479" y="174"/>
                  </a:lnTo>
                  <a:lnTo>
                    <a:pt x="479" y="188"/>
                  </a:lnTo>
                  <a:cubicBezTo>
                    <a:pt x="479" y="210"/>
                    <a:pt x="479" y="221"/>
                    <a:pt x="467" y="233"/>
                  </a:cubicBezTo>
                  <a:lnTo>
                    <a:pt x="456" y="244"/>
                  </a:lnTo>
                  <a:lnTo>
                    <a:pt x="420" y="244"/>
                  </a:lnTo>
                  <a:cubicBezTo>
                    <a:pt x="398" y="244"/>
                    <a:pt x="375" y="258"/>
                    <a:pt x="364" y="269"/>
                  </a:cubicBezTo>
                  <a:cubicBezTo>
                    <a:pt x="339" y="291"/>
                    <a:pt x="316" y="302"/>
                    <a:pt x="294" y="302"/>
                  </a:cubicBezTo>
                  <a:lnTo>
                    <a:pt x="224" y="302"/>
                  </a:lnTo>
                  <a:cubicBezTo>
                    <a:pt x="210" y="291"/>
                    <a:pt x="199" y="280"/>
                    <a:pt x="188" y="258"/>
                  </a:cubicBezTo>
                  <a:cubicBezTo>
                    <a:pt x="165" y="233"/>
                    <a:pt x="154" y="221"/>
                    <a:pt x="129" y="199"/>
                  </a:cubicBezTo>
                  <a:cubicBezTo>
                    <a:pt x="107" y="188"/>
                    <a:pt x="84" y="174"/>
                    <a:pt x="70" y="163"/>
                  </a:cubicBezTo>
                  <a:cubicBezTo>
                    <a:pt x="59" y="163"/>
                    <a:pt x="59" y="151"/>
                    <a:pt x="48" y="151"/>
                  </a:cubicBezTo>
                  <a:lnTo>
                    <a:pt x="48" y="129"/>
                  </a:lnTo>
                  <a:lnTo>
                    <a:pt x="59" y="129"/>
                  </a:lnTo>
                  <a:cubicBezTo>
                    <a:pt x="59" y="118"/>
                    <a:pt x="70" y="118"/>
                    <a:pt x="84" y="118"/>
                  </a:cubicBezTo>
                  <a:cubicBezTo>
                    <a:pt x="107" y="104"/>
                    <a:pt x="118" y="93"/>
                    <a:pt x="140" y="82"/>
                  </a:cubicBezTo>
                  <a:cubicBezTo>
                    <a:pt x="154" y="70"/>
                    <a:pt x="165" y="59"/>
                    <a:pt x="177" y="48"/>
                  </a:cubicBezTo>
                  <a:close/>
                  <a:moveTo>
                    <a:pt x="165" y="0"/>
                  </a:moveTo>
                  <a:cubicBezTo>
                    <a:pt x="140" y="12"/>
                    <a:pt x="118" y="34"/>
                    <a:pt x="107" y="48"/>
                  </a:cubicBezTo>
                  <a:cubicBezTo>
                    <a:pt x="96" y="59"/>
                    <a:pt x="84" y="70"/>
                    <a:pt x="59" y="70"/>
                  </a:cubicBezTo>
                  <a:cubicBezTo>
                    <a:pt x="59" y="70"/>
                    <a:pt x="48" y="70"/>
                    <a:pt x="37" y="82"/>
                  </a:cubicBezTo>
                  <a:cubicBezTo>
                    <a:pt x="26" y="82"/>
                    <a:pt x="14" y="93"/>
                    <a:pt x="14" y="104"/>
                  </a:cubicBezTo>
                  <a:cubicBezTo>
                    <a:pt x="0" y="118"/>
                    <a:pt x="0" y="129"/>
                    <a:pt x="0" y="129"/>
                  </a:cubicBezTo>
                  <a:cubicBezTo>
                    <a:pt x="0" y="151"/>
                    <a:pt x="0" y="163"/>
                    <a:pt x="14" y="174"/>
                  </a:cubicBezTo>
                  <a:cubicBezTo>
                    <a:pt x="26" y="188"/>
                    <a:pt x="37" y="199"/>
                    <a:pt x="48" y="210"/>
                  </a:cubicBezTo>
                  <a:cubicBezTo>
                    <a:pt x="70" y="221"/>
                    <a:pt x="96" y="221"/>
                    <a:pt x="107" y="233"/>
                  </a:cubicBezTo>
                  <a:cubicBezTo>
                    <a:pt x="118" y="244"/>
                    <a:pt x="129" y="269"/>
                    <a:pt x="140" y="280"/>
                  </a:cubicBezTo>
                  <a:cubicBezTo>
                    <a:pt x="165" y="302"/>
                    <a:pt x="177" y="328"/>
                    <a:pt x="199" y="339"/>
                  </a:cubicBezTo>
                  <a:cubicBezTo>
                    <a:pt x="224" y="350"/>
                    <a:pt x="247" y="350"/>
                    <a:pt x="269" y="350"/>
                  </a:cubicBezTo>
                  <a:lnTo>
                    <a:pt x="305" y="350"/>
                  </a:lnTo>
                  <a:cubicBezTo>
                    <a:pt x="339" y="339"/>
                    <a:pt x="364" y="328"/>
                    <a:pt x="386" y="314"/>
                  </a:cubicBezTo>
                  <a:cubicBezTo>
                    <a:pt x="409" y="302"/>
                    <a:pt x="420" y="291"/>
                    <a:pt x="434" y="291"/>
                  </a:cubicBezTo>
                  <a:lnTo>
                    <a:pt x="445" y="291"/>
                  </a:lnTo>
                  <a:cubicBezTo>
                    <a:pt x="456" y="291"/>
                    <a:pt x="467" y="291"/>
                    <a:pt x="479" y="280"/>
                  </a:cubicBezTo>
                  <a:cubicBezTo>
                    <a:pt x="490" y="280"/>
                    <a:pt x="490" y="269"/>
                    <a:pt x="504" y="269"/>
                  </a:cubicBezTo>
                  <a:cubicBezTo>
                    <a:pt x="526" y="244"/>
                    <a:pt x="526" y="210"/>
                    <a:pt x="526" y="188"/>
                  </a:cubicBezTo>
                  <a:lnTo>
                    <a:pt x="526" y="174"/>
                  </a:lnTo>
                  <a:lnTo>
                    <a:pt x="526" y="129"/>
                  </a:lnTo>
                  <a:cubicBezTo>
                    <a:pt x="515" y="104"/>
                    <a:pt x="504" y="93"/>
                    <a:pt x="490" y="82"/>
                  </a:cubicBezTo>
                  <a:cubicBezTo>
                    <a:pt x="479" y="59"/>
                    <a:pt x="456" y="59"/>
                    <a:pt x="434" y="48"/>
                  </a:cubicBezTo>
                  <a:cubicBezTo>
                    <a:pt x="375" y="34"/>
                    <a:pt x="316" y="23"/>
                    <a:pt x="258" y="12"/>
                  </a:cubicBezTo>
                  <a:cubicBezTo>
                    <a:pt x="247" y="0"/>
                    <a:pt x="224" y="0"/>
                    <a:pt x="19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85;p17">
              <a:extLst>
                <a:ext uri="{FF2B5EF4-FFF2-40B4-BE49-F238E27FC236}">
                  <a16:creationId xmlns:a16="http://schemas.microsoft.com/office/drawing/2014/main" xmlns="" id="{E42B0F2A-6E4F-BD2C-52F2-A0F88BAAA660}"/>
                </a:ext>
              </a:extLst>
            </p:cNvPr>
            <p:cNvSpPr/>
            <p:nvPr/>
          </p:nvSpPr>
          <p:spPr>
            <a:xfrm>
              <a:off x="2617361" y="688933"/>
              <a:ext cx="1241281" cy="572699"/>
            </a:xfrm>
            <a:custGeom>
              <a:avLst/>
              <a:gdLst/>
              <a:ahLst/>
              <a:cxnLst/>
              <a:rect l="l" t="t" r="r" b="b"/>
              <a:pathLst>
                <a:path w="5384" h="2484" extrusionOk="0">
                  <a:moveTo>
                    <a:pt x="4562" y="1"/>
                  </a:moveTo>
                  <a:cubicBezTo>
                    <a:pt x="4540" y="1"/>
                    <a:pt x="4518" y="10"/>
                    <a:pt x="4500" y="24"/>
                  </a:cubicBezTo>
                  <a:cubicBezTo>
                    <a:pt x="4463" y="35"/>
                    <a:pt x="4430" y="58"/>
                    <a:pt x="4393" y="69"/>
                  </a:cubicBezTo>
                  <a:cubicBezTo>
                    <a:pt x="4371" y="69"/>
                    <a:pt x="4360" y="83"/>
                    <a:pt x="4335" y="83"/>
                  </a:cubicBezTo>
                  <a:cubicBezTo>
                    <a:pt x="4312" y="94"/>
                    <a:pt x="4290" y="128"/>
                    <a:pt x="4290" y="153"/>
                  </a:cubicBezTo>
                  <a:cubicBezTo>
                    <a:pt x="4276" y="186"/>
                    <a:pt x="4276" y="209"/>
                    <a:pt x="4290" y="245"/>
                  </a:cubicBezTo>
                  <a:lnTo>
                    <a:pt x="4290" y="256"/>
                  </a:lnTo>
                  <a:cubicBezTo>
                    <a:pt x="4290" y="267"/>
                    <a:pt x="4301" y="267"/>
                    <a:pt x="4301" y="267"/>
                  </a:cubicBezTo>
                  <a:cubicBezTo>
                    <a:pt x="4335" y="279"/>
                    <a:pt x="4371" y="293"/>
                    <a:pt x="4405" y="304"/>
                  </a:cubicBezTo>
                  <a:cubicBezTo>
                    <a:pt x="4416" y="304"/>
                    <a:pt x="4430" y="304"/>
                    <a:pt x="4430" y="315"/>
                  </a:cubicBezTo>
                  <a:cubicBezTo>
                    <a:pt x="4441" y="315"/>
                    <a:pt x="4441" y="326"/>
                    <a:pt x="4441" y="337"/>
                  </a:cubicBezTo>
                  <a:cubicBezTo>
                    <a:pt x="4441" y="362"/>
                    <a:pt x="4441" y="385"/>
                    <a:pt x="4430" y="407"/>
                  </a:cubicBezTo>
                  <a:cubicBezTo>
                    <a:pt x="4430" y="432"/>
                    <a:pt x="4441" y="466"/>
                    <a:pt x="4463" y="477"/>
                  </a:cubicBezTo>
                  <a:cubicBezTo>
                    <a:pt x="4475" y="488"/>
                    <a:pt x="4500" y="488"/>
                    <a:pt x="4511" y="502"/>
                  </a:cubicBezTo>
                  <a:cubicBezTo>
                    <a:pt x="4533" y="536"/>
                    <a:pt x="4486" y="572"/>
                    <a:pt x="4486" y="606"/>
                  </a:cubicBezTo>
                  <a:cubicBezTo>
                    <a:pt x="4486" y="628"/>
                    <a:pt x="4500" y="653"/>
                    <a:pt x="4511" y="676"/>
                  </a:cubicBezTo>
                  <a:cubicBezTo>
                    <a:pt x="4522" y="687"/>
                    <a:pt x="4533" y="723"/>
                    <a:pt x="4511" y="734"/>
                  </a:cubicBezTo>
                  <a:cubicBezTo>
                    <a:pt x="4511" y="746"/>
                    <a:pt x="4500" y="746"/>
                    <a:pt x="4486" y="757"/>
                  </a:cubicBezTo>
                  <a:cubicBezTo>
                    <a:pt x="4463" y="782"/>
                    <a:pt x="4511" y="793"/>
                    <a:pt x="4486" y="815"/>
                  </a:cubicBezTo>
                  <a:cubicBezTo>
                    <a:pt x="4463" y="827"/>
                    <a:pt x="4452" y="852"/>
                    <a:pt x="4441" y="863"/>
                  </a:cubicBezTo>
                  <a:cubicBezTo>
                    <a:pt x="4441" y="885"/>
                    <a:pt x="4430" y="922"/>
                    <a:pt x="4430" y="933"/>
                  </a:cubicBezTo>
                  <a:cubicBezTo>
                    <a:pt x="4430" y="944"/>
                    <a:pt x="4405" y="955"/>
                    <a:pt x="4371" y="955"/>
                  </a:cubicBezTo>
                  <a:cubicBezTo>
                    <a:pt x="4324" y="955"/>
                    <a:pt x="4231" y="955"/>
                    <a:pt x="4206" y="966"/>
                  </a:cubicBezTo>
                  <a:cubicBezTo>
                    <a:pt x="4195" y="992"/>
                    <a:pt x="4161" y="1014"/>
                    <a:pt x="4136" y="1014"/>
                  </a:cubicBezTo>
                  <a:cubicBezTo>
                    <a:pt x="4103" y="1014"/>
                    <a:pt x="4080" y="1014"/>
                    <a:pt x="4055" y="1025"/>
                  </a:cubicBezTo>
                  <a:cubicBezTo>
                    <a:pt x="4047" y="1041"/>
                    <a:pt x="4020" y="1053"/>
                    <a:pt x="3997" y="1053"/>
                  </a:cubicBezTo>
                  <a:cubicBezTo>
                    <a:pt x="3988" y="1053"/>
                    <a:pt x="3980" y="1051"/>
                    <a:pt x="3974" y="1048"/>
                  </a:cubicBezTo>
                  <a:cubicBezTo>
                    <a:pt x="3963" y="1025"/>
                    <a:pt x="3952" y="978"/>
                    <a:pt x="3926" y="966"/>
                  </a:cubicBezTo>
                  <a:cubicBezTo>
                    <a:pt x="3904" y="966"/>
                    <a:pt x="3834" y="978"/>
                    <a:pt x="3812" y="1003"/>
                  </a:cubicBezTo>
                  <a:cubicBezTo>
                    <a:pt x="3801" y="1014"/>
                    <a:pt x="3753" y="1036"/>
                    <a:pt x="3742" y="1036"/>
                  </a:cubicBezTo>
                  <a:cubicBezTo>
                    <a:pt x="3742" y="1036"/>
                    <a:pt x="3716" y="1031"/>
                    <a:pt x="3698" y="1031"/>
                  </a:cubicBezTo>
                  <a:cubicBezTo>
                    <a:pt x="3690" y="1031"/>
                    <a:pt x="3683" y="1033"/>
                    <a:pt x="3683" y="1036"/>
                  </a:cubicBezTo>
                  <a:cubicBezTo>
                    <a:pt x="3674" y="1057"/>
                    <a:pt x="3672" y="1076"/>
                    <a:pt x="3666" y="1076"/>
                  </a:cubicBezTo>
                  <a:cubicBezTo>
                    <a:pt x="3665" y="1076"/>
                    <a:pt x="3663" y="1075"/>
                    <a:pt x="3661" y="1073"/>
                  </a:cubicBezTo>
                  <a:cubicBezTo>
                    <a:pt x="3636" y="1073"/>
                    <a:pt x="3636" y="1062"/>
                    <a:pt x="3613" y="1048"/>
                  </a:cubicBezTo>
                  <a:cubicBezTo>
                    <a:pt x="3609" y="1045"/>
                    <a:pt x="3602" y="1045"/>
                    <a:pt x="3593" y="1045"/>
                  </a:cubicBezTo>
                  <a:cubicBezTo>
                    <a:pt x="3567" y="1045"/>
                    <a:pt x="3526" y="1052"/>
                    <a:pt x="3499" y="1052"/>
                  </a:cubicBezTo>
                  <a:cubicBezTo>
                    <a:pt x="3488" y="1052"/>
                    <a:pt x="3479" y="1051"/>
                    <a:pt x="3474" y="1048"/>
                  </a:cubicBezTo>
                  <a:cubicBezTo>
                    <a:pt x="3451" y="1025"/>
                    <a:pt x="3451" y="1014"/>
                    <a:pt x="3415" y="1014"/>
                  </a:cubicBezTo>
                  <a:cubicBezTo>
                    <a:pt x="3392" y="1025"/>
                    <a:pt x="3381" y="1048"/>
                    <a:pt x="3367" y="1073"/>
                  </a:cubicBezTo>
                  <a:cubicBezTo>
                    <a:pt x="3345" y="1095"/>
                    <a:pt x="3334" y="1106"/>
                    <a:pt x="3311" y="1106"/>
                  </a:cubicBezTo>
                  <a:cubicBezTo>
                    <a:pt x="3294" y="1098"/>
                    <a:pt x="3272" y="1090"/>
                    <a:pt x="3251" y="1090"/>
                  </a:cubicBezTo>
                  <a:cubicBezTo>
                    <a:pt x="3243" y="1090"/>
                    <a:pt x="3235" y="1092"/>
                    <a:pt x="3227" y="1095"/>
                  </a:cubicBezTo>
                  <a:cubicBezTo>
                    <a:pt x="3205" y="1095"/>
                    <a:pt x="3227" y="1095"/>
                    <a:pt x="3194" y="1117"/>
                  </a:cubicBezTo>
                  <a:cubicBezTo>
                    <a:pt x="3146" y="1131"/>
                    <a:pt x="3124" y="1131"/>
                    <a:pt x="3113" y="1154"/>
                  </a:cubicBezTo>
                  <a:cubicBezTo>
                    <a:pt x="3094" y="1170"/>
                    <a:pt x="3083" y="1181"/>
                    <a:pt x="3075" y="1181"/>
                  </a:cubicBezTo>
                  <a:cubicBezTo>
                    <a:pt x="3071" y="1181"/>
                    <a:pt x="3068" y="1179"/>
                    <a:pt x="3065" y="1176"/>
                  </a:cubicBezTo>
                  <a:cubicBezTo>
                    <a:pt x="3054" y="1176"/>
                    <a:pt x="3054" y="1165"/>
                    <a:pt x="3018" y="1165"/>
                  </a:cubicBezTo>
                  <a:cubicBezTo>
                    <a:pt x="3007" y="1165"/>
                    <a:pt x="2969" y="1168"/>
                    <a:pt x="2932" y="1168"/>
                  </a:cubicBezTo>
                  <a:cubicBezTo>
                    <a:pt x="2896" y="1168"/>
                    <a:pt x="2861" y="1165"/>
                    <a:pt x="2856" y="1154"/>
                  </a:cubicBezTo>
                  <a:cubicBezTo>
                    <a:pt x="2844" y="1131"/>
                    <a:pt x="2867" y="1106"/>
                    <a:pt x="2822" y="1084"/>
                  </a:cubicBezTo>
                  <a:cubicBezTo>
                    <a:pt x="2786" y="1062"/>
                    <a:pt x="2738" y="1036"/>
                    <a:pt x="2693" y="1014"/>
                  </a:cubicBezTo>
                  <a:cubicBezTo>
                    <a:pt x="2635" y="992"/>
                    <a:pt x="2598" y="978"/>
                    <a:pt x="2554" y="955"/>
                  </a:cubicBezTo>
                  <a:cubicBezTo>
                    <a:pt x="2495" y="944"/>
                    <a:pt x="2472" y="908"/>
                    <a:pt x="2425" y="908"/>
                  </a:cubicBezTo>
                  <a:cubicBezTo>
                    <a:pt x="2389" y="897"/>
                    <a:pt x="2355" y="897"/>
                    <a:pt x="2344" y="885"/>
                  </a:cubicBezTo>
                  <a:cubicBezTo>
                    <a:pt x="2319" y="874"/>
                    <a:pt x="2307" y="838"/>
                    <a:pt x="2285" y="838"/>
                  </a:cubicBezTo>
                  <a:cubicBezTo>
                    <a:pt x="2249" y="838"/>
                    <a:pt x="2193" y="852"/>
                    <a:pt x="2168" y="863"/>
                  </a:cubicBezTo>
                  <a:cubicBezTo>
                    <a:pt x="2156" y="885"/>
                    <a:pt x="2123" y="933"/>
                    <a:pt x="2098" y="933"/>
                  </a:cubicBezTo>
                  <a:cubicBezTo>
                    <a:pt x="2075" y="933"/>
                    <a:pt x="2064" y="933"/>
                    <a:pt x="2028" y="897"/>
                  </a:cubicBezTo>
                  <a:cubicBezTo>
                    <a:pt x="1994" y="863"/>
                    <a:pt x="2005" y="827"/>
                    <a:pt x="1958" y="804"/>
                  </a:cubicBezTo>
                  <a:cubicBezTo>
                    <a:pt x="1913" y="793"/>
                    <a:pt x="1866" y="793"/>
                    <a:pt x="1854" y="782"/>
                  </a:cubicBezTo>
                  <a:lnTo>
                    <a:pt x="1773" y="782"/>
                  </a:lnTo>
                  <a:cubicBezTo>
                    <a:pt x="1759" y="782"/>
                    <a:pt x="1737" y="734"/>
                    <a:pt x="1715" y="664"/>
                  </a:cubicBezTo>
                  <a:cubicBezTo>
                    <a:pt x="1690" y="595"/>
                    <a:pt x="1690" y="595"/>
                    <a:pt x="1678" y="558"/>
                  </a:cubicBezTo>
                  <a:cubicBezTo>
                    <a:pt x="1667" y="525"/>
                    <a:pt x="1645" y="502"/>
                    <a:pt x="1608" y="502"/>
                  </a:cubicBezTo>
                  <a:cubicBezTo>
                    <a:pt x="1586" y="502"/>
                    <a:pt x="1539" y="513"/>
                    <a:pt x="1527" y="547"/>
                  </a:cubicBezTo>
                  <a:cubicBezTo>
                    <a:pt x="1509" y="567"/>
                    <a:pt x="1506" y="601"/>
                    <a:pt x="1486" y="601"/>
                  </a:cubicBezTo>
                  <a:cubicBezTo>
                    <a:pt x="1481" y="601"/>
                    <a:pt x="1476" y="599"/>
                    <a:pt x="1469" y="595"/>
                  </a:cubicBezTo>
                  <a:cubicBezTo>
                    <a:pt x="1446" y="583"/>
                    <a:pt x="1410" y="572"/>
                    <a:pt x="1388" y="572"/>
                  </a:cubicBezTo>
                  <a:cubicBezTo>
                    <a:pt x="1368" y="572"/>
                    <a:pt x="1374" y="597"/>
                    <a:pt x="1339" y="597"/>
                  </a:cubicBezTo>
                  <a:cubicBezTo>
                    <a:pt x="1333" y="597"/>
                    <a:pt x="1326" y="596"/>
                    <a:pt x="1318" y="595"/>
                  </a:cubicBezTo>
                  <a:cubicBezTo>
                    <a:pt x="1270" y="583"/>
                    <a:pt x="1248" y="583"/>
                    <a:pt x="1225" y="558"/>
                  </a:cubicBezTo>
                  <a:cubicBezTo>
                    <a:pt x="1200" y="536"/>
                    <a:pt x="1214" y="513"/>
                    <a:pt x="1155" y="513"/>
                  </a:cubicBezTo>
                  <a:cubicBezTo>
                    <a:pt x="1108" y="513"/>
                    <a:pt x="1060" y="536"/>
                    <a:pt x="1049" y="547"/>
                  </a:cubicBezTo>
                  <a:cubicBezTo>
                    <a:pt x="1027" y="572"/>
                    <a:pt x="1027" y="583"/>
                    <a:pt x="1004" y="583"/>
                  </a:cubicBezTo>
                  <a:cubicBezTo>
                    <a:pt x="973" y="583"/>
                    <a:pt x="916" y="556"/>
                    <a:pt x="887" y="556"/>
                  </a:cubicBezTo>
                  <a:cubicBezTo>
                    <a:pt x="883" y="556"/>
                    <a:pt x="879" y="557"/>
                    <a:pt x="876" y="558"/>
                  </a:cubicBezTo>
                  <a:cubicBezTo>
                    <a:pt x="839" y="558"/>
                    <a:pt x="806" y="572"/>
                    <a:pt x="795" y="606"/>
                  </a:cubicBezTo>
                  <a:cubicBezTo>
                    <a:pt x="795" y="642"/>
                    <a:pt x="839" y="698"/>
                    <a:pt x="795" y="723"/>
                  </a:cubicBezTo>
                  <a:cubicBezTo>
                    <a:pt x="777" y="729"/>
                    <a:pt x="759" y="729"/>
                    <a:pt x="743" y="729"/>
                  </a:cubicBezTo>
                  <a:cubicBezTo>
                    <a:pt x="727" y="729"/>
                    <a:pt x="712" y="729"/>
                    <a:pt x="700" y="734"/>
                  </a:cubicBezTo>
                  <a:cubicBezTo>
                    <a:pt x="683" y="743"/>
                    <a:pt x="672" y="765"/>
                    <a:pt x="657" y="765"/>
                  </a:cubicBezTo>
                  <a:cubicBezTo>
                    <a:pt x="653" y="765"/>
                    <a:pt x="647" y="763"/>
                    <a:pt x="641" y="757"/>
                  </a:cubicBezTo>
                  <a:cubicBezTo>
                    <a:pt x="620" y="736"/>
                    <a:pt x="600" y="685"/>
                    <a:pt x="577" y="685"/>
                  </a:cubicBezTo>
                  <a:cubicBezTo>
                    <a:pt x="575" y="685"/>
                    <a:pt x="573" y="686"/>
                    <a:pt x="571" y="687"/>
                  </a:cubicBezTo>
                  <a:cubicBezTo>
                    <a:pt x="537" y="698"/>
                    <a:pt x="549" y="698"/>
                    <a:pt x="515" y="734"/>
                  </a:cubicBezTo>
                  <a:cubicBezTo>
                    <a:pt x="501" y="746"/>
                    <a:pt x="479" y="746"/>
                    <a:pt x="468" y="757"/>
                  </a:cubicBezTo>
                  <a:cubicBezTo>
                    <a:pt x="431" y="768"/>
                    <a:pt x="409" y="768"/>
                    <a:pt x="386" y="768"/>
                  </a:cubicBezTo>
                  <a:cubicBezTo>
                    <a:pt x="361" y="782"/>
                    <a:pt x="317" y="827"/>
                    <a:pt x="305" y="838"/>
                  </a:cubicBezTo>
                  <a:lnTo>
                    <a:pt x="210" y="838"/>
                  </a:lnTo>
                  <a:cubicBezTo>
                    <a:pt x="200" y="838"/>
                    <a:pt x="181" y="835"/>
                    <a:pt x="162" y="835"/>
                  </a:cubicBezTo>
                  <a:cubicBezTo>
                    <a:pt x="141" y="835"/>
                    <a:pt x="119" y="839"/>
                    <a:pt x="107" y="852"/>
                  </a:cubicBezTo>
                  <a:cubicBezTo>
                    <a:pt x="98" y="870"/>
                    <a:pt x="103" y="888"/>
                    <a:pt x="80" y="888"/>
                  </a:cubicBezTo>
                  <a:cubicBezTo>
                    <a:pt x="75" y="888"/>
                    <a:pt x="68" y="887"/>
                    <a:pt x="59" y="885"/>
                  </a:cubicBezTo>
                  <a:lnTo>
                    <a:pt x="59" y="922"/>
                  </a:lnTo>
                  <a:cubicBezTo>
                    <a:pt x="37" y="955"/>
                    <a:pt x="1" y="992"/>
                    <a:pt x="26" y="1025"/>
                  </a:cubicBezTo>
                  <a:cubicBezTo>
                    <a:pt x="37" y="1062"/>
                    <a:pt x="70" y="1062"/>
                    <a:pt x="107" y="1073"/>
                  </a:cubicBezTo>
                  <a:cubicBezTo>
                    <a:pt x="140" y="1073"/>
                    <a:pt x="188" y="1084"/>
                    <a:pt x="199" y="1117"/>
                  </a:cubicBezTo>
                  <a:cubicBezTo>
                    <a:pt x="210" y="1165"/>
                    <a:pt x="129" y="1201"/>
                    <a:pt x="140" y="1257"/>
                  </a:cubicBezTo>
                  <a:cubicBezTo>
                    <a:pt x="152" y="1282"/>
                    <a:pt x="188" y="1294"/>
                    <a:pt x="199" y="1327"/>
                  </a:cubicBezTo>
                  <a:cubicBezTo>
                    <a:pt x="210" y="1352"/>
                    <a:pt x="199" y="1386"/>
                    <a:pt x="221" y="1397"/>
                  </a:cubicBezTo>
                  <a:cubicBezTo>
                    <a:pt x="234" y="1404"/>
                    <a:pt x="243" y="1404"/>
                    <a:pt x="252" y="1404"/>
                  </a:cubicBezTo>
                  <a:cubicBezTo>
                    <a:pt x="261" y="1404"/>
                    <a:pt x="269" y="1404"/>
                    <a:pt x="280" y="1411"/>
                  </a:cubicBezTo>
                  <a:cubicBezTo>
                    <a:pt x="305" y="1411"/>
                    <a:pt x="305" y="1456"/>
                    <a:pt x="339" y="1481"/>
                  </a:cubicBezTo>
                  <a:cubicBezTo>
                    <a:pt x="343" y="1483"/>
                    <a:pt x="348" y="1484"/>
                    <a:pt x="353" y="1484"/>
                  </a:cubicBezTo>
                  <a:cubicBezTo>
                    <a:pt x="369" y="1484"/>
                    <a:pt x="387" y="1477"/>
                    <a:pt x="403" y="1477"/>
                  </a:cubicBezTo>
                  <a:cubicBezTo>
                    <a:pt x="409" y="1477"/>
                    <a:pt x="415" y="1478"/>
                    <a:pt x="420" y="1481"/>
                  </a:cubicBezTo>
                  <a:cubicBezTo>
                    <a:pt x="456" y="1481"/>
                    <a:pt x="479" y="1526"/>
                    <a:pt x="490" y="1551"/>
                  </a:cubicBezTo>
                  <a:cubicBezTo>
                    <a:pt x="509" y="1577"/>
                    <a:pt x="533" y="1604"/>
                    <a:pt x="560" y="1604"/>
                  </a:cubicBezTo>
                  <a:cubicBezTo>
                    <a:pt x="568" y="1604"/>
                    <a:pt x="577" y="1601"/>
                    <a:pt x="585" y="1596"/>
                  </a:cubicBezTo>
                  <a:cubicBezTo>
                    <a:pt x="596" y="1596"/>
                    <a:pt x="607" y="1562"/>
                    <a:pt x="630" y="1551"/>
                  </a:cubicBezTo>
                  <a:cubicBezTo>
                    <a:pt x="633" y="1547"/>
                    <a:pt x="638" y="1545"/>
                    <a:pt x="643" y="1545"/>
                  </a:cubicBezTo>
                  <a:cubicBezTo>
                    <a:pt x="655" y="1545"/>
                    <a:pt x="669" y="1554"/>
                    <a:pt x="677" y="1562"/>
                  </a:cubicBezTo>
                  <a:cubicBezTo>
                    <a:pt x="700" y="1573"/>
                    <a:pt x="700" y="1596"/>
                    <a:pt x="688" y="1621"/>
                  </a:cubicBezTo>
                  <a:cubicBezTo>
                    <a:pt x="711" y="1621"/>
                    <a:pt x="736" y="1621"/>
                    <a:pt x="736" y="1632"/>
                  </a:cubicBezTo>
                  <a:cubicBezTo>
                    <a:pt x="747" y="1654"/>
                    <a:pt x="736" y="1666"/>
                    <a:pt x="736" y="1677"/>
                  </a:cubicBezTo>
                  <a:cubicBezTo>
                    <a:pt x="747" y="1713"/>
                    <a:pt x="781" y="1724"/>
                    <a:pt x="817" y="1735"/>
                  </a:cubicBezTo>
                  <a:cubicBezTo>
                    <a:pt x="876" y="1761"/>
                    <a:pt x="898" y="1817"/>
                    <a:pt x="887" y="1875"/>
                  </a:cubicBezTo>
                  <a:cubicBezTo>
                    <a:pt x="828" y="1900"/>
                    <a:pt x="865" y="2015"/>
                    <a:pt x="817" y="2051"/>
                  </a:cubicBezTo>
                  <a:cubicBezTo>
                    <a:pt x="795" y="2063"/>
                    <a:pt x="758" y="2051"/>
                    <a:pt x="736" y="2074"/>
                  </a:cubicBezTo>
                  <a:cubicBezTo>
                    <a:pt x="688" y="2096"/>
                    <a:pt x="688" y="2155"/>
                    <a:pt x="655" y="2191"/>
                  </a:cubicBezTo>
                  <a:cubicBezTo>
                    <a:pt x="630" y="2202"/>
                    <a:pt x="585" y="2202"/>
                    <a:pt x="560" y="2225"/>
                  </a:cubicBezTo>
                  <a:cubicBezTo>
                    <a:pt x="560" y="2236"/>
                    <a:pt x="549" y="2250"/>
                    <a:pt x="537" y="2250"/>
                  </a:cubicBezTo>
                  <a:cubicBezTo>
                    <a:pt x="526" y="2261"/>
                    <a:pt x="515" y="2261"/>
                    <a:pt x="501" y="2261"/>
                  </a:cubicBezTo>
                  <a:cubicBezTo>
                    <a:pt x="445" y="2261"/>
                    <a:pt x="420" y="2295"/>
                    <a:pt x="409" y="2353"/>
                  </a:cubicBezTo>
                  <a:cubicBezTo>
                    <a:pt x="445" y="2353"/>
                    <a:pt x="479" y="2376"/>
                    <a:pt x="526" y="2390"/>
                  </a:cubicBezTo>
                  <a:cubicBezTo>
                    <a:pt x="596" y="2434"/>
                    <a:pt x="677" y="2482"/>
                    <a:pt x="758" y="2482"/>
                  </a:cubicBezTo>
                  <a:cubicBezTo>
                    <a:pt x="767" y="2483"/>
                    <a:pt x="775" y="2484"/>
                    <a:pt x="783" y="2484"/>
                  </a:cubicBezTo>
                  <a:cubicBezTo>
                    <a:pt x="856" y="2484"/>
                    <a:pt x="929" y="2441"/>
                    <a:pt x="1004" y="2401"/>
                  </a:cubicBezTo>
                  <a:cubicBezTo>
                    <a:pt x="1038" y="2390"/>
                    <a:pt x="1060" y="2365"/>
                    <a:pt x="1097" y="2353"/>
                  </a:cubicBezTo>
                  <a:cubicBezTo>
                    <a:pt x="1119" y="2331"/>
                    <a:pt x="1144" y="2320"/>
                    <a:pt x="1178" y="2306"/>
                  </a:cubicBezTo>
                  <a:cubicBezTo>
                    <a:pt x="1214" y="2283"/>
                    <a:pt x="1248" y="2261"/>
                    <a:pt x="1259" y="2225"/>
                  </a:cubicBezTo>
                  <a:cubicBezTo>
                    <a:pt x="1270" y="2202"/>
                    <a:pt x="1270" y="2180"/>
                    <a:pt x="1284" y="2144"/>
                  </a:cubicBezTo>
                  <a:cubicBezTo>
                    <a:pt x="1295" y="2051"/>
                    <a:pt x="1376" y="1982"/>
                    <a:pt x="1469" y="1970"/>
                  </a:cubicBezTo>
                  <a:cubicBezTo>
                    <a:pt x="1494" y="1970"/>
                    <a:pt x="1516" y="1970"/>
                    <a:pt x="1527" y="1956"/>
                  </a:cubicBezTo>
                  <a:cubicBezTo>
                    <a:pt x="1564" y="1934"/>
                    <a:pt x="1575" y="1934"/>
                    <a:pt x="1608" y="1923"/>
                  </a:cubicBezTo>
                  <a:cubicBezTo>
                    <a:pt x="1620" y="1923"/>
                    <a:pt x="1634" y="1923"/>
                    <a:pt x="1634" y="1934"/>
                  </a:cubicBezTo>
                  <a:cubicBezTo>
                    <a:pt x="1645" y="1934"/>
                    <a:pt x="1645" y="1945"/>
                    <a:pt x="1656" y="1956"/>
                  </a:cubicBezTo>
                  <a:cubicBezTo>
                    <a:pt x="1678" y="1993"/>
                    <a:pt x="1726" y="2015"/>
                    <a:pt x="1748" y="2051"/>
                  </a:cubicBezTo>
                  <a:cubicBezTo>
                    <a:pt x="1773" y="2074"/>
                    <a:pt x="1759" y="2110"/>
                    <a:pt x="1785" y="2133"/>
                  </a:cubicBezTo>
                  <a:cubicBezTo>
                    <a:pt x="1801" y="2150"/>
                    <a:pt x="1823" y="2155"/>
                    <a:pt x="1846" y="2155"/>
                  </a:cubicBezTo>
                  <a:cubicBezTo>
                    <a:pt x="1873" y="2155"/>
                    <a:pt x="1903" y="2148"/>
                    <a:pt x="1930" y="2148"/>
                  </a:cubicBezTo>
                  <a:cubicBezTo>
                    <a:pt x="1944" y="2148"/>
                    <a:pt x="1957" y="2150"/>
                    <a:pt x="1969" y="2155"/>
                  </a:cubicBezTo>
                  <a:cubicBezTo>
                    <a:pt x="1994" y="2166"/>
                    <a:pt x="2017" y="2191"/>
                    <a:pt x="2039" y="2202"/>
                  </a:cubicBezTo>
                  <a:cubicBezTo>
                    <a:pt x="2075" y="2202"/>
                    <a:pt x="2098" y="2180"/>
                    <a:pt x="2109" y="2166"/>
                  </a:cubicBezTo>
                  <a:cubicBezTo>
                    <a:pt x="2168" y="2121"/>
                    <a:pt x="2226" y="2074"/>
                    <a:pt x="2263" y="2026"/>
                  </a:cubicBezTo>
                  <a:cubicBezTo>
                    <a:pt x="2285" y="2004"/>
                    <a:pt x="2296" y="1993"/>
                    <a:pt x="2319" y="1993"/>
                  </a:cubicBezTo>
                  <a:cubicBezTo>
                    <a:pt x="2333" y="1993"/>
                    <a:pt x="2344" y="1993"/>
                    <a:pt x="2355" y="2004"/>
                  </a:cubicBezTo>
                  <a:cubicBezTo>
                    <a:pt x="2389" y="2004"/>
                    <a:pt x="2425" y="1993"/>
                    <a:pt x="2436" y="1956"/>
                  </a:cubicBezTo>
                  <a:cubicBezTo>
                    <a:pt x="2447" y="1934"/>
                    <a:pt x="2447" y="1923"/>
                    <a:pt x="2447" y="1900"/>
                  </a:cubicBezTo>
                  <a:cubicBezTo>
                    <a:pt x="2458" y="1853"/>
                    <a:pt x="2495" y="1817"/>
                    <a:pt x="2542" y="1805"/>
                  </a:cubicBezTo>
                  <a:cubicBezTo>
                    <a:pt x="2565" y="1794"/>
                    <a:pt x="2588" y="1791"/>
                    <a:pt x="2611" y="1791"/>
                  </a:cubicBezTo>
                  <a:cubicBezTo>
                    <a:pt x="2635" y="1791"/>
                    <a:pt x="2658" y="1794"/>
                    <a:pt x="2682" y="1794"/>
                  </a:cubicBezTo>
                  <a:cubicBezTo>
                    <a:pt x="2693" y="1805"/>
                    <a:pt x="2705" y="1805"/>
                    <a:pt x="2716" y="1817"/>
                  </a:cubicBezTo>
                  <a:cubicBezTo>
                    <a:pt x="2738" y="1831"/>
                    <a:pt x="2738" y="1842"/>
                    <a:pt x="2727" y="1864"/>
                  </a:cubicBezTo>
                  <a:cubicBezTo>
                    <a:pt x="2727" y="1875"/>
                    <a:pt x="2705" y="1875"/>
                    <a:pt x="2693" y="1886"/>
                  </a:cubicBezTo>
                  <a:cubicBezTo>
                    <a:pt x="2682" y="1912"/>
                    <a:pt x="2705" y="1945"/>
                    <a:pt x="2727" y="1956"/>
                  </a:cubicBezTo>
                  <a:cubicBezTo>
                    <a:pt x="2774" y="1982"/>
                    <a:pt x="2833" y="1993"/>
                    <a:pt x="2878" y="1993"/>
                  </a:cubicBezTo>
                  <a:cubicBezTo>
                    <a:pt x="2885" y="1996"/>
                    <a:pt x="2892" y="1997"/>
                    <a:pt x="2899" y="1997"/>
                  </a:cubicBezTo>
                  <a:cubicBezTo>
                    <a:pt x="2915" y="1997"/>
                    <a:pt x="2929" y="1989"/>
                    <a:pt x="2937" y="1982"/>
                  </a:cubicBezTo>
                  <a:cubicBezTo>
                    <a:pt x="2948" y="1970"/>
                    <a:pt x="2948" y="1956"/>
                    <a:pt x="2962" y="1945"/>
                  </a:cubicBezTo>
                  <a:cubicBezTo>
                    <a:pt x="2975" y="1932"/>
                    <a:pt x="2992" y="1927"/>
                    <a:pt x="3009" y="1927"/>
                  </a:cubicBezTo>
                  <a:cubicBezTo>
                    <a:pt x="3021" y="1927"/>
                    <a:pt x="3032" y="1929"/>
                    <a:pt x="3043" y="1934"/>
                  </a:cubicBezTo>
                  <a:cubicBezTo>
                    <a:pt x="3065" y="1945"/>
                    <a:pt x="3088" y="1982"/>
                    <a:pt x="3102" y="2004"/>
                  </a:cubicBezTo>
                  <a:cubicBezTo>
                    <a:pt x="3124" y="2004"/>
                    <a:pt x="3146" y="2015"/>
                    <a:pt x="3183" y="2015"/>
                  </a:cubicBezTo>
                  <a:cubicBezTo>
                    <a:pt x="3190" y="2013"/>
                    <a:pt x="3198" y="2012"/>
                    <a:pt x="3207" y="2012"/>
                  </a:cubicBezTo>
                  <a:cubicBezTo>
                    <a:pt x="3247" y="2012"/>
                    <a:pt x="3292" y="2034"/>
                    <a:pt x="3323" y="2074"/>
                  </a:cubicBezTo>
                  <a:cubicBezTo>
                    <a:pt x="3345" y="2096"/>
                    <a:pt x="3356" y="2121"/>
                    <a:pt x="3392" y="2144"/>
                  </a:cubicBezTo>
                  <a:cubicBezTo>
                    <a:pt x="3401" y="2147"/>
                    <a:pt x="3409" y="2148"/>
                    <a:pt x="3419" y="2148"/>
                  </a:cubicBezTo>
                  <a:cubicBezTo>
                    <a:pt x="3464" y="2148"/>
                    <a:pt x="3517" y="2116"/>
                    <a:pt x="3562" y="2116"/>
                  </a:cubicBezTo>
                  <a:cubicBezTo>
                    <a:pt x="3572" y="2116"/>
                    <a:pt x="3582" y="2117"/>
                    <a:pt x="3591" y="2121"/>
                  </a:cubicBezTo>
                  <a:cubicBezTo>
                    <a:pt x="3602" y="2121"/>
                    <a:pt x="3613" y="2133"/>
                    <a:pt x="3625" y="2144"/>
                  </a:cubicBezTo>
                  <a:cubicBezTo>
                    <a:pt x="3661" y="2155"/>
                    <a:pt x="3694" y="2155"/>
                    <a:pt x="3731" y="2155"/>
                  </a:cubicBezTo>
                  <a:lnTo>
                    <a:pt x="4114" y="2155"/>
                  </a:lnTo>
                  <a:cubicBezTo>
                    <a:pt x="4125" y="2155"/>
                    <a:pt x="4136" y="2155"/>
                    <a:pt x="4161" y="2166"/>
                  </a:cubicBezTo>
                  <a:cubicBezTo>
                    <a:pt x="4173" y="2180"/>
                    <a:pt x="4184" y="2202"/>
                    <a:pt x="4206" y="2225"/>
                  </a:cubicBezTo>
                  <a:cubicBezTo>
                    <a:pt x="4220" y="2250"/>
                    <a:pt x="4254" y="2250"/>
                    <a:pt x="4265" y="2261"/>
                  </a:cubicBezTo>
                  <a:cubicBezTo>
                    <a:pt x="4324" y="2306"/>
                    <a:pt x="4290" y="2412"/>
                    <a:pt x="4346" y="2446"/>
                  </a:cubicBezTo>
                  <a:cubicBezTo>
                    <a:pt x="4353" y="2448"/>
                    <a:pt x="4360" y="2449"/>
                    <a:pt x="4367" y="2449"/>
                  </a:cubicBezTo>
                  <a:cubicBezTo>
                    <a:pt x="4407" y="2449"/>
                    <a:pt x="4444" y="2416"/>
                    <a:pt x="4463" y="2376"/>
                  </a:cubicBezTo>
                  <a:cubicBezTo>
                    <a:pt x="4486" y="2331"/>
                    <a:pt x="4500" y="2283"/>
                    <a:pt x="4533" y="2250"/>
                  </a:cubicBezTo>
                  <a:cubicBezTo>
                    <a:pt x="4556" y="2236"/>
                    <a:pt x="4592" y="2225"/>
                    <a:pt x="4603" y="2202"/>
                  </a:cubicBezTo>
                  <a:cubicBezTo>
                    <a:pt x="4626" y="2166"/>
                    <a:pt x="4603" y="2133"/>
                    <a:pt x="4626" y="2110"/>
                  </a:cubicBezTo>
                  <a:cubicBezTo>
                    <a:pt x="4640" y="2096"/>
                    <a:pt x="4651" y="2085"/>
                    <a:pt x="4662" y="2074"/>
                  </a:cubicBezTo>
                  <a:cubicBezTo>
                    <a:pt x="4709" y="2040"/>
                    <a:pt x="4709" y="1970"/>
                    <a:pt x="4754" y="1945"/>
                  </a:cubicBezTo>
                  <a:cubicBezTo>
                    <a:pt x="4765" y="1945"/>
                    <a:pt x="4791" y="1945"/>
                    <a:pt x="4813" y="1934"/>
                  </a:cubicBezTo>
                  <a:cubicBezTo>
                    <a:pt x="4835" y="1934"/>
                    <a:pt x="4860" y="1923"/>
                    <a:pt x="4860" y="1900"/>
                  </a:cubicBezTo>
                  <a:cubicBezTo>
                    <a:pt x="4860" y="1875"/>
                    <a:pt x="4824" y="1853"/>
                    <a:pt x="4835" y="1831"/>
                  </a:cubicBezTo>
                  <a:cubicBezTo>
                    <a:pt x="4835" y="1817"/>
                    <a:pt x="4860" y="1805"/>
                    <a:pt x="4872" y="1794"/>
                  </a:cubicBezTo>
                  <a:cubicBezTo>
                    <a:pt x="4894" y="1772"/>
                    <a:pt x="4883" y="1747"/>
                    <a:pt x="4872" y="1724"/>
                  </a:cubicBezTo>
                  <a:cubicBezTo>
                    <a:pt x="4849" y="1677"/>
                    <a:pt x="4824" y="1632"/>
                    <a:pt x="4791" y="1596"/>
                  </a:cubicBezTo>
                  <a:cubicBezTo>
                    <a:pt x="4754" y="1551"/>
                    <a:pt x="4709" y="1481"/>
                    <a:pt x="4732" y="1433"/>
                  </a:cubicBezTo>
                  <a:cubicBezTo>
                    <a:pt x="4754" y="1397"/>
                    <a:pt x="4791" y="1375"/>
                    <a:pt x="4802" y="1352"/>
                  </a:cubicBezTo>
                  <a:cubicBezTo>
                    <a:pt x="4824" y="1316"/>
                    <a:pt x="4813" y="1257"/>
                    <a:pt x="4791" y="1235"/>
                  </a:cubicBezTo>
                  <a:cubicBezTo>
                    <a:pt x="4791" y="1224"/>
                    <a:pt x="4779" y="1213"/>
                    <a:pt x="4779" y="1213"/>
                  </a:cubicBezTo>
                  <a:cubicBezTo>
                    <a:pt x="4779" y="1187"/>
                    <a:pt x="4791" y="1165"/>
                    <a:pt x="4813" y="1165"/>
                  </a:cubicBezTo>
                  <a:lnTo>
                    <a:pt x="4872" y="1165"/>
                  </a:lnTo>
                  <a:cubicBezTo>
                    <a:pt x="4880" y="1166"/>
                    <a:pt x="4888" y="1167"/>
                    <a:pt x="4896" y="1167"/>
                  </a:cubicBezTo>
                  <a:cubicBezTo>
                    <a:pt x="4967" y="1167"/>
                    <a:pt x="5028" y="1124"/>
                    <a:pt x="5070" y="1062"/>
                  </a:cubicBezTo>
                  <a:cubicBezTo>
                    <a:pt x="5081" y="1036"/>
                    <a:pt x="5093" y="1014"/>
                    <a:pt x="5104" y="992"/>
                  </a:cubicBezTo>
                  <a:cubicBezTo>
                    <a:pt x="5113" y="980"/>
                    <a:pt x="5138" y="963"/>
                    <a:pt x="5160" y="963"/>
                  </a:cubicBezTo>
                  <a:cubicBezTo>
                    <a:pt x="5165" y="963"/>
                    <a:pt x="5169" y="964"/>
                    <a:pt x="5174" y="966"/>
                  </a:cubicBezTo>
                  <a:cubicBezTo>
                    <a:pt x="5185" y="966"/>
                    <a:pt x="5199" y="978"/>
                    <a:pt x="5221" y="992"/>
                  </a:cubicBezTo>
                  <a:cubicBezTo>
                    <a:pt x="5230" y="998"/>
                    <a:pt x="5242" y="1001"/>
                    <a:pt x="5253" y="1001"/>
                  </a:cubicBezTo>
                  <a:cubicBezTo>
                    <a:pt x="5285" y="1001"/>
                    <a:pt x="5320" y="982"/>
                    <a:pt x="5339" y="955"/>
                  </a:cubicBezTo>
                  <a:cubicBezTo>
                    <a:pt x="5339" y="944"/>
                    <a:pt x="5350" y="933"/>
                    <a:pt x="5350" y="922"/>
                  </a:cubicBezTo>
                  <a:cubicBezTo>
                    <a:pt x="5383" y="782"/>
                    <a:pt x="5232" y="653"/>
                    <a:pt x="5255" y="513"/>
                  </a:cubicBezTo>
                  <a:cubicBezTo>
                    <a:pt x="5269" y="444"/>
                    <a:pt x="5313" y="385"/>
                    <a:pt x="5291" y="326"/>
                  </a:cubicBezTo>
                  <a:cubicBezTo>
                    <a:pt x="5291" y="315"/>
                    <a:pt x="5291" y="304"/>
                    <a:pt x="5280" y="304"/>
                  </a:cubicBezTo>
                  <a:cubicBezTo>
                    <a:pt x="5269" y="293"/>
                    <a:pt x="5269" y="293"/>
                    <a:pt x="5255" y="293"/>
                  </a:cubicBezTo>
                  <a:cubicBezTo>
                    <a:pt x="5210" y="293"/>
                    <a:pt x="5162" y="293"/>
                    <a:pt x="5115" y="267"/>
                  </a:cubicBezTo>
                  <a:cubicBezTo>
                    <a:pt x="5093" y="256"/>
                    <a:pt x="5070" y="245"/>
                    <a:pt x="5059" y="234"/>
                  </a:cubicBezTo>
                  <a:cubicBezTo>
                    <a:pt x="4989" y="164"/>
                    <a:pt x="4919" y="105"/>
                    <a:pt x="4824" y="94"/>
                  </a:cubicBezTo>
                  <a:cubicBezTo>
                    <a:pt x="4799" y="94"/>
                    <a:pt x="4765" y="101"/>
                    <a:pt x="4732" y="101"/>
                  </a:cubicBezTo>
                  <a:cubicBezTo>
                    <a:pt x="4707" y="101"/>
                    <a:pt x="4682" y="97"/>
                    <a:pt x="4662" y="83"/>
                  </a:cubicBezTo>
                  <a:cubicBezTo>
                    <a:pt x="4640" y="58"/>
                    <a:pt x="4640" y="35"/>
                    <a:pt x="4614" y="24"/>
                  </a:cubicBezTo>
                  <a:cubicBezTo>
                    <a:pt x="4599" y="8"/>
                    <a:pt x="4581" y="1"/>
                    <a:pt x="4562" y="1"/>
                  </a:cubicBezTo>
                  <a:close/>
                </a:path>
              </a:pathLst>
            </a:custGeom>
            <a:solidFill>
              <a:srgbClr val="027CB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86;p17">
              <a:extLst>
                <a:ext uri="{FF2B5EF4-FFF2-40B4-BE49-F238E27FC236}">
                  <a16:creationId xmlns:a16="http://schemas.microsoft.com/office/drawing/2014/main" xmlns="" id="{5CDAB252-17DB-6435-8BAA-80B49CB7F913}"/>
                </a:ext>
              </a:extLst>
            </p:cNvPr>
            <p:cNvSpPr/>
            <p:nvPr/>
          </p:nvSpPr>
          <p:spPr>
            <a:xfrm>
              <a:off x="2614825" y="683400"/>
              <a:ext cx="1241281" cy="583074"/>
            </a:xfrm>
            <a:custGeom>
              <a:avLst/>
              <a:gdLst/>
              <a:ahLst/>
              <a:cxnLst/>
              <a:rect l="l" t="t" r="r" b="b"/>
              <a:pathLst>
                <a:path w="5384" h="2529" extrusionOk="0">
                  <a:moveTo>
                    <a:pt x="4581" y="48"/>
                  </a:moveTo>
                  <a:cubicBezTo>
                    <a:pt x="4592" y="48"/>
                    <a:pt x="4603" y="48"/>
                    <a:pt x="4614" y="59"/>
                  </a:cubicBezTo>
                  <a:cubicBezTo>
                    <a:pt x="4614" y="71"/>
                    <a:pt x="4625" y="71"/>
                    <a:pt x="4625" y="82"/>
                  </a:cubicBezTo>
                  <a:cubicBezTo>
                    <a:pt x="4637" y="93"/>
                    <a:pt x="4651" y="107"/>
                    <a:pt x="4662" y="118"/>
                  </a:cubicBezTo>
                  <a:cubicBezTo>
                    <a:pt x="4684" y="140"/>
                    <a:pt x="4720" y="152"/>
                    <a:pt x="4754" y="152"/>
                  </a:cubicBezTo>
                  <a:cubicBezTo>
                    <a:pt x="4776" y="152"/>
                    <a:pt x="4813" y="140"/>
                    <a:pt x="4835" y="140"/>
                  </a:cubicBezTo>
                  <a:cubicBezTo>
                    <a:pt x="4883" y="152"/>
                    <a:pt x="4916" y="163"/>
                    <a:pt x="4953" y="188"/>
                  </a:cubicBezTo>
                  <a:cubicBezTo>
                    <a:pt x="4986" y="210"/>
                    <a:pt x="5022" y="233"/>
                    <a:pt x="5056" y="269"/>
                  </a:cubicBezTo>
                  <a:cubicBezTo>
                    <a:pt x="5070" y="280"/>
                    <a:pt x="5092" y="303"/>
                    <a:pt x="5115" y="317"/>
                  </a:cubicBezTo>
                  <a:cubicBezTo>
                    <a:pt x="5140" y="328"/>
                    <a:pt x="5162" y="328"/>
                    <a:pt x="5196" y="339"/>
                  </a:cubicBezTo>
                  <a:lnTo>
                    <a:pt x="5280" y="339"/>
                  </a:lnTo>
                  <a:lnTo>
                    <a:pt x="5280" y="361"/>
                  </a:lnTo>
                  <a:cubicBezTo>
                    <a:pt x="5291" y="361"/>
                    <a:pt x="5291" y="373"/>
                    <a:pt x="5291" y="373"/>
                  </a:cubicBezTo>
                  <a:cubicBezTo>
                    <a:pt x="5291" y="398"/>
                    <a:pt x="5280" y="420"/>
                    <a:pt x="5266" y="442"/>
                  </a:cubicBezTo>
                  <a:cubicBezTo>
                    <a:pt x="5255" y="479"/>
                    <a:pt x="5243" y="501"/>
                    <a:pt x="5243" y="526"/>
                  </a:cubicBezTo>
                  <a:lnTo>
                    <a:pt x="5243" y="571"/>
                  </a:lnTo>
                  <a:cubicBezTo>
                    <a:pt x="5243" y="630"/>
                    <a:pt x="5266" y="688"/>
                    <a:pt x="5291" y="747"/>
                  </a:cubicBezTo>
                  <a:cubicBezTo>
                    <a:pt x="5313" y="806"/>
                    <a:pt x="5336" y="851"/>
                    <a:pt x="5336" y="909"/>
                  </a:cubicBezTo>
                  <a:lnTo>
                    <a:pt x="5336" y="946"/>
                  </a:lnTo>
                  <a:cubicBezTo>
                    <a:pt x="5336" y="957"/>
                    <a:pt x="5324" y="968"/>
                    <a:pt x="5324" y="968"/>
                  </a:cubicBezTo>
                  <a:cubicBezTo>
                    <a:pt x="5313" y="990"/>
                    <a:pt x="5291" y="1002"/>
                    <a:pt x="5266" y="1002"/>
                  </a:cubicBezTo>
                  <a:cubicBezTo>
                    <a:pt x="5255" y="1002"/>
                    <a:pt x="5243" y="990"/>
                    <a:pt x="5243" y="990"/>
                  </a:cubicBezTo>
                  <a:cubicBezTo>
                    <a:pt x="5232" y="990"/>
                    <a:pt x="5232" y="979"/>
                    <a:pt x="5221" y="979"/>
                  </a:cubicBezTo>
                  <a:cubicBezTo>
                    <a:pt x="5210" y="968"/>
                    <a:pt x="5196" y="968"/>
                    <a:pt x="5185" y="968"/>
                  </a:cubicBezTo>
                  <a:lnTo>
                    <a:pt x="5173" y="957"/>
                  </a:lnTo>
                  <a:cubicBezTo>
                    <a:pt x="5140" y="968"/>
                    <a:pt x="5115" y="979"/>
                    <a:pt x="5092" y="1002"/>
                  </a:cubicBezTo>
                  <a:cubicBezTo>
                    <a:pt x="5081" y="1027"/>
                    <a:pt x="5070" y="1060"/>
                    <a:pt x="5056" y="1072"/>
                  </a:cubicBezTo>
                  <a:cubicBezTo>
                    <a:pt x="5022" y="1130"/>
                    <a:pt x="4964" y="1167"/>
                    <a:pt x="4905" y="1167"/>
                  </a:cubicBezTo>
                  <a:lnTo>
                    <a:pt x="4824" y="1167"/>
                  </a:lnTo>
                  <a:cubicBezTo>
                    <a:pt x="4802" y="1167"/>
                    <a:pt x="4790" y="1178"/>
                    <a:pt x="4790" y="1189"/>
                  </a:cubicBezTo>
                  <a:cubicBezTo>
                    <a:pt x="4776" y="1200"/>
                    <a:pt x="4765" y="1211"/>
                    <a:pt x="4765" y="1225"/>
                  </a:cubicBezTo>
                  <a:lnTo>
                    <a:pt x="4765" y="1237"/>
                  </a:lnTo>
                  <a:cubicBezTo>
                    <a:pt x="4776" y="1259"/>
                    <a:pt x="4776" y="1259"/>
                    <a:pt x="4790" y="1270"/>
                  </a:cubicBezTo>
                  <a:cubicBezTo>
                    <a:pt x="4790" y="1281"/>
                    <a:pt x="4802" y="1306"/>
                    <a:pt x="4802" y="1329"/>
                  </a:cubicBezTo>
                  <a:cubicBezTo>
                    <a:pt x="4802" y="1340"/>
                    <a:pt x="4802" y="1351"/>
                    <a:pt x="4790" y="1365"/>
                  </a:cubicBezTo>
                  <a:cubicBezTo>
                    <a:pt x="4790" y="1376"/>
                    <a:pt x="4776" y="1388"/>
                    <a:pt x="4765" y="1399"/>
                  </a:cubicBezTo>
                  <a:cubicBezTo>
                    <a:pt x="4754" y="1410"/>
                    <a:pt x="4732" y="1421"/>
                    <a:pt x="4720" y="1446"/>
                  </a:cubicBezTo>
                  <a:lnTo>
                    <a:pt x="4720" y="1491"/>
                  </a:lnTo>
                  <a:cubicBezTo>
                    <a:pt x="4720" y="1516"/>
                    <a:pt x="4720" y="1539"/>
                    <a:pt x="4743" y="1561"/>
                  </a:cubicBezTo>
                  <a:cubicBezTo>
                    <a:pt x="4754" y="1586"/>
                    <a:pt x="4765" y="1608"/>
                    <a:pt x="4776" y="1631"/>
                  </a:cubicBezTo>
                  <a:cubicBezTo>
                    <a:pt x="4813" y="1667"/>
                    <a:pt x="4835" y="1715"/>
                    <a:pt x="4860" y="1759"/>
                  </a:cubicBezTo>
                  <a:cubicBezTo>
                    <a:pt x="4871" y="1771"/>
                    <a:pt x="4871" y="1785"/>
                    <a:pt x="4871" y="1796"/>
                  </a:cubicBezTo>
                  <a:lnTo>
                    <a:pt x="4871" y="1807"/>
                  </a:lnTo>
                  <a:cubicBezTo>
                    <a:pt x="4871" y="1807"/>
                    <a:pt x="4860" y="1818"/>
                    <a:pt x="4846" y="1818"/>
                  </a:cubicBezTo>
                  <a:cubicBezTo>
                    <a:pt x="4846" y="1818"/>
                    <a:pt x="4846" y="1829"/>
                    <a:pt x="4835" y="1829"/>
                  </a:cubicBezTo>
                  <a:cubicBezTo>
                    <a:pt x="4835" y="1841"/>
                    <a:pt x="4824" y="1841"/>
                    <a:pt x="4824" y="1855"/>
                  </a:cubicBezTo>
                  <a:lnTo>
                    <a:pt x="4824" y="1866"/>
                  </a:lnTo>
                  <a:cubicBezTo>
                    <a:pt x="4824" y="1888"/>
                    <a:pt x="4835" y="1899"/>
                    <a:pt x="4835" y="1910"/>
                  </a:cubicBezTo>
                  <a:cubicBezTo>
                    <a:pt x="4846" y="1910"/>
                    <a:pt x="4846" y="1924"/>
                    <a:pt x="4846" y="1924"/>
                  </a:cubicBezTo>
                  <a:lnTo>
                    <a:pt x="4835" y="1936"/>
                  </a:lnTo>
                  <a:lnTo>
                    <a:pt x="4824" y="1936"/>
                  </a:lnTo>
                  <a:cubicBezTo>
                    <a:pt x="4802" y="1947"/>
                    <a:pt x="4776" y="1947"/>
                    <a:pt x="4754" y="1958"/>
                  </a:cubicBezTo>
                  <a:cubicBezTo>
                    <a:pt x="4743" y="1958"/>
                    <a:pt x="4732" y="1969"/>
                    <a:pt x="4720" y="1980"/>
                  </a:cubicBezTo>
                  <a:cubicBezTo>
                    <a:pt x="4706" y="2006"/>
                    <a:pt x="4695" y="2017"/>
                    <a:pt x="4684" y="2039"/>
                  </a:cubicBezTo>
                  <a:cubicBezTo>
                    <a:pt x="4684" y="2050"/>
                    <a:pt x="4673" y="2075"/>
                    <a:pt x="4662" y="2075"/>
                  </a:cubicBezTo>
                  <a:cubicBezTo>
                    <a:pt x="4662" y="2087"/>
                    <a:pt x="4651" y="2087"/>
                    <a:pt x="4637" y="2098"/>
                  </a:cubicBezTo>
                  <a:cubicBezTo>
                    <a:pt x="4637" y="2098"/>
                    <a:pt x="4625" y="2109"/>
                    <a:pt x="4614" y="2120"/>
                  </a:cubicBezTo>
                  <a:cubicBezTo>
                    <a:pt x="4603" y="2134"/>
                    <a:pt x="4603" y="2157"/>
                    <a:pt x="4603" y="2168"/>
                  </a:cubicBezTo>
                  <a:lnTo>
                    <a:pt x="4603" y="2190"/>
                  </a:lnTo>
                  <a:lnTo>
                    <a:pt x="4603" y="2215"/>
                  </a:lnTo>
                  <a:cubicBezTo>
                    <a:pt x="4592" y="2226"/>
                    <a:pt x="4592" y="2226"/>
                    <a:pt x="4581" y="2238"/>
                  </a:cubicBezTo>
                  <a:cubicBezTo>
                    <a:pt x="4567" y="2238"/>
                    <a:pt x="4555" y="2249"/>
                    <a:pt x="4533" y="2260"/>
                  </a:cubicBezTo>
                  <a:cubicBezTo>
                    <a:pt x="4511" y="2274"/>
                    <a:pt x="4497" y="2296"/>
                    <a:pt x="4486" y="2319"/>
                  </a:cubicBezTo>
                  <a:cubicBezTo>
                    <a:pt x="4474" y="2344"/>
                    <a:pt x="4463" y="2366"/>
                    <a:pt x="4452" y="2389"/>
                  </a:cubicBezTo>
                  <a:cubicBezTo>
                    <a:pt x="4452" y="2400"/>
                    <a:pt x="4441" y="2425"/>
                    <a:pt x="4427" y="2436"/>
                  </a:cubicBezTo>
                  <a:cubicBezTo>
                    <a:pt x="4416" y="2447"/>
                    <a:pt x="4393" y="2447"/>
                    <a:pt x="4382" y="2447"/>
                  </a:cubicBezTo>
                  <a:lnTo>
                    <a:pt x="4371" y="2447"/>
                  </a:lnTo>
                  <a:cubicBezTo>
                    <a:pt x="4357" y="2436"/>
                    <a:pt x="4357" y="2436"/>
                    <a:pt x="4357" y="2425"/>
                  </a:cubicBezTo>
                  <a:cubicBezTo>
                    <a:pt x="4346" y="2400"/>
                    <a:pt x="4346" y="2377"/>
                    <a:pt x="4335" y="2355"/>
                  </a:cubicBezTo>
                  <a:cubicBezTo>
                    <a:pt x="4335" y="2319"/>
                    <a:pt x="4323" y="2296"/>
                    <a:pt x="4301" y="2274"/>
                  </a:cubicBezTo>
                  <a:cubicBezTo>
                    <a:pt x="4276" y="2260"/>
                    <a:pt x="4265" y="2249"/>
                    <a:pt x="4253" y="2249"/>
                  </a:cubicBezTo>
                  <a:cubicBezTo>
                    <a:pt x="4242" y="2238"/>
                    <a:pt x="4231" y="2238"/>
                    <a:pt x="4231" y="2238"/>
                  </a:cubicBezTo>
                  <a:cubicBezTo>
                    <a:pt x="4217" y="2226"/>
                    <a:pt x="4217" y="2215"/>
                    <a:pt x="4206" y="2204"/>
                  </a:cubicBezTo>
                  <a:cubicBezTo>
                    <a:pt x="4206" y="2190"/>
                    <a:pt x="4195" y="2179"/>
                    <a:pt x="4184" y="2168"/>
                  </a:cubicBezTo>
                  <a:cubicBezTo>
                    <a:pt x="4161" y="2157"/>
                    <a:pt x="4136" y="2157"/>
                    <a:pt x="4125" y="2157"/>
                  </a:cubicBezTo>
                  <a:lnTo>
                    <a:pt x="3742" y="2157"/>
                  </a:lnTo>
                  <a:cubicBezTo>
                    <a:pt x="3705" y="2157"/>
                    <a:pt x="3672" y="2157"/>
                    <a:pt x="3647" y="2145"/>
                  </a:cubicBezTo>
                  <a:cubicBezTo>
                    <a:pt x="3636" y="2145"/>
                    <a:pt x="3624" y="2134"/>
                    <a:pt x="3613" y="2120"/>
                  </a:cubicBezTo>
                  <a:lnTo>
                    <a:pt x="3577" y="2120"/>
                  </a:lnTo>
                  <a:cubicBezTo>
                    <a:pt x="3543" y="2120"/>
                    <a:pt x="3518" y="2120"/>
                    <a:pt x="3496" y="2134"/>
                  </a:cubicBezTo>
                  <a:cubicBezTo>
                    <a:pt x="3473" y="2145"/>
                    <a:pt x="3448" y="2145"/>
                    <a:pt x="3437" y="2145"/>
                  </a:cubicBezTo>
                  <a:lnTo>
                    <a:pt x="3403" y="2145"/>
                  </a:lnTo>
                  <a:cubicBezTo>
                    <a:pt x="3403" y="2134"/>
                    <a:pt x="3392" y="2134"/>
                    <a:pt x="3378" y="2120"/>
                  </a:cubicBezTo>
                  <a:cubicBezTo>
                    <a:pt x="3367" y="2109"/>
                    <a:pt x="3356" y="2087"/>
                    <a:pt x="3345" y="2075"/>
                  </a:cubicBezTo>
                  <a:cubicBezTo>
                    <a:pt x="3308" y="2039"/>
                    <a:pt x="3252" y="2017"/>
                    <a:pt x="3194" y="2017"/>
                  </a:cubicBezTo>
                  <a:lnTo>
                    <a:pt x="3169" y="2017"/>
                  </a:lnTo>
                  <a:cubicBezTo>
                    <a:pt x="3159" y="2017"/>
                    <a:pt x="3140" y="2008"/>
                    <a:pt x="3120" y="2006"/>
                  </a:cubicBezTo>
                  <a:lnTo>
                    <a:pt x="3120" y="2006"/>
                  </a:lnTo>
                  <a:cubicBezTo>
                    <a:pt x="3113" y="1979"/>
                    <a:pt x="3091" y="1953"/>
                    <a:pt x="3065" y="1936"/>
                  </a:cubicBezTo>
                  <a:cubicBezTo>
                    <a:pt x="3054" y="1936"/>
                    <a:pt x="3043" y="1924"/>
                    <a:pt x="3018" y="1924"/>
                  </a:cubicBezTo>
                  <a:cubicBezTo>
                    <a:pt x="2995" y="1924"/>
                    <a:pt x="2973" y="1936"/>
                    <a:pt x="2959" y="1958"/>
                  </a:cubicBezTo>
                  <a:cubicBezTo>
                    <a:pt x="2948" y="1969"/>
                    <a:pt x="2948" y="1969"/>
                    <a:pt x="2936" y="1980"/>
                  </a:cubicBezTo>
                  <a:lnTo>
                    <a:pt x="2936" y="1994"/>
                  </a:lnTo>
                  <a:lnTo>
                    <a:pt x="2889" y="1994"/>
                  </a:lnTo>
                  <a:cubicBezTo>
                    <a:pt x="2844" y="1994"/>
                    <a:pt x="2797" y="1980"/>
                    <a:pt x="2749" y="1958"/>
                  </a:cubicBezTo>
                  <a:cubicBezTo>
                    <a:pt x="2749" y="1958"/>
                    <a:pt x="2738" y="1947"/>
                    <a:pt x="2727" y="1947"/>
                  </a:cubicBezTo>
                  <a:lnTo>
                    <a:pt x="2727" y="1936"/>
                  </a:lnTo>
                  <a:lnTo>
                    <a:pt x="2727" y="1924"/>
                  </a:lnTo>
                  <a:lnTo>
                    <a:pt x="2738" y="1924"/>
                  </a:lnTo>
                  <a:cubicBezTo>
                    <a:pt x="2738" y="1910"/>
                    <a:pt x="2749" y="1910"/>
                    <a:pt x="2763" y="1899"/>
                  </a:cubicBezTo>
                  <a:cubicBezTo>
                    <a:pt x="2763" y="1888"/>
                    <a:pt x="2774" y="1877"/>
                    <a:pt x="2774" y="1866"/>
                  </a:cubicBezTo>
                  <a:cubicBezTo>
                    <a:pt x="2774" y="1855"/>
                    <a:pt x="2763" y="1829"/>
                    <a:pt x="2749" y="1818"/>
                  </a:cubicBezTo>
                  <a:cubicBezTo>
                    <a:pt x="2727" y="1807"/>
                    <a:pt x="2704" y="1807"/>
                    <a:pt x="2693" y="1796"/>
                  </a:cubicBezTo>
                  <a:lnTo>
                    <a:pt x="2623" y="1796"/>
                  </a:lnTo>
                  <a:cubicBezTo>
                    <a:pt x="2598" y="1796"/>
                    <a:pt x="2565" y="1796"/>
                    <a:pt x="2539" y="1807"/>
                  </a:cubicBezTo>
                  <a:cubicBezTo>
                    <a:pt x="2495" y="1818"/>
                    <a:pt x="2447" y="1866"/>
                    <a:pt x="2436" y="1924"/>
                  </a:cubicBezTo>
                  <a:cubicBezTo>
                    <a:pt x="2436" y="1947"/>
                    <a:pt x="2436" y="1958"/>
                    <a:pt x="2425" y="1969"/>
                  </a:cubicBezTo>
                  <a:cubicBezTo>
                    <a:pt x="2425" y="1994"/>
                    <a:pt x="2400" y="2006"/>
                    <a:pt x="2388" y="2006"/>
                  </a:cubicBezTo>
                  <a:lnTo>
                    <a:pt x="2377" y="2006"/>
                  </a:lnTo>
                  <a:cubicBezTo>
                    <a:pt x="2366" y="1994"/>
                    <a:pt x="2355" y="1994"/>
                    <a:pt x="2330" y="1994"/>
                  </a:cubicBezTo>
                  <a:cubicBezTo>
                    <a:pt x="2307" y="1994"/>
                    <a:pt x="2296" y="1994"/>
                    <a:pt x="2285" y="2006"/>
                  </a:cubicBezTo>
                  <a:cubicBezTo>
                    <a:pt x="2274" y="2017"/>
                    <a:pt x="2274" y="2028"/>
                    <a:pt x="2260" y="2028"/>
                  </a:cubicBezTo>
                  <a:cubicBezTo>
                    <a:pt x="2215" y="2087"/>
                    <a:pt x="2167" y="2134"/>
                    <a:pt x="2109" y="2168"/>
                  </a:cubicBezTo>
                  <a:cubicBezTo>
                    <a:pt x="2098" y="2179"/>
                    <a:pt x="2098" y="2190"/>
                    <a:pt x="2086" y="2190"/>
                  </a:cubicBezTo>
                  <a:cubicBezTo>
                    <a:pt x="2075" y="2190"/>
                    <a:pt x="2064" y="2204"/>
                    <a:pt x="2064" y="2204"/>
                  </a:cubicBezTo>
                  <a:cubicBezTo>
                    <a:pt x="2050" y="2204"/>
                    <a:pt x="2039" y="2190"/>
                    <a:pt x="2028" y="2179"/>
                  </a:cubicBezTo>
                  <a:cubicBezTo>
                    <a:pt x="2016" y="2179"/>
                    <a:pt x="2005" y="2168"/>
                    <a:pt x="1994" y="2157"/>
                  </a:cubicBezTo>
                  <a:cubicBezTo>
                    <a:pt x="1969" y="2145"/>
                    <a:pt x="1958" y="2145"/>
                    <a:pt x="1935" y="2145"/>
                  </a:cubicBezTo>
                  <a:cubicBezTo>
                    <a:pt x="1910" y="2145"/>
                    <a:pt x="1877" y="2157"/>
                    <a:pt x="1854" y="2157"/>
                  </a:cubicBezTo>
                  <a:cubicBezTo>
                    <a:pt x="1840" y="2157"/>
                    <a:pt x="1840" y="2157"/>
                    <a:pt x="1829" y="2145"/>
                  </a:cubicBezTo>
                  <a:lnTo>
                    <a:pt x="1818" y="2145"/>
                  </a:lnTo>
                  <a:cubicBezTo>
                    <a:pt x="1807" y="2134"/>
                    <a:pt x="1807" y="2120"/>
                    <a:pt x="1796" y="2109"/>
                  </a:cubicBezTo>
                  <a:cubicBezTo>
                    <a:pt x="1796" y="2098"/>
                    <a:pt x="1796" y="2075"/>
                    <a:pt x="1784" y="2064"/>
                  </a:cubicBezTo>
                  <a:cubicBezTo>
                    <a:pt x="1770" y="2039"/>
                    <a:pt x="1748" y="2017"/>
                    <a:pt x="1726" y="2006"/>
                  </a:cubicBezTo>
                  <a:cubicBezTo>
                    <a:pt x="1714" y="1994"/>
                    <a:pt x="1689" y="1980"/>
                    <a:pt x="1689" y="1969"/>
                  </a:cubicBezTo>
                  <a:lnTo>
                    <a:pt x="1678" y="1958"/>
                  </a:lnTo>
                  <a:cubicBezTo>
                    <a:pt x="1678" y="1947"/>
                    <a:pt x="1667" y="1947"/>
                    <a:pt x="1656" y="1936"/>
                  </a:cubicBezTo>
                  <a:cubicBezTo>
                    <a:pt x="1645" y="1924"/>
                    <a:pt x="1631" y="1924"/>
                    <a:pt x="1619" y="1924"/>
                  </a:cubicBezTo>
                  <a:cubicBezTo>
                    <a:pt x="1597" y="1936"/>
                    <a:pt x="1586" y="1936"/>
                    <a:pt x="1575" y="1936"/>
                  </a:cubicBezTo>
                  <a:cubicBezTo>
                    <a:pt x="1550" y="1947"/>
                    <a:pt x="1538" y="1958"/>
                    <a:pt x="1527" y="1958"/>
                  </a:cubicBezTo>
                  <a:cubicBezTo>
                    <a:pt x="1527" y="1969"/>
                    <a:pt x="1516" y="1969"/>
                    <a:pt x="1505" y="1969"/>
                  </a:cubicBezTo>
                  <a:lnTo>
                    <a:pt x="1480" y="1969"/>
                  </a:lnTo>
                  <a:cubicBezTo>
                    <a:pt x="1376" y="1980"/>
                    <a:pt x="1281" y="2064"/>
                    <a:pt x="1270" y="2168"/>
                  </a:cubicBezTo>
                  <a:cubicBezTo>
                    <a:pt x="1259" y="2204"/>
                    <a:pt x="1259" y="2226"/>
                    <a:pt x="1248" y="2238"/>
                  </a:cubicBezTo>
                  <a:cubicBezTo>
                    <a:pt x="1236" y="2274"/>
                    <a:pt x="1211" y="2285"/>
                    <a:pt x="1178" y="2307"/>
                  </a:cubicBezTo>
                  <a:cubicBezTo>
                    <a:pt x="1141" y="2319"/>
                    <a:pt x="1119" y="2344"/>
                    <a:pt x="1097" y="2355"/>
                  </a:cubicBezTo>
                  <a:cubicBezTo>
                    <a:pt x="1060" y="2366"/>
                    <a:pt x="1038" y="2389"/>
                    <a:pt x="1001" y="2400"/>
                  </a:cubicBezTo>
                  <a:cubicBezTo>
                    <a:pt x="932" y="2447"/>
                    <a:pt x="850" y="2484"/>
                    <a:pt x="781" y="2484"/>
                  </a:cubicBezTo>
                  <a:lnTo>
                    <a:pt x="769" y="2484"/>
                  </a:lnTo>
                  <a:cubicBezTo>
                    <a:pt x="688" y="2484"/>
                    <a:pt x="618" y="2436"/>
                    <a:pt x="548" y="2389"/>
                  </a:cubicBezTo>
                  <a:cubicBezTo>
                    <a:pt x="510" y="2380"/>
                    <a:pt x="481" y="2363"/>
                    <a:pt x="445" y="2357"/>
                  </a:cubicBezTo>
                  <a:lnTo>
                    <a:pt x="445" y="2357"/>
                  </a:lnTo>
                  <a:cubicBezTo>
                    <a:pt x="450" y="2341"/>
                    <a:pt x="460" y="2327"/>
                    <a:pt x="467" y="2319"/>
                  </a:cubicBezTo>
                  <a:cubicBezTo>
                    <a:pt x="479" y="2307"/>
                    <a:pt x="490" y="2307"/>
                    <a:pt x="512" y="2307"/>
                  </a:cubicBezTo>
                  <a:lnTo>
                    <a:pt x="537" y="2307"/>
                  </a:lnTo>
                  <a:cubicBezTo>
                    <a:pt x="548" y="2307"/>
                    <a:pt x="560" y="2307"/>
                    <a:pt x="560" y="2296"/>
                  </a:cubicBezTo>
                  <a:cubicBezTo>
                    <a:pt x="571" y="2296"/>
                    <a:pt x="582" y="2285"/>
                    <a:pt x="582" y="2285"/>
                  </a:cubicBezTo>
                  <a:cubicBezTo>
                    <a:pt x="582" y="2274"/>
                    <a:pt x="582" y="2274"/>
                    <a:pt x="596" y="2274"/>
                  </a:cubicBezTo>
                  <a:cubicBezTo>
                    <a:pt x="596" y="2260"/>
                    <a:pt x="607" y="2260"/>
                    <a:pt x="618" y="2249"/>
                  </a:cubicBezTo>
                  <a:cubicBezTo>
                    <a:pt x="641" y="2249"/>
                    <a:pt x="652" y="2249"/>
                    <a:pt x="677" y="2226"/>
                  </a:cubicBezTo>
                  <a:cubicBezTo>
                    <a:pt x="699" y="2215"/>
                    <a:pt x="711" y="2179"/>
                    <a:pt x="722" y="2157"/>
                  </a:cubicBezTo>
                  <a:cubicBezTo>
                    <a:pt x="722" y="2145"/>
                    <a:pt x="736" y="2134"/>
                    <a:pt x="736" y="2134"/>
                  </a:cubicBezTo>
                  <a:cubicBezTo>
                    <a:pt x="747" y="2120"/>
                    <a:pt x="747" y="2120"/>
                    <a:pt x="758" y="2109"/>
                  </a:cubicBezTo>
                  <a:lnTo>
                    <a:pt x="781" y="2109"/>
                  </a:lnTo>
                  <a:cubicBezTo>
                    <a:pt x="806" y="2109"/>
                    <a:pt x="817" y="2098"/>
                    <a:pt x="839" y="2087"/>
                  </a:cubicBezTo>
                  <a:cubicBezTo>
                    <a:pt x="850" y="2075"/>
                    <a:pt x="862" y="2064"/>
                    <a:pt x="876" y="2039"/>
                  </a:cubicBezTo>
                  <a:cubicBezTo>
                    <a:pt x="876" y="2017"/>
                    <a:pt x="876" y="1980"/>
                    <a:pt x="887" y="1958"/>
                  </a:cubicBezTo>
                  <a:cubicBezTo>
                    <a:pt x="887" y="1947"/>
                    <a:pt x="887" y="1947"/>
                    <a:pt x="898" y="1936"/>
                  </a:cubicBezTo>
                  <a:cubicBezTo>
                    <a:pt x="898" y="1936"/>
                    <a:pt x="898" y="1924"/>
                    <a:pt x="909" y="1924"/>
                  </a:cubicBezTo>
                  <a:lnTo>
                    <a:pt x="920" y="1924"/>
                  </a:lnTo>
                  <a:lnTo>
                    <a:pt x="920" y="1910"/>
                  </a:lnTo>
                  <a:lnTo>
                    <a:pt x="920" y="1877"/>
                  </a:lnTo>
                  <a:cubicBezTo>
                    <a:pt x="920" y="1818"/>
                    <a:pt x="887" y="1759"/>
                    <a:pt x="839" y="1737"/>
                  </a:cubicBezTo>
                  <a:cubicBezTo>
                    <a:pt x="817" y="1726"/>
                    <a:pt x="806" y="1726"/>
                    <a:pt x="792" y="1715"/>
                  </a:cubicBezTo>
                  <a:lnTo>
                    <a:pt x="781" y="1715"/>
                  </a:lnTo>
                  <a:lnTo>
                    <a:pt x="769" y="1701"/>
                  </a:lnTo>
                  <a:lnTo>
                    <a:pt x="769" y="1678"/>
                  </a:lnTo>
                  <a:lnTo>
                    <a:pt x="769" y="1656"/>
                  </a:lnTo>
                  <a:cubicBezTo>
                    <a:pt x="758" y="1631"/>
                    <a:pt x="747" y="1620"/>
                    <a:pt x="736" y="1620"/>
                  </a:cubicBezTo>
                  <a:cubicBezTo>
                    <a:pt x="736" y="1597"/>
                    <a:pt x="722" y="1586"/>
                    <a:pt x="711" y="1561"/>
                  </a:cubicBezTo>
                  <a:cubicBezTo>
                    <a:pt x="699" y="1550"/>
                    <a:pt x="677" y="1550"/>
                    <a:pt x="666" y="1550"/>
                  </a:cubicBezTo>
                  <a:cubicBezTo>
                    <a:pt x="652" y="1550"/>
                    <a:pt x="630" y="1550"/>
                    <a:pt x="630" y="1561"/>
                  </a:cubicBezTo>
                  <a:cubicBezTo>
                    <a:pt x="607" y="1561"/>
                    <a:pt x="607" y="1586"/>
                    <a:pt x="596" y="1586"/>
                  </a:cubicBezTo>
                  <a:cubicBezTo>
                    <a:pt x="582" y="1597"/>
                    <a:pt x="582" y="1608"/>
                    <a:pt x="582" y="1608"/>
                  </a:cubicBezTo>
                  <a:lnTo>
                    <a:pt x="571" y="1608"/>
                  </a:lnTo>
                  <a:cubicBezTo>
                    <a:pt x="560" y="1608"/>
                    <a:pt x="560" y="1608"/>
                    <a:pt x="548" y="1597"/>
                  </a:cubicBezTo>
                  <a:cubicBezTo>
                    <a:pt x="537" y="1586"/>
                    <a:pt x="526" y="1575"/>
                    <a:pt x="526" y="1561"/>
                  </a:cubicBezTo>
                  <a:cubicBezTo>
                    <a:pt x="512" y="1550"/>
                    <a:pt x="501" y="1539"/>
                    <a:pt x="490" y="1516"/>
                  </a:cubicBezTo>
                  <a:cubicBezTo>
                    <a:pt x="479" y="1505"/>
                    <a:pt x="456" y="1480"/>
                    <a:pt x="431" y="1480"/>
                  </a:cubicBezTo>
                  <a:lnTo>
                    <a:pt x="361" y="1480"/>
                  </a:lnTo>
                  <a:cubicBezTo>
                    <a:pt x="350" y="1480"/>
                    <a:pt x="350" y="1469"/>
                    <a:pt x="339" y="1457"/>
                  </a:cubicBezTo>
                  <a:cubicBezTo>
                    <a:pt x="339" y="1446"/>
                    <a:pt x="328" y="1435"/>
                    <a:pt x="328" y="1435"/>
                  </a:cubicBezTo>
                  <a:cubicBezTo>
                    <a:pt x="316" y="1421"/>
                    <a:pt x="316" y="1410"/>
                    <a:pt x="291" y="1410"/>
                  </a:cubicBezTo>
                  <a:lnTo>
                    <a:pt x="246" y="1410"/>
                  </a:lnTo>
                  <a:lnTo>
                    <a:pt x="246" y="1399"/>
                  </a:lnTo>
                  <a:lnTo>
                    <a:pt x="246" y="1376"/>
                  </a:lnTo>
                  <a:cubicBezTo>
                    <a:pt x="232" y="1365"/>
                    <a:pt x="232" y="1351"/>
                    <a:pt x="232" y="1340"/>
                  </a:cubicBezTo>
                  <a:cubicBezTo>
                    <a:pt x="221" y="1318"/>
                    <a:pt x="210" y="1306"/>
                    <a:pt x="199" y="1295"/>
                  </a:cubicBezTo>
                  <a:cubicBezTo>
                    <a:pt x="188" y="1281"/>
                    <a:pt x="177" y="1281"/>
                    <a:pt x="177" y="1270"/>
                  </a:cubicBezTo>
                  <a:lnTo>
                    <a:pt x="177" y="1248"/>
                  </a:lnTo>
                  <a:cubicBezTo>
                    <a:pt x="188" y="1237"/>
                    <a:pt x="199" y="1225"/>
                    <a:pt x="210" y="1211"/>
                  </a:cubicBezTo>
                  <a:cubicBezTo>
                    <a:pt x="221" y="1189"/>
                    <a:pt x="232" y="1178"/>
                    <a:pt x="232" y="1155"/>
                  </a:cubicBezTo>
                  <a:cubicBezTo>
                    <a:pt x="232" y="1141"/>
                    <a:pt x="232" y="1141"/>
                    <a:pt x="221" y="1130"/>
                  </a:cubicBezTo>
                  <a:cubicBezTo>
                    <a:pt x="221" y="1108"/>
                    <a:pt x="199" y="1097"/>
                    <a:pt x="188" y="1086"/>
                  </a:cubicBezTo>
                  <a:cubicBezTo>
                    <a:pt x="163" y="1072"/>
                    <a:pt x="140" y="1072"/>
                    <a:pt x="118" y="1072"/>
                  </a:cubicBezTo>
                  <a:cubicBezTo>
                    <a:pt x="107" y="1072"/>
                    <a:pt x="93" y="1060"/>
                    <a:pt x="70" y="1060"/>
                  </a:cubicBezTo>
                  <a:cubicBezTo>
                    <a:pt x="59" y="1060"/>
                    <a:pt x="59" y="1049"/>
                    <a:pt x="48" y="1038"/>
                  </a:cubicBezTo>
                  <a:cubicBezTo>
                    <a:pt x="48" y="1027"/>
                    <a:pt x="59" y="1016"/>
                    <a:pt x="59" y="1002"/>
                  </a:cubicBezTo>
                  <a:cubicBezTo>
                    <a:pt x="70" y="979"/>
                    <a:pt x="81" y="968"/>
                    <a:pt x="81" y="946"/>
                  </a:cubicBezTo>
                  <a:cubicBezTo>
                    <a:pt x="87" y="938"/>
                    <a:pt x="90" y="935"/>
                    <a:pt x="91" y="932"/>
                  </a:cubicBezTo>
                  <a:lnTo>
                    <a:pt x="118" y="932"/>
                  </a:lnTo>
                  <a:lnTo>
                    <a:pt x="129" y="921"/>
                  </a:lnTo>
                  <a:cubicBezTo>
                    <a:pt x="129" y="909"/>
                    <a:pt x="140" y="909"/>
                    <a:pt x="140" y="898"/>
                  </a:cubicBezTo>
                  <a:lnTo>
                    <a:pt x="140" y="887"/>
                  </a:lnTo>
                  <a:lnTo>
                    <a:pt x="316" y="887"/>
                  </a:lnTo>
                  <a:cubicBezTo>
                    <a:pt x="316" y="887"/>
                    <a:pt x="328" y="887"/>
                    <a:pt x="328" y="876"/>
                  </a:cubicBezTo>
                  <a:cubicBezTo>
                    <a:pt x="328" y="876"/>
                    <a:pt x="339" y="876"/>
                    <a:pt x="339" y="862"/>
                  </a:cubicBezTo>
                  <a:cubicBezTo>
                    <a:pt x="350" y="862"/>
                    <a:pt x="361" y="851"/>
                    <a:pt x="372" y="839"/>
                  </a:cubicBezTo>
                  <a:cubicBezTo>
                    <a:pt x="386" y="828"/>
                    <a:pt x="397" y="817"/>
                    <a:pt x="409" y="817"/>
                  </a:cubicBezTo>
                  <a:lnTo>
                    <a:pt x="431" y="817"/>
                  </a:lnTo>
                  <a:cubicBezTo>
                    <a:pt x="456" y="806"/>
                    <a:pt x="467" y="806"/>
                    <a:pt x="490" y="806"/>
                  </a:cubicBezTo>
                  <a:cubicBezTo>
                    <a:pt x="501" y="792"/>
                    <a:pt x="526" y="781"/>
                    <a:pt x="537" y="770"/>
                  </a:cubicBezTo>
                  <a:cubicBezTo>
                    <a:pt x="560" y="758"/>
                    <a:pt x="560" y="747"/>
                    <a:pt x="571" y="747"/>
                  </a:cubicBezTo>
                  <a:lnTo>
                    <a:pt x="571" y="736"/>
                  </a:lnTo>
                  <a:lnTo>
                    <a:pt x="596" y="736"/>
                  </a:lnTo>
                  <a:cubicBezTo>
                    <a:pt x="596" y="747"/>
                    <a:pt x="607" y="747"/>
                    <a:pt x="607" y="758"/>
                  </a:cubicBezTo>
                  <a:cubicBezTo>
                    <a:pt x="618" y="770"/>
                    <a:pt x="618" y="781"/>
                    <a:pt x="630" y="792"/>
                  </a:cubicBezTo>
                  <a:cubicBezTo>
                    <a:pt x="641" y="806"/>
                    <a:pt x="652" y="806"/>
                    <a:pt x="666" y="806"/>
                  </a:cubicBezTo>
                  <a:cubicBezTo>
                    <a:pt x="688" y="806"/>
                    <a:pt x="699" y="806"/>
                    <a:pt x="699" y="792"/>
                  </a:cubicBezTo>
                  <a:cubicBezTo>
                    <a:pt x="711" y="792"/>
                    <a:pt x="722" y="781"/>
                    <a:pt x="722" y="781"/>
                  </a:cubicBezTo>
                  <a:lnTo>
                    <a:pt x="736" y="781"/>
                  </a:lnTo>
                  <a:cubicBezTo>
                    <a:pt x="747" y="781"/>
                    <a:pt x="781" y="781"/>
                    <a:pt x="817" y="758"/>
                  </a:cubicBezTo>
                  <a:cubicBezTo>
                    <a:pt x="828" y="758"/>
                    <a:pt x="839" y="747"/>
                    <a:pt x="839" y="736"/>
                  </a:cubicBezTo>
                  <a:cubicBezTo>
                    <a:pt x="850" y="736"/>
                    <a:pt x="850" y="722"/>
                    <a:pt x="850" y="711"/>
                  </a:cubicBezTo>
                  <a:cubicBezTo>
                    <a:pt x="850" y="700"/>
                    <a:pt x="839" y="677"/>
                    <a:pt x="839" y="666"/>
                  </a:cubicBezTo>
                  <a:cubicBezTo>
                    <a:pt x="828" y="652"/>
                    <a:pt x="828" y="641"/>
                    <a:pt x="828" y="641"/>
                  </a:cubicBezTo>
                  <a:lnTo>
                    <a:pt x="828" y="630"/>
                  </a:lnTo>
                  <a:cubicBezTo>
                    <a:pt x="828" y="630"/>
                    <a:pt x="839" y="619"/>
                    <a:pt x="850" y="607"/>
                  </a:cubicBezTo>
                  <a:cubicBezTo>
                    <a:pt x="862" y="607"/>
                    <a:pt x="876" y="607"/>
                    <a:pt x="887" y="596"/>
                  </a:cubicBezTo>
                  <a:cubicBezTo>
                    <a:pt x="887" y="596"/>
                    <a:pt x="898" y="607"/>
                    <a:pt x="909" y="607"/>
                  </a:cubicBezTo>
                  <a:cubicBezTo>
                    <a:pt x="920" y="607"/>
                    <a:pt x="946" y="619"/>
                    <a:pt x="957" y="619"/>
                  </a:cubicBezTo>
                  <a:cubicBezTo>
                    <a:pt x="979" y="619"/>
                    <a:pt x="990" y="630"/>
                    <a:pt x="1001" y="630"/>
                  </a:cubicBezTo>
                  <a:lnTo>
                    <a:pt x="1015" y="630"/>
                  </a:lnTo>
                  <a:cubicBezTo>
                    <a:pt x="1027" y="630"/>
                    <a:pt x="1049" y="619"/>
                    <a:pt x="1060" y="619"/>
                  </a:cubicBezTo>
                  <a:cubicBezTo>
                    <a:pt x="1060" y="607"/>
                    <a:pt x="1071" y="596"/>
                    <a:pt x="1071" y="596"/>
                  </a:cubicBezTo>
                  <a:cubicBezTo>
                    <a:pt x="1085" y="582"/>
                    <a:pt x="1119" y="560"/>
                    <a:pt x="1166" y="560"/>
                  </a:cubicBezTo>
                  <a:lnTo>
                    <a:pt x="1189" y="560"/>
                  </a:lnTo>
                  <a:lnTo>
                    <a:pt x="1200" y="571"/>
                  </a:lnTo>
                  <a:cubicBezTo>
                    <a:pt x="1200" y="571"/>
                    <a:pt x="1211" y="582"/>
                    <a:pt x="1211" y="596"/>
                  </a:cubicBezTo>
                  <a:cubicBezTo>
                    <a:pt x="1236" y="607"/>
                    <a:pt x="1248" y="619"/>
                    <a:pt x="1259" y="630"/>
                  </a:cubicBezTo>
                  <a:cubicBezTo>
                    <a:pt x="1281" y="630"/>
                    <a:pt x="1295" y="641"/>
                    <a:pt x="1329" y="641"/>
                  </a:cubicBezTo>
                  <a:lnTo>
                    <a:pt x="1376" y="641"/>
                  </a:lnTo>
                  <a:cubicBezTo>
                    <a:pt x="1387" y="630"/>
                    <a:pt x="1399" y="630"/>
                    <a:pt x="1399" y="619"/>
                  </a:cubicBezTo>
                  <a:lnTo>
                    <a:pt x="1410" y="619"/>
                  </a:lnTo>
                  <a:cubicBezTo>
                    <a:pt x="1410" y="619"/>
                    <a:pt x="1421" y="619"/>
                    <a:pt x="1435" y="630"/>
                  </a:cubicBezTo>
                  <a:cubicBezTo>
                    <a:pt x="1446" y="630"/>
                    <a:pt x="1457" y="641"/>
                    <a:pt x="1468" y="641"/>
                  </a:cubicBezTo>
                  <a:cubicBezTo>
                    <a:pt x="1480" y="652"/>
                    <a:pt x="1480" y="652"/>
                    <a:pt x="1491" y="652"/>
                  </a:cubicBezTo>
                  <a:cubicBezTo>
                    <a:pt x="1505" y="652"/>
                    <a:pt x="1516" y="641"/>
                    <a:pt x="1516" y="641"/>
                  </a:cubicBezTo>
                  <a:cubicBezTo>
                    <a:pt x="1527" y="630"/>
                    <a:pt x="1538" y="619"/>
                    <a:pt x="1538" y="607"/>
                  </a:cubicBezTo>
                  <a:cubicBezTo>
                    <a:pt x="1550" y="596"/>
                    <a:pt x="1550" y="582"/>
                    <a:pt x="1550" y="582"/>
                  </a:cubicBezTo>
                  <a:cubicBezTo>
                    <a:pt x="1561" y="571"/>
                    <a:pt x="1575" y="560"/>
                    <a:pt x="1586" y="560"/>
                  </a:cubicBezTo>
                  <a:cubicBezTo>
                    <a:pt x="1597" y="560"/>
                    <a:pt x="1608" y="549"/>
                    <a:pt x="1619" y="549"/>
                  </a:cubicBezTo>
                  <a:cubicBezTo>
                    <a:pt x="1631" y="549"/>
                    <a:pt x="1645" y="560"/>
                    <a:pt x="1656" y="560"/>
                  </a:cubicBezTo>
                  <a:cubicBezTo>
                    <a:pt x="1667" y="571"/>
                    <a:pt x="1667" y="571"/>
                    <a:pt x="1667" y="582"/>
                  </a:cubicBezTo>
                  <a:cubicBezTo>
                    <a:pt x="1678" y="607"/>
                    <a:pt x="1678" y="607"/>
                    <a:pt x="1678" y="630"/>
                  </a:cubicBezTo>
                  <a:cubicBezTo>
                    <a:pt x="1678" y="641"/>
                    <a:pt x="1689" y="666"/>
                    <a:pt x="1701" y="700"/>
                  </a:cubicBezTo>
                  <a:cubicBezTo>
                    <a:pt x="1714" y="736"/>
                    <a:pt x="1726" y="758"/>
                    <a:pt x="1737" y="781"/>
                  </a:cubicBezTo>
                  <a:cubicBezTo>
                    <a:pt x="1737" y="792"/>
                    <a:pt x="1748" y="806"/>
                    <a:pt x="1748" y="806"/>
                  </a:cubicBezTo>
                  <a:lnTo>
                    <a:pt x="1759" y="817"/>
                  </a:lnTo>
                  <a:cubicBezTo>
                    <a:pt x="1759" y="817"/>
                    <a:pt x="1770" y="828"/>
                    <a:pt x="1784" y="828"/>
                  </a:cubicBezTo>
                  <a:lnTo>
                    <a:pt x="1854" y="828"/>
                  </a:lnTo>
                  <a:cubicBezTo>
                    <a:pt x="1865" y="839"/>
                    <a:pt x="1888" y="839"/>
                    <a:pt x="1899" y="839"/>
                  </a:cubicBezTo>
                  <a:cubicBezTo>
                    <a:pt x="1910" y="839"/>
                    <a:pt x="1935" y="851"/>
                    <a:pt x="1958" y="851"/>
                  </a:cubicBezTo>
                  <a:cubicBezTo>
                    <a:pt x="1969" y="851"/>
                    <a:pt x="1980" y="862"/>
                    <a:pt x="1980" y="862"/>
                  </a:cubicBezTo>
                  <a:cubicBezTo>
                    <a:pt x="1980" y="862"/>
                    <a:pt x="1994" y="876"/>
                    <a:pt x="1994" y="887"/>
                  </a:cubicBezTo>
                  <a:cubicBezTo>
                    <a:pt x="2005" y="898"/>
                    <a:pt x="2005" y="921"/>
                    <a:pt x="2028" y="932"/>
                  </a:cubicBezTo>
                  <a:cubicBezTo>
                    <a:pt x="2039" y="957"/>
                    <a:pt x="2050" y="968"/>
                    <a:pt x="2064" y="979"/>
                  </a:cubicBezTo>
                  <a:lnTo>
                    <a:pt x="2109" y="979"/>
                  </a:lnTo>
                  <a:cubicBezTo>
                    <a:pt x="2120" y="979"/>
                    <a:pt x="2134" y="979"/>
                    <a:pt x="2145" y="968"/>
                  </a:cubicBezTo>
                  <a:cubicBezTo>
                    <a:pt x="2156" y="957"/>
                    <a:pt x="2167" y="946"/>
                    <a:pt x="2179" y="932"/>
                  </a:cubicBezTo>
                  <a:cubicBezTo>
                    <a:pt x="2190" y="921"/>
                    <a:pt x="2190" y="909"/>
                    <a:pt x="2204" y="909"/>
                  </a:cubicBezTo>
                  <a:lnTo>
                    <a:pt x="2215" y="898"/>
                  </a:lnTo>
                  <a:cubicBezTo>
                    <a:pt x="2226" y="898"/>
                    <a:pt x="2237" y="887"/>
                    <a:pt x="2249" y="887"/>
                  </a:cubicBezTo>
                  <a:lnTo>
                    <a:pt x="2296" y="887"/>
                  </a:lnTo>
                  <a:cubicBezTo>
                    <a:pt x="2307" y="887"/>
                    <a:pt x="2307" y="898"/>
                    <a:pt x="2318" y="898"/>
                  </a:cubicBezTo>
                  <a:cubicBezTo>
                    <a:pt x="2318" y="909"/>
                    <a:pt x="2330" y="921"/>
                    <a:pt x="2344" y="921"/>
                  </a:cubicBezTo>
                  <a:cubicBezTo>
                    <a:pt x="2355" y="932"/>
                    <a:pt x="2366" y="946"/>
                    <a:pt x="2388" y="946"/>
                  </a:cubicBezTo>
                  <a:lnTo>
                    <a:pt x="2436" y="946"/>
                  </a:lnTo>
                  <a:cubicBezTo>
                    <a:pt x="2447" y="957"/>
                    <a:pt x="2458" y="957"/>
                    <a:pt x="2483" y="968"/>
                  </a:cubicBezTo>
                  <a:cubicBezTo>
                    <a:pt x="2506" y="979"/>
                    <a:pt x="2528" y="990"/>
                    <a:pt x="2553" y="1002"/>
                  </a:cubicBezTo>
                  <a:cubicBezTo>
                    <a:pt x="2598" y="1027"/>
                    <a:pt x="2634" y="1027"/>
                    <a:pt x="2693" y="1049"/>
                  </a:cubicBezTo>
                  <a:cubicBezTo>
                    <a:pt x="2738" y="1072"/>
                    <a:pt x="2785" y="1108"/>
                    <a:pt x="2819" y="1130"/>
                  </a:cubicBezTo>
                  <a:cubicBezTo>
                    <a:pt x="2833" y="1130"/>
                    <a:pt x="2833" y="1141"/>
                    <a:pt x="2833" y="1141"/>
                  </a:cubicBezTo>
                  <a:cubicBezTo>
                    <a:pt x="2844" y="1141"/>
                    <a:pt x="2844" y="1141"/>
                    <a:pt x="2844" y="1155"/>
                  </a:cubicBezTo>
                  <a:lnTo>
                    <a:pt x="2844" y="1189"/>
                  </a:lnTo>
                  <a:cubicBezTo>
                    <a:pt x="2855" y="1189"/>
                    <a:pt x="2855" y="1200"/>
                    <a:pt x="2867" y="1200"/>
                  </a:cubicBezTo>
                  <a:cubicBezTo>
                    <a:pt x="2878" y="1211"/>
                    <a:pt x="2889" y="1211"/>
                    <a:pt x="2903" y="1211"/>
                  </a:cubicBezTo>
                  <a:lnTo>
                    <a:pt x="3043" y="1211"/>
                  </a:lnTo>
                  <a:cubicBezTo>
                    <a:pt x="3054" y="1211"/>
                    <a:pt x="3054" y="1225"/>
                    <a:pt x="3065" y="1225"/>
                  </a:cubicBezTo>
                  <a:lnTo>
                    <a:pt x="3076" y="1225"/>
                  </a:lnTo>
                  <a:cubicBezTo>
                    <a:pt x="3087" y="1225"/>
                    <a:pt x="3099" y="1225"/>
                    <a:pt x="3113" y="1211"/>
                  </a:cubicBezTo>
                  <a:cubicBezTo>
                    <a:pt x="3124" y="1211"/>
                    <a:pt x="3135" y="1200"/>
                    <a:pt x="3135" y="1189"/>
                  </a:cubicBezTo>
                  <a:cubicBezTo>
                    <a:pt x="3146" y="1189"/>
                    <a:pt x="3146" y="1178"/>
                    <a:pt x="3157" y="1178"/>
                  </a:cubicBezTo>
                  <a:cubicBezTo>
                    <a:pt x="3169" y="1167"/>
                    <a:pt x="3183" y="1167"/>
                    <a:pt x="3205" y="1155"/>
                  </a:cubicBezTo>
                  <a:lnTo>
                    <a:pt x="3238" y="1155"/>
                  </a:lnTo>
                  <a:cubicBezTo>
                    <a:pt x="3238" y="1141"/>
                    <a:pt x="3238" y="1141"/>
                    <a:pt x="3252" y="1141"/>
                  </a:cubicBezTo>
                  <a:lnTo>
                    <a:pt x="3252" y="1130"/>
                  </a:lnTo>
                  <a:lnTo>
                    <a:pt x="3264" y="1130"/>
                  </a:lnTo>
                  <a:cubicBezTo>
                    <a:pt x="3275" y="1130"/>
                    <a:pt x="3286" y="1141"/>
                    <a:pt x="3308" y="1141"/>
                  </a:cubicBezTo>
                  <a:cubicBezTo>
                    <a:pt x="3322" y="1155"/>
                    <a:pt x="3322" y="1155"/>
                    <a:pt x="3334" y="1155"/>
                  </a:cubicBezTo>
                  <a:cubicBezTo>
                    <a:pt x="3345" y="1155"/>
                    <a:pt x="3356" y="1141"/>
                    <a:pt x="3367" y="1141"/>
                  </a:cubicBezTo>
                  <a:cubicBezTo>
                    <a:pt x="3378" y="1130"/>
                    <a:pt x="3392" y="1119"/>
                    <a:pt x="3392" y="1108"/>
                  </a:cubicBezTo>
                  <a:cubicBezTo>
                    <a:pt x="3403" y="1097"/>
                    <a:pt x="3415" y="1086"/>
                    <a:pt x="3415" y="1072"/>
                  </a:cubicBezTo>
                  <a:cubicBezTo>
                    <a:pt x="3426" y="1072"/>
                    <a:pt x="3426" y="1060"/>
                    <a:pt x="3437" y="1060"/>
                  </a:cubicBezTo>
                  <a:lnTo>
                    <a:pt x="3448" y="1060"/>
                  </a:lnTo>
                  <a:cubicBezTo>
                    <a:pt x="3448" y="1060"/>
                    <a:pt x="3462" y="1072"/>
                    <a:pt x="3473" y="1086"/>
                  </a:cubicBezTo>
                  <a:cubicBezTo>
                    <a:pt x="3496" y="1097"/>
                    <a:pt x="3507" y="1097"/>
                    <a:pt x="3518" y="1097"/>
                  </a:cubicBezTo>
                  <a:lnTo>
                    <a:pt x="3636" y="1097"/>
                  </a:lnTo>
                  <a:cubicBezTo>
                    <a:pt x="3636" y="1108"/>
                    <a:pt x="3647" y="1119"/>
                    <a:pt x="3658" y="1119"/>
                  </a:cubicBezTo>
                  <a:lnTo>
                    <a:pt x="3672" y="1130"/>
                  </a:lnTo>
                  <a:cubicBezTo>
                    <a:pt x="3683" y="1130"/>
                    <a:pt x="3694" y="1119"/>
                    <a:pt x="3705" y="1108"/>
                  </a:cubicBezTo>
                  <a:lnTo>
                    <a:pt x="3705" y="1086"/>
                  </a:lnTo>
                  <a:cubicBezTo>
                    <a:pt x="3717" y="1086"/>
                    <a:pt x="3717" y="1072"/>
                    <a:pt x="3717" y="1072"/>
                  </a:cubicBezTo>
                  <a:cubicBezTo>
                    <a:pt x="3728" y="1072"/>
                    <a:pt x="3728" y="1086"/>
                    <a:pt x="3742" y="1086"/>
                  </a:cubicBezTo>
                  <a:lnTo>
                    <a:pt x="3764" y="1086"/>
                  </a:lnTo>
                  <a:cubicBezTo>
                    <a:pt x="3764" y="1086"/>
                    <a:pt x="3764" y="1072"/>
                    <a:pt x="3775" y="1072"/>
                  </a:cubicBezTo>
                  <a:cubicBezTo>
                    <a:pt x="3787" y="1072"/>
                    <a:pt x="3798" y="1072"/>
                    <a:pt x="3812" y="1060"/>
                  </a:cubicBezTo>
                  <a:cubicBezTo>
                    <a:pt x="3823" y="1060"/>
                    <a:pt x="3834" y="1049"/>
                    <a:pt x="3845" y="1038"/>
                  </a:cubicBezTo>
                  <a:cubicBezTo>
                    <a:pt x="3845" y="1038"/>
                    <a:pt x="3856" y="1027"/>
                    <a:pt x="3882" y="1027"/>
                  </a:cubicBezTo>
                  <a:cubicBezTo>
                    <a:pt x="3893" y="1016"/>
                    <a:pt x="3915" y="1016"/>
                    <a:pt x="3926" y="1016"/>
                  </a:cubicBezTo>
                  <a:lnTo>
                    <a:pt x="3937" y="1016"/>
                  </a:lnTo>
                  <a:lnTo>
                    <a:pt x="3937" y="1027"/>
                  </a:lnTo>
                  <a:cubicBezTo>
                    <a:pt x="3937" y="1027"/>
                    <a:pt x="3951" y="1038"/>
                    <a:pt x="3951" y="1049"/>
                  </a:cubicBezTo>
                  <a:cubicBezTo>
                    <a:pt x="3963" y="1060"/>
                    <a:pt x="3963" y="1072"/>
                    <a:pt x="3974" y="1086"/>
                  </a:cubicBezTo>
                  <a:cubicBezTo>
                    <a:pt x="3985" y="1097"/>
                    <a:pt x="3996" y="1097"/>
                    <a:pt x="4007" y="1097"/>
                  </a:cubicBezTo>
                  <a:cubicBezTo>
                    <a:pt x="4033" y="1097"/>
                    <a:pt x="4044" y="1097"/>
                    <a:pt x="4055" y="1086"/>
                  </a:cubicBezTo>
                  <a:cubicBezTo>
                    <a:pt x="4066" y="1086"/>
                    <a:pt x="4077" y="1072"/>
                    <a:pt x="4077" y="1072"/>
                  </a:cubicBezTo>
                  <a:cubicBezTo>
                    <a:pt x="4091" y="1060"/>
                    <a:pt x="4091" y="1060"/>
                    <a:pt x="4102" y="1060"/>
                  </a:cubicBezTo>
                  <a:lnTo>
                    <a:pt x="4147" y="1060"/>
                  </a:lnTo>
                  <a:cubicBezTo>
                    <a:pt x="4161" y="1060"/>
                    <a:pt x="4184" y="1049"/>
                    <a:pt x="4195" y="1038"/>
                  </a:cubicBezTo>
                  <a:cubicBezTo>
                    <a:pt x="4217" y="1038"/>
                    <a:pt x="4231" y="1027"/>
                    <a:pt x="4242" y="1002"/>
                  </a:cubicBezTo>
                  <a:lnTo>
                    <a:pt x="4242" y="1016"/>
                  </a:lnTo>
                  <a:cubicBezTo>
                    <a:pt x="4242" y="1016"/>
                    <a:pt x="4253" y="1002"/>
                    <a:pt x="4265" y="1002"/>
                  </a:cubicBezTo>
                  <a:lnTo>
                    <a:pt x="4382" y="1002"/>
                  </a:lnTo>
                  <a:cubicBezTo>
                    <a:pt x="4404" y="1002"/>
                    <a:pt x="4416" y="1002"/>
                    <a:pt x="4427" y="990"/>
                  </a:cubicBezTo>
                  <a:cubicBezTo>
                    <a:pt x="4441" y="990"/>
                    <a:pt x="4452" y="979"/>
                    <a:pt x="4463" y="968"/>
                  </a:cubicBezTo>
                  <a:lnTo>
                    <a:pt x="4463" y="957"/>
                  </a:lnTo>
                  <a:cubicBezTo>
                    <a:pt x="4474" y="932"/>
                    <a:pt x="4474" y="909"/>
                    <a:pt x="4474" y="898"/>
                  </a:cubicBezTo>
                  <a:cubicBezTo>
                    <a:pt x="4474" y="887"/>
                    <a:pt x="4474" y="887"/>
                    <a:pt x="4486" y="876"/>
                  </a:cubicBezTo>
                  <a:cubicBezTo>
                    <a:pt x="4497" y="876"/>
                    <a:pt x="4497" y="862"/>
                    <a:pt x="4511" y="851"/>
                  </a:cubicBezTo>
                  <a:cubicBezTo>
                    <a:pt x="4522" y="851"/>
                    <a:pt x="4522" y="839"/>
                    <a:pt x="4522" y="828"/>
                  </a:cubicBezTo>
                  <a:lnTo>
                    <a:pt x="4522" y="806"/>
                  </a:lnTo>
                  <a:lnTo>
                    <a:pt x="4522" y="792"/>
                  </a:lnTo>
                  <a:cubicBezTo>
                    <a:pt x="4533" y="792"/>
                    <a:pt x="4533" y="781"/>
                    <a:pt x="4544" y="781"/>
                  </a:cubicBezTo>
                  <a:cubicBezTo>
                    <a:pt x="4555" y="758"/>
                    <a:pt x="4555" y="747"/>
                    <a:pt x="4555" y="736"/>
                  </a:cubicBezTo>
                  <a:cubicBezTo>
                    <a:pt x="4555" y="711"/>
                    <a:pt x="4555" y="700"/>
                    <a:pt x="4544" y="688"/>
                  </a:cubicBezTo>
                  <a:cubicBezTo>
                    <a:pt x="4533" y="666"/>
                    <a:pt x="4522" y="641"/>
                    <a:pt x="4522" y="630"/>
                  </a:cubicBezTo>
                  <a:cubicBezTo>
                    <a:pt x="4522" y="619"/>
                    <a:pt x="4533" y="607"/>
                    <a:pt x="4533" y="596"/>
                  </a:cubicBezTo>
                  <a:cubicBezTo>
                    <a:pt x="4544" y="582"/>
                    <a:pt x="4555" y="571"/>
                    <a:pt x="4555" y="549"/>
                  </a:cubicBezTo>
                  <a:cubicBezTo>
                    <a:pt x="4555" y="537"/>
                    <a:pt x="4544" y="526"/>
                    <a:pt x="4544" y="512"/>
                  </a:cubicBezTo>
                  <a:cubicBezTo>
                    <a:pt x="4533" y="501"/>
                    <a:pt x="4522" y="490"/>
                    <a:pt x="4511" y="490"/>
                  </a:cubicBezTo>
                  <a:cubicBezTo>
                    <a:pt x="4497" y="490"/>
                    <a:pt x="4486" y="490"/>
                    <a:pt x="4486" y="479"/>
                  </a:cubicBezTo>
                  <a:cubicBezTo>
                    <a:pt x="4474" y="479"/>
                    <a:pt x="4474" y="479"/>
                    <a:pt x="4474" y="468"/>
                  </a:cubicBezTo>
                  <a:cubicBezTo>
                    <a:pt x="4474" y="456"/>
                    <a:pt x="4463" y="456"/>
                    <a:pt x="4463" y="442"/>
                  </a:cubicBezTo>
                  <a:lnTo>
                    <a:pt x="4463" y="431"/>
                  </a:lnTo>
                  <a:cubicBezTo>
                    <a:pt x="4474" y="420"/>
                    <a:pt x="4474" y="398"/>
                    <a:pt x="4474" y="373"/>
                  </a:cubicBezTo>
                  <a:lnTo>
                    <a:pt x="4474" y="361"/>
                  </a:lnTo>
                  <a:cubicBezTo>
                    <a:pt x="4474" y="350"/>
                    <a:pt x="4474" y="328"/>
                    <a:pt x="4463" y="317"/>
                  </a:cubicBezTo>
                  <a:cubicBezTo>
                    <a:pt x="4452" y="303"/>
                    <a:pt x="4441" y="303"/>
                    <a:pt x="4427" y="303"/>
                  </a:cubicBezTo>
                  <a:cubicBezTo>
                    <a:pt x="4393" y="291"/>
                    <a:pt x="4357" y="280"/>
                    <a:pt x="4323" y="269"/>
                  </a:cubicBezTo>
                  <a:lnTo>
                    <a:pt x="4312" y="269"/>
                  </a:lnTo>
                  <a:lnTo>
                    <a:pt x="4312" y="222"/>
                  </a:lnTo>
                  <a:cubicBezTo>
                    <a:pt x="4312" y="210"/>
                    <a:pt x="4312" y="199"/>
                    <a:pt x="4323" y="188"/>
                  </a:cubicBezTo>
                  <a:cubicBezTo>
                    <a:pt x="4323" y="163"/>
                    <a:pt x="4335" y="140"/>
                    <a:pt x="4357" y="129"/>
                  </a:cubicBezTo>
                  <a:cubicBezTo>
                    <a:pt x="4371" y="129"/>
                    <a:pt x="4393" y="118"/>
                    <a:pt x="4404" y="118"/>
                  </a:cubicBezTo>
                  <a:cubicBezTo>
                    <a:pt x="4452" y="107"/>
                    <a:pt x="4486" y="82"/>
                    <a:pt x="4522" y="59"/>
                  </a:cubicBezTo>
                  <a:cubicBezTo>
                    <a:pt x="4533" y="59"/>
                    <a:pt x="4555" y="48"/>
                    <a:pt x="4581" y="48"/>
                  </a:cubicBezTo>
                  <a:close/>
                  <a:moveTo>
                    <a:pt x="4581" y="1"/>
                  </a:moveTo>
                  <a:cubicBezTo>
                    <a:pt x="4544" y="1"/>
                    <a:pt x="4522" y="12"/>
                    <a:pt x="4497" y="23"/>
                  </a:cubicBezTo>
                  <a:cubicBezTo>
                    <a:pt x="4463" y="37"/>
                    <a:pt x="4427" y="59"/>
                    <a:pt x="4393" y="71"/>
                  </a:cubicBezTo>
                  <a:cubicBezTo>
                    <a:pt x="4382" y="71"/>
                    <a:pt x="4357" y="82"/>
                    <a:pt x="4346" y="82"/>
                  </a:cubicBezTo>
                  <a:cubicBezTo>
                    <a:pt x="4301" y="107"/>
                    <a:pt x="4276" y="140"/>
                    <a:pt x="4276" y="177"/>
                  </a:cubicBezTo>
                  <a:cubicBezTo>
                    <a:pt x="4265" y="188"/>
                    <a:pt x="4265" y="199"/>
                    <a:pt x="4265" y="222"/>
                  </a:cubicBezTo>
                  <a:cubicBezTo>
                    <a:pt x="4265" y="233"/>
                    <a:pt x="4265" y="258"/>
                    <a:pt x="4276" y="269"/>
                  </a:cubicBezTo>
                  <a:lnTo>
                    <a:pt x="4276" y="303"/>
                  </a:lnTo>
                  <a:cubicBezTo>
                    <a:pt x="4287" y="317"/>
                    <a:pt x="4301" y="317"/>
                    <a:pt x="4312" y="317"/>
                  </a:cubicBezTo>
                  <a:cubicBezTo>
                    <a:pt x="4346" y="328"/>
                    <a:pt x="4382" y="339"/>
                    <a:pt x="4416" y="350"/>
                  </a:cubicBezTo>
                  <a:lnTo>
                    <a:pt x="4427" y="350"/>
                  </a:lnTo>
                  <a:lnTo>
                    <a:pt x="4427" y="361"/>
                  </a:lnTo>
                  <a:lnTo>
                    <a:pt x="4427" y="373"/>
                  </a:lnTo>
                  <a:cubicBezTo>
                    <a:pt x="4427" y="386"/>
                    <a:pt x="4427" y="409"/>
                    <a:pt x="4416" y="431"/>
                  </a:cubicBezTo>
                  <a:lnTo>
                    <a:pt x="4416" y="442"/>
                  </a:lnTo>
                  <a:cubicBezTo>
                    <a:pt x="4416" y="456"/>
                    <a:pt x="4427" y="468"/>
                    <a:pt x="4427" y="479"/>
                  </a:cubicBezTo>
                  <a:cubicBezTo>
                    <a:pt x="4427" y="501"/>
                    <a:pt x="4441" y="512"/>
                    <a:pt x="4452" y="526"/>
                  </a:cubicBezTo>
                  <a:cubicBezTo>
                    <a:pt x="4474" y="526"/>
                    <a:pt x="4486" y="537"/>
                    <a:pt x="4486" y="537"/>
                  </a:cubicBezTo>
                  <a:cubicBezTo>
                    <a:pt x="4497" y="537"/>
                    <a:pt x="4511" y="537"/>
                    <a:pt x="4511" y="549"/>
                  </a:cubicBezTo>
                  <a:cubicBezTo>
                    <a:pt x="4511" y="549"/>
                    <a:pt x="4497" y="560"/>
                    <a:pt x="4497" y="571"/>
                  </a:cubicBezTo>
                  <a:cubicBezTo>
                    <a:pt x="4486" y="596"/>
                    <a:pt x="4474" y="607"/>
                    <a:pt x="4474" y="630"/>
                  </a:cubicBezTo>
                  <a:cubicBezTo>
                    <a:pt x="4474" y="666"/>
                    <a:pt x="4497" y="688"/>
                    <a:pt x="4497" y="711"/>
                  </a:cubicBezTo>
                  <a:cubicBezTo>
                    <a:pt x="4511" y="711"/>
                    <a:pt x="4511" y="722"/>
                    <a:pt x="4511" y="736"/>
                  </a:cubicBezTo>
                  <a:lnTo>
                    <a:pt x="4511" y="747"/>
                  </a:lnTo>
                  <a:lnTo>
                    <a:pt x="4497" y="747"/>
                  </a:lnTo>
                  <a:cubicBezTo>
                    <a:pt x="4497" y="758"/>
                    <a:pt x="4486" y="758"/>
                    <a:pt x="4486" y="770"/>
                  </a:cubicBezTo>
                  <a:cubicBezTo>
                    <a:pt x="4474" y="770"/>
                    <a:pt x="4474" y="781"/>
                    <a:pt x="4474" y="792"/>
                  </a:cubicBezTo>
                  <a:lnTo>
                    <a:pt x="4474" y="817"/>
                  </a:lnTo>
                  <a:cubicBezTo>
                    <a:pt x="4474" y="828"/>
                    <a:pt x="4463" y="839"/>
                    <a:pt x="4452" y="851"/>
                  </a:cubicBezTo>
                  <a:cubicBezTo>
                    <a:pt x="4441" y="862"/>
                    <a:pt x="4441" y="876"/>
                    <a:pt x="4427" y="887"/>
                  </a:cubicBezTo>
                  <a:lnTo>
                    <a:pt x="4427" y="921"/>
                  </a:lnTo>
                  <a:cubicBezTo>
                    <a:pt x="4427" y="932"/>
                    <a:pt x="4416" y="932"/>
                    <a:pt x="4416" y="946"/>
                  </a:cubicBezTo>
                  <a:cubicBezTo>
                    <a:pt x="4416" y="946"/>
                    <a:pt x="4404" y="957"/>
                    <a:pt x="4382" y="957"/>
                  </a:cubicBezTo>
                  <a:lnTo>
                    <a:pt x="4242" y="957"/>
                  </a:lnTo>
                  <a:cubicBezTo>
                    <a:pt x="4242" y="968"/>
                    <a:pt x="4231" y="968"/>
                    <a:pt x="4217" y="968"/>
                  </a:cubicBezTo>
                  <a:lnTo>
                    <a:pt x="4206" y="979"/>
                  </a:lnTo>
                  <a:cubicBezTo>
                    <a:pt x="4206" y="990"/>
                    <a:pt x="4195" y="990"/>
                    <a:pt x="4184" y="1002"/>
                  </a:cubicBezTo>
                  <a:cubicBezTo>
                    <a:pt x="4172" y="1002"/>
                    <a:pt x="4147" y="1016"/>
                    <a:pt x="4136" y="1016"/>
                  </a:cubicBezTo>
                  <a:lnTo>
                    <a:pt x="4102" y="1016"/>
                  </a:lnTo>
                  <a:cubicBezTo>
                    <a:pt x="4077" y="1016"/>
                    <a:pt x="4066" y="1027"/>
                    <a:pt x="4055" y="1038"/>
                  </a:cubicBezTo>
                  <a:cubicBezTo>
                    <a:pt x="4044" y="1038"/>
                    <a:pt x="4044" y="1038"/>
                    <a:pt x="4033" y="1049"/>
                  </a:cubicBezTo>
                  <a:lnTo>
                    <a:pt x="4007" y="1049"/>
                  </a:lnTo>
                  <a:lnTo>
                    <a:pt x="3996" y="1038"/>
                  </a:lnTo>
                  <a:cubicBezTo>
                    <a:pt x="3996" y="1027"/>
                    <a:pt x="3996" y="1016"/>
                    <a:pt x="3985" y="1002"/>
                  </a:cubicBezTo>
                  <a:cubicBezTo>
                    <a:pt x="3985" y="1002"/>
                    <a:pt x="3974" y="990"/>
                    <a:pt x="3974" y="979"/>
                  </a:cubicBezTo>
                  <a:cubicBezTo>
                    <a:pt x="3963" y="979"/>
                    <a:pt x="3951" y="979"/>
                    <a:pt x="3937" y="968"/>
                  </a:cubicBezTo>
                  <a:lnTo>
                    <a:pt x="3926" y="968"/>
                  </a:lnTo>
                  <a:cubicBezTo>
                    <a:pt x="3904" y="968"/>
                    <a:pt x="3882" y="979"/>
                    <a:pt x="3868" y="979"/>
                  </a:cubicBezTo>
                  <a:cubicBezTo>
                    <a:pt x="3845" y="979"/>
                    <a:pt x="3823" y="990"/>
                    <a:pt x="3812" y="1002"/>
                  </a:cubicBezTo>
                  <a:cubicBezTo>
                    <a:pt x="3812" y="1016"/>
                    <a:pt x="3787" y="1016"/>
                    <a:pt x="3775" y="1027"/>
                  </a:cubicBezTo>
                  <a:cubicBezTo>
                    <a:pt x="3775" y="1027"/>
                    <a:pt x="3764" y="1027"/>
                    <a:pt x="3764" y="1038"/>
                  </a:cubicBezTo>
                  <a:lnTo>
                    <a:pt x="3753" y="1038"/>
                  </a:lnTo>
                  <a:cubicBezTo>
                    <a:pt x="3753" y="1038"/>
                    <a:pt x="3728" y="1027"/>
                    <a:pt x="3717" y="1027"/>
                  </a:cubicBezTo>
                  <a:cubicBezTo>
                    <a:pt x="3705" y="1027"/>
                    <a:pt x="3705" y="1038"/>
                    <a:pt x="3694" y="1038"/>
                  </a:cubicBezTo>
                  <a:lnTo>
                    <a:pt x="3683" y="1038"/>
                  </a:lnTo>
                  <a:cubicBezTo>
                    <a:pt x="3683" y="1049"/>
                    <a:pt x="3672" y="1049"/>
                    <a:pt x="3672" y="1060"/>
                  </a:cubicBezTo>
                  <a:lnTo>
                    <a:pt x="3672" y="1049"/>
                  </a:lnTo>
                  <a:cubicBezTo>
                    <a:pt x="3672" y="1056"/>
                    <a:pt x="3672" y="1062"/>
                    <a:pt x="3669" y="1069"/>
                  </a:cubicBezTo>
                  <a:lnTo>
                    <a:pt x="3669" y="1069"/>
                  </a:lnTo>
                  <a:cubicBezTo>
                    <a:pt x="3656" y="1059"/>
                    <a:pt x="3646" y="1049"/>
                    <a:pt x="3636" y="1049"/>
                  </a:cubicBezTo>
                  <a:lnTo>
                    <a:pt x="3496" y="1049"/>
                  </a:lnTo>
                  <a:cubicBezTo>
                    <a:pt x="3496" y="1049"/>
                    <a:pt x="3485" y="1038"/>
                    <a:pt x="3485" y="1027"/>
                  </a:cubicBezTo>
                  <a:lnTo>
                    <a:pt x="3462" y="1027"/>
                  </a:lnTo>
                  <a:cubicBezTo>
                    <a:pt x="3462" y="1016"/>
                    <a:pt x="3448" y="1016"/>
                    <a:pt x="3437" y="1016"/>
                  </a:cubicBezTo>
                  <a:lnTo>
                    <a:pt x="3426" y="1016"/>
                  </a:lnTo>
                  <a:cubicBezTo>
                    <a:pt x="3403" y="1027"/>
                    <a:pt x="3392" y="1038"/>
                    <a:pt x="3378" y="1049"/>
                  </a:cubicBezTo>
                  <a:cubicBezTo>
                    <a:pt x="3367" y="1060"/>
                    <a:pt x="3367" y="1072"/>
                    <a:pt x="3356" y="1086"/>
                  </a:cubicBezTo>
                  <a:cubicBezTo>
                    <a:pt x="3345" y="1097"/>
                    <a:pt x="3345" y="1097"/>
                    <a:pt x="3345" y="1108"/>
                  </a:cubicBezTo>
                  <a:lnTo>
                    <a:pt x="3322" y="1108"/>
                  </a:lnTo>
                  <a:cubicBezTo>
                    <a:pt x="3308" y="1097"/>
                    <a:pt x="3286" y="1086"/>
                    <a:pt x="3264" y="1086"/>
                  </a:cubicBezTo>
                  <a:cubicBezTo>
                    <a:pt x="3252" y="1086"/>
                    <a:pt x="3238" y="1086"/>
                    <a:pt x="3238" y="1097"/>
                  </a:cubicBezTo>
                  <a:lnTo>
                    <a:pt x="3216" y="1097"/>
                  </a:lnTo>
                  <a:cubicBezTo>
                    <a:pt x="3216" y="1108"/>
                    <a:pt x="3205" y="1108"/>
                    <a:pt x="3205" y="1108"/>
                  </a:cubicBezTo>
                  <a:lnTo>
                    <a:pt x="3207" y="1110"/>
                  </a:lnTo>
                  <a:lnTo>
                    <a:pt x="3207" y="1110"/>
                  </a:lnTo>
                  <a:cubicBezTo>
                    <a:pt x="3203" y="1112"/>
                    <a:pt x="3198" y="1114"/>
                    <a:pt x="3194" y="1119"/>
                  </a:cubicBezTo>
                  <a:cubicBezTo>
                    <a:pt x="3169" y="1119"/>
                    <a:pt x="3157" y="1130"/>
                    <a:pt x="3146" y="1130"/>
                  </a:cubicBezTo>
                  <a:cubicBezTo>
                    <a:pt x="3124" y="1141"/>
                    <a:pt x="3113" y="1155"/>
                    <a:pt x="3099" y="1167"/>
                  </a:cubicBezTo>
                  <a:lnTo>
                    <a:pt x="3087" y="1178"/>
                  </a:lnTo>
                  <a:lnTo>
                    <a:pt x="3076" y="1178"/>
                  </a:lnTo>
                  <a:cubicBezTo>
                    <a:pt x="3065" y="1167"/>
                    <a:pt x="3054" y="1167"/>
                    <a:pt x="3029" y="1167"/>
                  </a:cubicBezTo>
                  <a:lnTo>
                    <a:pt x="2889" y="1167"/>
                  </a:lnTo>
                  <a:lnTo>
                    <a:pt x="2889" y="1155"/>
                  </a:lnTo>
                  <a:cubicBezTo>
                    <a:pt x="2889" y="1155"/>
                    <a:pt x="2889" y="1141"/>
                    <a:pt x="2878" y="1130"/>
                  </a:cubicBezTo>
                  <a:cubicBezTo>
                    <a:pt x="2878" y="1108"/>
                    <a:pt x="2867" y="1097"/>
                    <a:pt x="2855" y="1086"/>
                  </a:cubicBezTo>
                  <a:cubicBezTo>
                    <a:pt x="2808" y="1060"/>
                    <a:pt x="2763" y="1038"/>
                    <a:pt x="2704" y="1016"/>
                  </a:cubicBezTo>
                  <a:cubicBezTo>
                    <a:pt x="2657" y="990"/>
                    <a:pt x="2609" y="979"/>
                    <a:pt x="2565" y="957"/>
                  </a:cubicBezTo>
                  <a:cubicBezTo>
                    <a:pt x="2539" y="957"/>
                    <a:pt x="2528" y="946"/>
                    <a:pt x="2506" y="932"/>
                  </a:cubicBezTo>
                  <a:cubicBezTo>
                    <a:pt x="2483" y="921"/>
                    <a:pt x="2469" y="909"/>
                    <a:pt x="2447" y="909"/>
                  </a:cubicBezTo>
                  <a:cubicBezTo>
                    <a:pt x="2425" y="898"/>
                    <a:pt x="2414" y="898"/>
                    <a:pt x="2388" y="898"/>
                  </a:cubicBezTo>
                  <a:cubicBezTo>
                    <a:pt x="2377" y="898"/>
                    <a:pt x="2366" y="887"/>
                    <a:pt x="2366" y="887"/>
                  </a:cubicBezTo>
                  <a:cubicBezTo>
                    <a:pt x="2366" y="887"/>
                    <a:pt x="2355" y="876"/>
                    <a:pt x="2344" y="862"/>
                  </a:cubicBezTo>
                  <a:cubicBezTo>
                    <a:pt x="2344" y="851"/>
                    <a:pt x="2330" y="851"/>
                    <a:pt x="2318" y="839"/>
                  </a:cubicBezTo>
                  <a:lnTo>
                    <a:pt x="2296" y="839"/>
                  </a:lnTo>
                  <a:cubicBezTo>
                    <a:pt x="2274" y="839"/>
                    <a:pt x="2249" y="839"/>
                    <a:pt x="2226" y="851"/>
                  </a:cubicBezTo>
                  <a:cubicBezTo>
                    <a:pt x="2215" y="851"/>
                    <a:pt x="2204" y="851"/>
                    <a:pt x="2190" y="862"/>
                  </a:cubicBezTo>
                  <a:cubicBezTo>
                    <a:pt x="2179" y="862"/>
                    <a:pt x="2179" y="862"/>
                    <a:pt x="2167" y="876"/>
                  </a:cubicBezTo>
                  <a:cubicBezTo>
                    <a:pt x="2156" y="876"/>
                    <a:pt x="2156" y="887"/>
                    <a:pt x="2145" y="898"/>
                  </a:cubicBezTo>
                  <a:cubicBezTo>
                    <a:pt x="2145" y="909"/>
                    <a:pt x="2134" y="921"/>
                    <a:pt x="2120" y="921"/>
                  </a:cubicBezTo>
                  <a:cubicBezTo>
                    <a:pt x="2120" y="932"/>
                    <a:pt x="2120" y="932"/>
                    <a:pt x="2109" y="932"/>
                  </a:cubicBezTo>
                  <a:lnTo>
                    <a:pt x="2086" y="932"/>
                  </a:lnTo>
                  <a:cubicBezTo>
                    <a:pt x="2086" y="932"/>
                    <a:pt x="2075" y="921"/>
                    <a:pt x="2064" y="909"/>
                  </a:cubicBezTo>
                  <a:cubicBezTo>
                    <a:pt x="2050" y="887"/>
                    <a:pt x="2039" y="876"/>
                    <a:pt x="2028" y="851"/>
                  </a:cubicBezTo>
                  <a:cubicBezTo>
                    <a:pt x="2028" y="851"/>
                    <a:pt x="2016" y="839"/>
                    <a:pt x="2016" y="828"/>
                  </a:cubicBezTo>
                  <a:cubicBezTo>
                    <a:pt x="2005" y="817"/>
                    <a:pt x="1994" y="817"/>
                    <a:pt x="1969" y="806"/>
                  </a:cubicBezTo>
                  <a:cubicBezTo>
                    <a:pt x="1947" y="806"/>
                    <a:pt x="1924" y="792"/>
                    <a:pt x="1910" y="792"/>
                  </a:cubicBezTo>
                  <a:lnTo>
                    <a:pt x="1877" y="792"/>
                  </a:lnTo>
                  <a:cubicBezTo>
                    <a:pt x="1865" y="781"/>
                    <a:pt x="1854" y="781"/>
                    <a:pt x="1854" y="781"/>
                  </a:cubicBezTo>
                  <a:lnTo>
                    <a:pt x="1784" y="781"/>
                  </a:lnTo>
                  <a:cubicBezTo>
                    <a:pt x="1784" y="781"/>
                    <a:pt x="1784" y="770"/>
                    <a:pt x="1770" y="747"/>
                  </a:cubicBezTo>
                  <a:cubicBezTo>
                    <a:pt x="1759" y="736"/>
                    <a:pt x="1748" y="711"/>
                    <a:pt x="1748" y="677"/>
                  </a:cubicBezTo>
                  <a:cubicBezTo>
                    <a:pt x="1737" y="652"/>
                    <a:pt x="1726" y="630"/>
                    <a:pt x="1726" y="619"/>
                  </a:cubicBezTo>
                  <a:cubicBezTo>
                    <a:pt x="1726" y="607"/>
                    <a:pt x="1726" y="596"/>
                    <a:pt x="1714" y="571"/>
                  </a:cubicBezTo>
                  <a:cubicBezTo>
                    <a:pt x="1714" y="549"/>
                    <a:pt x="1689" y="537"/>
                    <a:pt x="1678" y="526"/>
                  </a:cubicBezTo>
                  <a:cubicBezTo>
                    <a:pt x="1656" y="512"/>
                    <a:pt x="1645" y="501"/>
                    <a:pt x="1619" y="501"/>
                  </a:cubicBezTo>
                  <a:cubicBezTo>
                    <a:pt x="1608" y="501"/>
                    <a:pt x="1586" y="512"/>
                    <a:pt x="1575" y="512"/>
                  </a:cubicBezTo>
                  <a:cubicBezTo>
                    <a:pt x="1550" y="526"/>
                    <a:pt x="1527" y="537"/>
                    <a:pt x="1516" y="560"/>
                  </a:cubicBezTo>
                  <a:cubicBezTo>
                    <a:pt x="1505" y="571"/>
                    <a:pt x="1505" y="582"/>
                    <a:pt x="1491" y="596"/>
                  </a:cubicBezTo>
                  <a:lnTo>
                    <a:pt x="1491" y="607"/>
                  </a:lnTo>
                  <a:cubicBezTo>
                    <a:pt x="1480" y="596"/>
                    <a:pt x="1468" y="596"/>
                    <a:pt x="1457" y="582"/>
                  </a:cubicBezTo>
                  <a:cubicBezTo>
                    <a:pt x="1435" y="571"/>
                    <a:pt x="1421" y="571"/>
                    <a:pt x="1410" y="571"/>
                  </a:cubicBezTo>
                  <a:lnTo>
                    <a:pt x="1399" y="571"/>
                  </a:lnTo>
                  <a:cubicBezTo>
                    <a:pt x="1387" y="571"/>
                    <a:pt x="1376" y="582"/>
                    <a:pt x="1376" y="582"/>
                  </a:cubicBezTo>
                  <a:lnTo>
                    <a:pt x="1365" y="596"/>
                  </a:lnTo>
                  <a:lnTo>
                    <a:pt x="1340" y="596"/>
                  </a:lnTo>
                  <a:cubicBezTo>
                    <a:pt x="1306" y="596"/>
                    <a:pt x="1295" y="582"/>
                    <a:pt x="1281" y="582"/>
                  </a:cubicBezTo>
                  <a:cubicBezTo>
                    <a:pt x="1270" y="582"/>
                    <a:pt x="1259" y="571"/>
                    <a:pt x="1248" y="560"/>
                  </a:cubicBezTo>
                  <a:cubicBezTo>
                    <a:pt x="1248" y="560"/>
                    <a:pt x="1236" y="549"/>
                    <a:pt x="1225" y="537"/>
                  </a:cubicBezTo>
                  <a:cubicBezTo>
                    <a:pt x="1225" y="526"/>
                    <a:pt x="1211" y="526"/>
                    <a:pt x="1200" y="526"/>
                  </a:cubicBezTo>
                  <a:cubicBezTo>
                    <a:pt x="1200" y="512"/>
                    <a:pt x="1189" y="512"/>
                    <a:pt x="1166" y="512"/>
                  </a:cubicBezTo>
                  <a:cubicBezTo>
                    <a:pt x="1108" y="512"/>
                    <a:pt x="1071" y="537"/>
                    <a:pt x="1038" y="560"/>
                  </a:cubicBezTo>
                  <a:cubicBezTo>
                    <a:pt x="1038" y="571"/>
                    <a:pt x="1027" y="571"/>
                    <a:pt x="1027" y="582"/>
                  </a:cubicBezTo>
                  <a:lnTo>
                    <a:pt x="1015" y="582"/>
                  </a:lnTo>
                  <a:cubicBezTo>
                    <a:pt x="1001" y="582"/>
                    <a:pt x="979" y="571"/>
                    <a:pt x="957" y="571"/>
                  </a:cubicBezTo>
                  <a:cubicBezTo>
                    <a:pt x="946" y="560"/>
                    <a:pt x="932" y="560"/>
                    <a:pt x="920" y="560"/>
                  </a:cubicBezTo>
                  <a:cubicBezTo>
                    <a:pt x="909" y="560"/>
                    <a:pt x="898" y="560"/>
                    <a:pt x="887" y="549"/>
                  </a:cubicBezTo>
                  <a:lnTo>
                    <a:pt x="887" y="560"/>
                  </a:lnTo>
                  <a:cubicBezTo>
                    <a:pt x="862" y="560"/>
                    <a:pt x="839" y="560"/>
                    <a:pt x="828" y="571"/>
                  </a:cubicBezTo>
                  <a:cubicBezTo>
                    <a:pt x="806" y="582"/>
                    <a:pt x="792" y="596"/>
                    <a:pt x="781" y="630"/>
                  </a:cubicBezTo>
                  <a:lnTo>
                    <a:pt x="781" y="641"/>
                  </a:lnTo>
                  <a:cubicBezTo>
                    <a:pt x="781" y="652"/>
                    <a:pt x="792" y="666"/>
                    <a:pt x="792" y="677"/>
                  </a:cubicBezTo>
                  <a:cubicBezTo>
                    <a:pt x="792" y="700"/>
                    <a:pt x="806" y="711"/>
                    <a:pt x="806" y="711"/>
                  </a:cubicBezTo>
                  <a:lnTo>
                    <a:pt x="792" y="722"/>
                  </a:lnTo>
                  <a:cubicBezTo>
                    <a:pt x="781" y="736"/>
                    <a:pt x="769" y="736"/>
                    <a:pt x="758" y="736"/>
                  </a:cubicBezTo>
                  <a:lnTo>
                    <a:pt x="699" y="736"/>
                  </a:lnTo>
                  <a:cubicBezTo>
                    <a:pt x="688" y="747"/>
                    <a:pt x="688" y="747"/>
                    <a:pt x="677" y="758"/>
                  </a:cubicBezTo>
                  <a:lnTo>
                    <a:pt x="666" y="758"/>
                  </a:lnTo>
                  <a:cubicBezTo>
                    <a:pt x="666" y="758"/>
                    <a:pt x="652" y="736"/>
                    <a:pt x="641" y="722"/>
                  </a:cubicBezTo>
                  <a:cubicBezTo>
                    <a:pt x="630" y="711"/>
                    <a:pt x="630" y="711"/>
                    <a:pt x="618" y="700"/>
                  </a:cubicBezTo>
                  <a:cubicBezTo>
                    <a:pt x="607" y="700"/>
                    <a:pt x="596" y="688"/>
                    <a:pt x="582" y="688"/>
                  </a:cubicBezTo>
                  <a:lnTo>
                    <a:pt x="571" y="688"/>
                  </a:lnTo>
                  <a:cubicBezTo>
                    <a:pt x="560" y="688"/>
                    <a:pt x="560" y="700"/>
                    <a:pt x="548" y="700"/>
                  </a:cubicBezTo>
                  <a:cubicBezTo>
                    <a:pt x="537" y="700"/>
                    <a:pt x="537" y="711"/>
                    <a:pt x="526" y="711"/>
                  </a:cubicBezTo>
                  <a:cubicBezTo>
                    <a:pt x="526" y="722"/>
                    <a:pt x="512" y="722"/>
                    <a:pt x="501" y="736"/>
                  </a:cubicBezTo>
                  <a:cubicBezTo>
                    <a:pt x="501" y="747"/>
                    <a:pt x="490" y="747"/>
                    <a:pt x="467" y="758"/>
                  </a:cubicBezTo>
                  <a:cubicBezTo>
                    <a:pt x="456" y="758"/>
                    <a:pt x="442" y="758"/>
                    <a:pt x="431" y="770"/>
                  </a:cubicBezTo>
                  <a:lnTo>
                    <a:pt x="386" y="770"/>
                  </a:lnTo>
                  <a:cubicBezTo>
                    <a:pt x="386" y="781"/>
                    <a:pt x="372" y="781"/>
                    <a:pt x="361" y="792"/>
                  </a:cubicBezTo>
                  <a:cubicBezTo>
                    <a:pt x="350" y="806"/>
                    <a:pt x="339" y="817"/>
                    <a:pt x="328" y="817"/>
                  </a:cubicBezTo>
                  <a:cubicBezTo>
                    <a:pt x="316" y="828"/>
                    <a:pt x="316" y="828"/>
                    <a:pt x="302" y="839"/>
                  </a:cubicBezTo>
                  <a:lnTo>
                    <a:pt x="140" y="839"/>
                  </a:lnTo>
                  <a:cubicBezTo>
                    <a:pt x="140" y="839"/>
                    <a:pt x="129" y="839"/>
                    <a:pt x="129" y="851"/>
                  </a:cubicBezTo>
                  <a:cubicBezTo>
                    <a:pt x="118" y="851"/>
                    <a:pt x="107" y="851"/>
                    <a:pt x="107" y="862"/>
                  </a:cubicBezTo>
                  <a:cubicBezTo>
                    <a:pt x="93" y="876"/>
                    <a:pt x="93" y="887"/>
                    <a:pt x="93" y="887"/>
                  </a:cubicBezTo>
                  <a:lnTo>
                    <a:pt x="59" y="887"/>
                  </a:lnTo>
                  <a:lnTo>
                    <a:pt x="48" y="909"/>
                  </a:lnTo>
                  <a:lnTo>
                    <a:pt x="48" y="932"/>
                  </a:lnTo>
                  <a:cubicBezTo>
                    <a:pt x="37" y="946"/>
                    <a:pt x="37" y="957"/>
                    <a:pt x="23" y="979"/>
                  </a:cubicBezTo>
                  <a:cubicBezTo>
                    <a:pt x="12" y="990"/>
                    <a:pt x="0" y="1016"/>
                    <a:pt x="0" y="1038"/>
                  </a:cubicBezTo>
                  <a:cubicBezTo>
                    <a:pt x="0" y="1038"/>
                    <a:pt x="0" y="1049"/>
                    <a:pt x="12" y="1060"/>
                  </a:cubicBezTo>
                  <a:cubicBezTo>
                    <a:pt x="23" y="1086"/>
                    <a:pt x="37" y="1097"/>
                    <a:pt x="59" y="1108"/>
                  </a:cubicBezTo>
                  <a:cubicBezTo>
                    <a:pt x="81" y="1108"/>
                    <a:pt x="107" y="1119"/>
                    <a:pt x="118" y="1119"/>
                  </a:cubicBezTo>
                  <a:lnTo>
                    <a:pt x="163" y="1119"/>
                  </a:lnTo>
                  <a:cubicBezTo>
                    <a:pt x="177" y="1130"/>
                    <a:pt x="177" y="1130"/>
                    <a:pt x="188" y="1141"/>
                  </a:cubicBezTo>
                  <a:lnTo>
                    <a:pt x="188" y="1155"/>
                  </a:lnTo>
                  <a:cubicBezTo>
                    <a:pt x="188" y="1155"/>
                    <a:pt x="188" y="1167"/>
                    <a:pt x="177" y="1167"/>
                  </a:cubicBezTo>
                  <a:cubicBezTo>
                    <a:pt x="177" y="1178"/>
                    <a:pt x="163" y="1189"/>
                    <a:pt x="151" y="1211"/>
                  </a:cubicBezTo>
                  <a:cubicBezTo>
                    <a:pt x="140" y="1225"/>
                    <a:pt x="129" y="1248"/>
                    <a:pt x="129" y="1270"/>
                  </a:cubicBezTo>
                  <a:lnTo>
                    <a:pt x="129" y="1281"/>
                  </a:lnTo>
                  <a:cubicBezTo>
                    <a:pt x="140" y="1306"/>
                    <a:pt x="151" y="1318"/>
                    <a:pt x="163" y="1329"/>
                  </a:cubicBezTo>
                  <a:cubicBezTo>
                    <a:pt x="177" y="1340"/>
                    <a:pt x="188" y="1351"/>
                    <a:pt x="188" y="1365"/>
                  </a:cubicBezTo>
                  <a:cubicBezTo>
                    <a:pt x="188" y="1365"/>
                    <a:pt x="188" y="1376"/>
                    <a:pt x="199" y="1399"/>
                  </a:cubicBezTo>
                  <a:lnTo>
                    <a:pt x="199" y="1421"/>
                  </a:lnTo>
                  <a:cubicBezTo>
                    <a:pt x="210" y="1435"/>
                    <a:pt x="221" y="1446"/>
                    <a:pt x="232" y="1446"/>
                  </a:cubicBezTo>
                  <a:cubicBezTo>
                    <a:pt x="232" y="1457"/>
                    <a:pt x="246" y="1457"/>
                    <a:pt x="258" y="1457"/>
                  </a:cubicBezTo>
                  <a:lnTo>
                    <a:pt x="291" y="1457"/>
                  </a:lnTo>
                  <a:cubicBezTo>
                    <a:pt x="291" y="1457"/>
                    <a:pt x="302" y="1469"/>
                    <a:pt x="302" y="1480"/>
                  </a:cubicBezTo>
                  <a:cubicBezTo>
                    <a:pt x="316" y="1491"/>
                    <a:pt x="316" y="1516"/>
                    <a:pt x="339" y="1516"/>
                  </a:cubicBezTo>
                  <a:cubicBezTo>
                    <a:pt x="350" y="1527"/>
                    <a:pt x="361" y="1527"/>
                    <a:pt x="372" y="1527"/>
                  </a:cubicBezTo>
                  <a:lnTo>
                    <a:pt x="431" y="1527"/>
                  </a:lnTo>
                  <a:cubicBezTo>
                    <a:pt x="431" y="1527"/>
                    <a:pt x="442" y="1527"/>
                    <a:pt x="456" y="1550"/>
                  </a:cubicBezTo>
                  <a:cubicBezTo>
                    <a:pt x="467" y="1561"/>
                    <a:pt x="479" y="1575"/>
                    <a:pt x="479" y="1586"/>
                  </a:cubicBezTo>
                  <a:cubicBezTo>
                    <a:pt x="490" y="1608"/>
                    <a:pt x="501" y="1620"/>
                    <a:pt x="512" y="1631"/>
                  </a:cubicBezTo>
                  <a:cubicBezTo>
                    <a:pt x="537" y="1645"/>
                    <a:pt x="548" y="1656"/>
                    <a:pt x="571" y="1656"/>
                  </a:cubicBezTo>
                  <a:cubicBezTo>
                    <a:pt x="582" y="1656"/>
                    <a:pt x="596" y="1656"/>
                    <a:pt x="596" y="1645"/>
                  </a:cubicBezTo>
                  <a:cubicBezTo>
                    <a:pt x="618" y="1645"/>
                    <a:pt x="630" y="1620"/>
                    <a:pt x="630" y="1620"/>
                  </a:cubicBezTo>
                  <a:cubicBezTo>
                    <a:pt x="641" y="1608"/>
                    <a:pt x="641" y="1597"/>
                    <a:pt x="652" y="1597"/>
                  </a:cubicBezTo>
                  <a:lnTo>
                    <a:pt x="677" y="1597"/>
                  </a:lnTo>
                  <a:cubicBezTo>
                    <a:pt x="677" y="1608"/>
                    <a:pt x="688" y="1608"/>
                    <a:pt x="688" y="1620"/>
                  </a:cubicBezTo>
                  <a:lnTo>
                    <a:pt x="677" y="1631"/>
                  </a:lnTo>
                  <a:lnTo>
                    <a:pt x="666" y="1667"/>
                  </a:lnTo>
                  <a:lnTo>
                    <a:pt x="722" y="1667"/>
                  </a:lnTo>
                  <a:lnTo>
                    <a:pt x="722" y="1678"/>
                  </a:lnTo>
                  <a:lnTo>
                    <a:pt x="722" y="1701"/>
                  </a:lnTo>
                  <a:lnTo>
                    <a:pt x="722" y="1715"/>
                  </a:lnTo>
                  <a:cubicBezTo>
                    <a:pt x="736" y="1726"/>
                    <a:pt x="736" y="1737"/>
                    <a:pt x="747" y="1737"/>
                  </a:cubicBezTo>
                  <a:cubicBezTo>
                    <a:pt x="758" y="1748"/>
                    <a:pt x="769" y="1759"/>
                    <a:pt x="781" y="1759"/>
                  </a:cubicBezTo>
                  <a:cubicBezTo>
                    <a:pt x="792" y="1771"/>
                    <a:pt x="806" y="1771"/>
                    <a:pt x="817" y="1785"/>
                  </a:cubicBezTo>
                  <a:cubicBezTo>
                    <a:pt x="850" y="1796"/>
                    <a:pt x="876" y="1829"/>
                    <a:pt x="876" y="1877"/>
                  </a:cubicBezTo>
                  <a:lnTo>
                    <a:pt x="876" y="1883"/>
                  </a:lnTo>
                  <a:lnTo>
                    <a:pt x="876" y="1883"/>
                  </a:lnTo>
                  <a:cubicBezTo>
                    <a:pt x="858" y="1895"/>
                    <a:pt x="850" y="1913"/>
                    <a:pt x="850" y="1924"/>
                  </a:cubicBezTo>
                  <a:cubicBezTo>
                    <a:pt x="839" y="1958"/>
                    <a:pt x="839" y="1980"/>
                    <a:pt x="828" y="2006"/>
                  </a:cubicBezTo>
                  <a:lnTo>
                    <a:pt x="828" y="2039"/>
                  </a:lnTo>
                  <a:cubicBezTo>
                    <a:pt x="817" y="2039"/>
                    <a:pt x="817" y="2050"/>
                    <a:pt x="817" y="2050"/>
                  </a:cubicBezTo>
                  <a:cubicBezTo>
                    <a:pt x="806" y="2050"/>
                    <a:pt x="792" y="2064"/>
                    <a:pt x="781" y="2064"/>
                  </a:cubicBezTo>
                  <a:cubicBezTo>
                    <a:pt x="769" y="2064"/>
                    <a:pt x="747" y="2064"/>
                    <a:pt x="736" y="2075"/>
                  </a:cubicBezTo>
                  <a:cubicBezTo>
                    <a:pt x="711" y="2087"/>
                    <a:pt x="711" y="2098"/>
                    <a:pt x="699" y="2109"/>
                  </a:cubicBezTo>
                  <a:cubicBezTo>
                    <a:pt x="688" y="2120"/>
                    <a:pt x="677" y="2145"/>
                    <a:pt x="677" y="2157"/>
                  </a:cubicBezTo>
                  <a:cubicBezTo>
                    <a:pt x="666" y="2179"/>
                    <a:pt x="652" y="2190"/>
                    <a:pt x="652" y="2190"/>
                  </a:cubicBezTo>
                  <a:cubicBezTo>
                    <a:pt x="641" y="2204"/>
                    <a:pt x="630" y="2204"/>
                    <a:pt x="607" y="2204"/>
                  </a:cubicBezTo>
                  <a:cubicBezTo>
                    <a:pt x="596" y="2215"/>
                    <a:pt x="571" y="2215"/>
                    <a:pt x="560" y="2238"/>
                  </a:cubicBezTo>
                  <a:lnTo>
                    <a:pt x="548" y="2249"/>
                  </a:lnTo>
                  <a:lnTo>
                    <a:pt x="537" y="2260"/>
                  </a:lnTo>
                  <a:lnTo>
                    <a:pt x="512" y="2260"/>
                  </a:lnTo>
                  <a:cubicBezTo>
                    <a:pt x="479" y="2260"/>
                    <a:pt x="456" y="2274"/>
                    <a:pt x="431" y="2296"/>
                  </a:cubicBezTo>
                  <a:cubicBezTo>
                    <a:pt x="409" y="2307"/>
                    <a:pt x="397" y="2344"/>
                    <a:pt x="397" y="2366"/>
                  </a:cubicBezTo>
                  <a:lnTo>
                    <a:pt x="386" y="2389"/>
                  </a:lnTo>
                  <a:lnTo>
                    <a:pt x="409" y="2389"/>
                  </a:lnTo>
                  <a:cubicBezTo>
                    <a:pt x="442" y="2400"/>
                    <a:pt x="490" y="2414"/>
                    <a:pt x="526" y="2436"/>
                  </a:cubicBezTo>
                  <a:cubicBezTo>
                    <a:pt x="596" y="2470"/>
                    <a:pt x="677" y="2528"/>
                    <a:pt x="769" y="2528"/>
                  </a:cubicBezTo>
                  <a:lnTo>
                    <a:pt x="781" y="2528"/>
                  </a:lnTo>
                  <a:cubicBezTo>
                    <a:pt x="876" y="2528"/>
                    <a:pt x="957" y="2484"/>
                    <a:pt x="1027" y="2447"/>
                  </a:cubicBezTo>
                  <a:cubicBezTo>
                    <a:pt x="1060" y="2425"/>
                    <a:pt x="1085" y="2414"/>
                    <a:pt x="1119" y="2400"/>
                  </a:cubicBezTo>
                  <a:cubicBezTo>
                    <a:pt x="1141" y="2377"/>
                    <a:pt x="1166" y="2366"/>
                    <a:pt x="1200" y="2355"/>
                  </a:cubicBezTo>
                  <a:cubicBezTo>
                    <a:pt x="1236" y="2330"/>
                    <a:pt x="1270" y="2307"/>
                    <a:pt x="1295" y="2260"/>
                  </a:cubicBezTo>
                  <a:cubicBezTo>
                    <a:pt x="1306" y="2226"/>
                    <a:pt x="1306" y="2204"/>
                    <a:pt x="1306" y="2179"/>
                  </a:cubicBezTo>
                  <a:cubicBezTo>
                    <a:pt x="1329" y="2098"/>
                    <a:pt x="1399" y="2028"/>
                    <a:pt x="1480" y="2017"/>
                  </a:cubicBezTo>
                  <a:lnTo>
                    <a:pt x="1516" y="2017"/>
                  </a:lnTo>
                  <a:cubicBezTo>
                    <a:pt x="1527" y="2017"/>
                    <a:pt x="1538" y="2006"/>
                    <a:pt x="1550" y="2006"/>
                  </a:cubicBezTo>
                  <a:cubicBezTo>
                    <a:pt x="1575" y="1994"/>
                    <a:pt x="1575" y="1980"/>
                    <a:pt x="1586" y="1980"/>
                  </a:cubicBezTo>
                  <a:cubicBezTo>
                    <a:pt x="1597" y="1980"/>
                    <a:pt x="1608" y="1969"/>
                    <a:pt x="1619" y="1969"/>
                  </a:cubicBezTo>
                  <a:lnTo>
                    <a:pt x="1631" y="1969"/>
                  </a:lnTo>
                  <a:lnTo>
                    <a:pt x="1645" y="1980"/>
                  </a:lnTo>
                  <a:lnTo>
                    <a:pt x="1645" y="1994"/>
                  </a:lnTo>
                  <a:cubicBezTo>
                    <a:pt x="1667" y="2017"/>
                    <a:pt x="1678" y="2039"/>
                    <a:pt x="1701" y="2050"/>
                  </a:cubicBezTo>
                  <a:cubicBezTo>
                    <a:pt x="1714" y="2064"/>
                    <a:pt x="1737" y="2075"/>
                    <a:pt x="1737" y="2087"/>
                  </a:cubicBezTo>
                  <a:cubicBezTo>
                    <a:pt x="1748" y="2098"/>
                    <a:pt x="1748" y="2109"/>
                    <a:pt x="1759" y="2120"/>
                  </a:cubicBezTo>
                  <a:cubicBezTo>
                    <a:pt x="1759" y="2134"/>
                    <a:pt x="1770" y="2157"/>
                    <a:pt x="1784" y="2168"/>
                  </a:cubicBezTo>
                  <a:cubicBezTo>
                    <a:pt x="1796" y="2179"/>
                    <a:pt x="1807" y="2190"/>
                    <a:pt x="1818" y="2190"/>
                  </a:cubicBezTo>
                  <a:cubicBezTo>
                    <a:pt x="1829" y="2204"/>
                    <a:pt x="1840" y="2204"/>
                    <a:pt x="1854" y="2204"/>
                  </a:cubicBezTo>
                  <a:cubicBezTo>
                    <a:pt x="1888" y="2204"/>
                    <a:pt x="1910" y="2190"/>
                    <a:pt x="1935" y="2190"/>
                  </a:cubicBezTo>
                  <a:cubicBezTo>
                    <a:pt x="1947" y="2190"/>
                    <a:pt x="1958" y="2190"/>
                    <a:pt x="1969" y="2204"/>
                  </a:cubicBezTo>
                  <a:cubicBezTo>
                    <a:pt x="1980" y="2204"/>
                    <a:pt x="1994" y="2215"/>
                    <a:pt x="2005" y="2226"/>
                  </a:cubicBezTo>
                  <a:cubicBezTo>
                    <a:pt x="2016" y="2226"/>
                    <a:pt x="2028" y="2238"/>
                    <a:pt x="2050" y="2249"/>
                  </a:cubicBezTo>
                  <a:lnTo>
                    <a:pt x="2064" y="2249"/>
                  </a:lnTo>
                  <a:cubicBezTo>
                    <a:pt x="2075" y="2249"/>
                    <a:pt x="2098" y="2238"/>
                    <a:pt x="2109" y="2226"/>
                  </a:cubicBezTo>
                  <a:cubicBezTo>
                    <a:pt x="2120" y="2226"/>
                    <a:pt x="2134" y="2215"/>
                    <a:pt x="2145" y="2204"/>
                  </a:cubicBezTo>
                  <a:cubicBezTo>
                    <a:pt x="2190" y="2168"/>
                    <a:pt x="2249" y="2120"/>
                    <a:pt x="2296" y="2064"/>
                  </a:cubicBezTo>
                  <a:cubicBezTo>
                    <a:pt x="2307" y="2050"/>
                    <a:pt x="2307" y="2050"/>
                    <a:pt x="2318" y="2039"/>
                  </a:cubicBezTo>
                  <a:lnTo>
                    <a:pt x="2366" y="2039"/>
                  </a:lnTo>
                  <a:cubicBezTo>
                    <a:pt x="2366" y="2050"/>
                    <a:pt x="2377" y="2050"/>
                    <a:pt x="2388" y="2050"/>
                  </a:cubicBezTo>
                  <a:cubicBezTo>
                    <a:pt x="2425" y="2050"/>
                    <a:pt x="2458" y="2028"/>
                    <a:pt x="2469" y="1994"/>
                  </a:cubicBezTo>
                  <a:cubicBezTo>
                    <a:pt x="2483" y="1958"/>
                    <a:pt x="2483" y="1947"/>
                    <a:pt x="2483" y="1924"/>
                  </a:cubicBezTo>
                  <a:cubicBezTo>
                    <a:pt x="2483" y="1888"/>
                    <a:pt x="2517" y="1866"/>
                    <a:pt x="2553" y="1855"/>
                  </a:cubicBezTo>
                  <a:cubicBezTo>
                    <a:pt x="2576" y="1841"/>
                    <a:pt x="2598" y="1841"/>
                    <a:pt x="2623" y="1841"/>
                  </a:cubicBezTo>
                  <a:lnTo>
                    <a:pt x="2679" y="1841"/>
                  </a:lnTo>
                  <a:cubicBezTo>
                    <a:pt x="2704" y="1855"/>
                    <a:pt x="2716" y="1855"/>
                    <a:pt x="2716" y="1855"/>
                  </a:cubicBezTo>
                  <a:lnTo>
                    <a:pt x="2727" y="1866"/>
                  </a:lnTo>
                  <a:lnTo>
                    <a:pt x="2727" y="1877"/>
                  </a:lnTo>
                  <a:lnTo>
                    <a:pt x="2716" y="1877"/>
                  </a:lnTo>
                  <a:cubicBezTo>
                    <a:pt x="2704" y="1888"/>
                    <a:pt x="2693" y="1888"/>
                    <a:pt x="2693" y="1899"/>
                  </a:cubicBezTo>
                  <a:cubicBezTo>
                    <a:pt x="2679" y="1910"/>
                    <a:pt x="2679" y="1924"/>
                    <a:pt x="2679" y="1936"/>
                  </a:cubicBezTo>
                  <a:cubicBezTo>
                    <a:pt x="2679" y="1947"/>
                    <a:pt x="2693" y="1958"/>
                    <a:pt x="2693" y="1969"/>
                  </a:cubicBezTo>
                  <a:cubicBezTo>
                    <a:pt x="2704" y="1980"/>
                    <a:pt x="2716" y="1994"/>
                    <a:pt x="2727" y="1994"/>
                  </a:cubicBezTo>
                  <a:cubicBezTo>
                    <a:pt x="2785" y="2028"/>
                    <a:pt x="2833" y="2039"/>
                    <a:pt x="2889" y="2039"/>
                  </a:cubicBezTo>
                  <a:lnTo>
                    <a:pt x="2903" y="2039"/>
                  </a:lnTo>
                  <a:cubicBezTo>
                    <a:pt x="2925" y="2039"/>
                    <a:pt x="2948" y="2039"/>
                    <a:pt x="2973" y="2028"/>
                  </a:cubicBezTo>
                  <a:cubicBezTo>
                    <a:pt x="2973" y="2017"/>
                    <a:pt x="2984" y="2006"/>
                    <a:pt x="2984" y="2006"/>
                  </a:cubicBezTo>
                  <a:cubicBezTo>
                    <a:pt x="2984" y="1994"/>
                    <a:pt x="2995" y="1994"/>
                    <a:pt x="2995" y="1994"/>
                  </a:cubicBezTo>
                  <a:cubicBezTo>
                    <a:pt x="2995" y="1980"/>
                    <a:pt x="3006" y="1969"/>
                    <a:pt x="3018" y="1969"/>
                  </a:cubicBezTo>
                  <a:cubicBezTo>
                    <a:pt x="3029" y="1969"/>
                    <a:pt x="3043" y="1980"/>
                    <a:pt x="3043" y="1980"/>
                  </a:cubicBezTo>
                  <a:cubicBezTo>
                    <a:pt x="3065" y="1994"/>
                    <a:pt x="3076" y="2017"/>
                    <a:pt x="3087" y="2039"/>
                  </a:cubicBezTo>
                  <a:lnTo>
                    <a:pt x="3087" y="2050"/>
                  </a:lnTo>
                  <a:lnTo>
                    <a:pt x="3099" y="2050"/>
                  </a:lnTo>
                  <a:cubicBezTo>
                    <a:pt x="3124" y="2050"/>
                    <a:pt x="3146" y="2064"/>
                    <a:pt x="3169" y="2064"/>
                  </a:cubicBezTo>
                  <a:lnTo>
                    <a:pt x="3194" y="2064"/>
                  </a:lnTo>
                  <a:cubicBezTo>
                    <a:pt x="3238" y="2064"/>
                    <a:pt x="3286" y="2075"/>
                    <a:pt x="3308" y="2109"/>
                  </a:cubicBezTo>
                  <a:cubicBezTo>
                    <a:pt x="3322" y="2120"/>
                    <a:pt x="3334" y="2134"/>
                    <a:pt x="3345" y="2145"/>
                  </a:cubicBezTo>
                  <a:cubicBezTo>
                    <a:pt x="3356" y="2157"/>
                    <a:pt x="3367" y="2179"/>
                    <a:pt x="3392" y="2179"/>
                  </a:cubicBezTo>
                  <a:cubicBezTo>
                    <a:pt x="3403" y="2190"/>
                    <a:pt x="3415" y="2190"/>
                    <a:pt x="3437" y="2190"/>
                  </a:cubicBezTo>
                  <a:cubicBezTo>
                    <a:pt x="3462" y="2190"/>
                    <a:pt x="3485" y="2179"/>
                    <a:pt x="3507" y="2179"/>
                  </a:cubicBezTo>
                  <a:cubicBezTo>
                    <a:pt x="3532" y="2168"/>
                    <a:pt x="3554" y="2168"/>
                    <a:pt x="3577" y="2168"/>
                  </a:cubicBezTo>
                  <a:lnTo>
                    <a:pt x="3602" y="2168"/>
                  </a:lnTo>
                  <a:cubicBezTo>
                    <a:pt x="3602" y="2168"/>
                    <a:pt x="3613" y="2179"/>
                    <a:pt x="3624" y="2190"/>
                  </a:cubicBezTo>
                  <a:lnTo>
                    <a:pt x="3636" y="2190"/>
                  </a:lnTo>
                  <a:cubicBezTo>
                    <a:pt x="3672" y="2204"/>
                    <a:pt x="3705" y="2204"/>
                    <a:pt x="3742" y="2204"/>
                  </a:cubicBezTo>
                  <a:lnTo>
                    <a:pt x="4147" y="2204"/>
                  </a:lnTo>
                  <a:cubicBezTo>
                    <a:pt x="4161" y="2204"/>
                    <a:pt x="4161" y="2215"/>
                    <a:pt x="4172" y="2226"/>
                  </a:cubicBezTo>
                  <a:cubicBezTo>
                    <a:pt x="4172" y="2238"/>
                    <a:pt x="4184" y="2249"/>
                    <a:pt x="4195" y="2260"/>
                  </a:cubicBezTo>
                  <a:cubicBezTo>
                    <a:pt x="4206" y="2274"/>
                    <a:pt x="4231" y="2285"/>
                    <a:pt x="4242" y="2285"/>
                  </a:cubicBezTo>
                  <a:cubicBezTo>
                    <a:pt x="4253" y="2296"/>
                    <a:pt x="4265" y="2296"/>
                    <a:pt x="4265" y="2307"/>
                  </a:cubicBezTo>
                  <a:cubicBezTo>
                    <a:pt x="4276" y="2307"/>
                    <a:pt x="4276" y="2319"/>
                    <a:pt x="4287" y="2330"/>
                  </a:cubicBezTo>
                  <a:cubicBezTo>
                    <a:pt x="4287" y="2355"/>
                    <a:pt x="4301" y="2389"/>
                    <a:pt x="4301" y="2414"/>
                  </a:cubicBezTo>
                  <a:cubicBezTo>
                    <a:pt x="4301" y="2425"/>
                    <a:pt x="4312" y="2436"/>
                    <a:pt x="4312" y="2458"/>
                  </a:cubicBezTo>
                  <a:cubicBezTo>
                    <a:pt x="4323" y="2470"/>
                    <a:pt x="4335" y="2484"/>
                    <a:pt x="4346" y="2484"/>
                  </a:cubicBezTo>
                  <a:cubicBezTo>
                    <a:pt x="4357" y="2495"/>
                    <a:pt x="4371" y="2495"/>
                    <a:pt x="4382" y="2495"/>
                  </a:cubicBezTo>
                  <a:cubicBezTo>
                    <a:pt x="4416" y="2495"/>
                    <a:pt x="4441" y="2484"/>
                    <a:pt x="4452" y="2470"/>
                  </a:cubicBezTo>
                  <a:cubicBezTo>
                    <a:pt x="4474" y="2447"/>
                    <a:pt x="4486" y="2436"/>
                    <a:pt x="4497" y="2414"/>
                  </a:cubicBezTo>
                  <a:cubicBezTo>
                    <a:pt x="4511" y="2389"/>
                    <a:pt x="4522" y="2366"/>
                    <a:pt x="4533" y="2344"/>
                  </a:cubicBezTo>
                  <a:cubicBezTo>
                    <a:pt x="4533" y="2319"/>
                    <a:pt x="4544" y="2307"/>
                    <a:pt x="4567" y="2296"/>
                  </a:cubicBezTo>
                  <a:cubicBezTo>
                    <a:pt x="4567" y="2285"/>
                    <a:pt x="4592" y="2285"/>
                    <a:pt x="4603" y="2274"/>
                  </a:cubicBezTo>
                  <a:cubicBezTo>
                    <a:pt x="4614" y="2260"/>
                    <a:pt x="4625" y="2260"/>
                    <a:pt x="4637" y="2238"/>
                  </a:cubicBezTo>
                  <a:cubicBezTo>
                    <a:pt x="4651" y="2215"/>
                    <a:pt x="4651" y="2204"/>
                    <a:pt x="4651" y="2190"/>
                  </a:cubicBezTo>
                  <a:lnTo>
                    <a:pt x="4651" y="2168"/>
                  </a:lnTo>
                  <a:lnTo>
                    <a:pt x="4651" y="2145"/>
                  </a:lnTo>
                  <a:cubicBezTo>
                    <a:pt x="4662" y="2145"/>
                    <a:pt x="4662" y="2134"/>
                    <a:pt x="4673" y="2134"/>
                  </a:cubicBezTo>
                  <a:cubicBezTo>
                    <a:pt x="4673" y="2134"/>
                    <a:pt x="4684" y="2120"/>
                    <a:pt x="4695" y="2109"/>
                  </a:cubicBezTo>
                  <a:cubicBezTo>
                    <a:pt x="4720" y="2098"/>
                    <a:pt x="4732" y="2064"/>
                    <a:pt x="4743" y="2039"/>
                  </a:cubicBezTo>
                  <a:cubicBezTo>
                    <a:pt x="4743" y="2028"/>
                    <a:pt x="4754" y="2017"/>
                    <a:pt x="4754" y="2017"/>
                  </a:cubicBezTo>
                  <a:cubicBezTo>
                    <a:pt x="4765" y="2006"/>
                    <a:pt x="4765" y="1994"/>
                    <a:pt x="4776" y="1994"/>
                  </a:cubicBezTo>
                  <a:cubicBezTo>
                    <a:pt x="4790" y="1994"/>
                    <a:pt x="4802" y="1994"/>
                    <a:pt x="4835" y="1980"/>
                  </a:cubicBezTo>
                  <a:lnTo>
                    <a:pt x="4835" y="1980"/>
                  </a:lnTo>
                  <a:lnTo>
                    <a:pt x="4835" y="1980"/>
                  </a:lnTo>
                  <a:cubicBezTo>
                    <a:pt x="4851" y="1980"/>
                    <a:pt x="4862" y="1978"/>
                    <a:pt x="4871" y="1969"/>
                  </a:cubicBezTo>
                  <a:cubicBezTo>
                    <a:pt x="4883" y="1958"/>
                    <a:pt x="4894" y="1947"/>
                    <a:pt x="4894" y="1924"/>
                  </a:cubicBezTo>
                  <a:cubicBezTo>
                    <a:pt x="4894" y="1899"/>
                    <a:pt x="4883" y="1888"/>
                    <a:pt x="4883" y="1888"/>
                  </a:cubicBezTo>
                  <a:cubicBezTo>
                    <a:pt x="4871" y="1877"/>
                    <a:pt x="4871" y="1866"/>
                    <a:pt x="4871" y="1866"/>
                  </a:cubicBezTo>
                  <a:lnTo>
                    <a:pt x="4883" y="1855"/>
                  </a:lnTo>
                  <a:cubicBezTo>
                    <a:pt x="4883" y="1855"/>
                    <a:pt x="4894" y="1841"/>
                    <a:pt x="4905" y="1829"/>
                  </a:cubicBezTo>
                  <a:cubicBezTo>
                    <a:pt x="4916" y="1818"/>
                    <a:pt x="4916" y="1807"/>
                    <a:pt x="4916" y="1796"/>
                  </a:cubicBezTo>
                  <a:cubicBezTo>
                    <a:pt x="4916" y="1771"/>
                    <a:pt x="4905" y="1748"/>
                    <a:pt x="4905" y="1737"/>
                  </a:cubicBezTo>
                  <a:cubicBezTo>
                    <a:pt x="4883" y="1690"/>
                    <a:pt x="4846" y="1645"/>
                    <a:pt x="4824" y="1608"/>
                  </a:cubicBezTo>
                  <a:cubicBezTo>
                    <a:pt x="4802" y="1586"/>
                    <a:pt x="4790" y="1561"/>
                    <a:pt x="4776" y="1550"/>
                  </a:cubicBezTo>
                  <a:cubicBezTo>
                    <a:pt x="4765" y="1527"/>
                    <a:pt x="4765" y="1505"/>
                    <a:pt x="4765" y="1491"/>
                  </a:cubicBezTo>
                  <a:lnTo>
                    <a:pt x="4765" y="1469"/>
                  </a:lnTo>
                  <a:cubicBezTo>
                    <a:pt x="4776" y="1457"/>
                    <a:pt x="4776" y="1446"/>
                    <a:pt x="4802" y="1435"/>
                  </a:cubicBezTo>
                  <a:cubicBezTo>
                    <a:pt x="4813" y="1421"/>
                    <a:pt x="4824" y="1399"/>
                    <a:pt x="4835" y="1388"/>
                  </a:cubicBezTo>
                  <a:cubicBezTo>
                    <a:pt x="4846" y="1365"/>
                    <a:pt x="4846" y="1351"/>
                    <a:pt x="4846" y="1329"/>
                  </a:cubicBezTo>
                  <a:cubicBezTo>
                    <a:pt x="4846" y="1295"/>
                    <a:pt x="4835" y="1270"/>
                    <a:pt x="4824" y="1248"/>
                  </a:cubicBezTo>
                  <a:cubicBezTo>
                    <a:pt x="4813" y="1237"/>
                    <a:pt x="4813" y="1225"/>
                    <a:pt x="4813" y="1225"/>
                  </a:cubicBezTo>
                  <a:lnTo>
                    <a:pt x="4824" y="1211"/>
                  </a:lnTo>
                  <a:lnTo>
                    <a:pt x="4905" y="1211"/>
                  </a:lnTo>
                  <a:cubicBezTo>
                    <a:pt x="4975" y="1211"/>
                    <a:pt x="5056" y="1167"/>
                    <a:pt x="5092" y="1097"/>
                  </a:cubicBezTo>
                  <a:cubicBezTo>
                    <a:pt x="5115" y="1072"/>
                    <a:pt x="5115" y="1049"/>
                    <a:pt x="5126" y="1038"/>
                  </a:cubicBezTo>
                  <a:cubicBezTo>
                    <a:pt x="5140" y="1016"/>
                    <a:pt x="5162" y="1002"/>
                    <a:pt x="5173" y="1002"/>
                  </a:cubicBezTo>
                  <a:lnTo>
                    <a:pt x="5173" y="1016"/>
                  </a:lnTo>
                  <a:lnTo>
                    <a:pt x="5196" y="1016"/>
                  </a:lnTo>
                  <a:cubicBezTo>
                    <a:pt x="5196" y="1027"/>
                    <a:pt x="5210" y="1027"/>
                    <a:pt x="5221" y="1038"/>
                  </a:cubicBezTo>
                  <a:cubicBezTo>
                    <a:pt x="5232" y="1038"/>
                    <a:pt x="5255" y="1049"/>
                    <a:pt x="5266" y="1049"/>
                  </a:cubicBezTo>
                  <a:cubicBezTo>
                    <a:pt x="5302" y="1049"/>
                    <a:pt x="5336" y="1027"/>
                    <a:pt x="5361" y="990"/>
                  </a:cubicBezTo>
                  <a:cubicBezTo>
                    <a:pt x="5372" y="979"/>
                    <a:pt x="5383" y="968"/>
                    <a:pt x="5383" y="957"/>
                  </a:cubicBezTo>
                  <a:lnTo>
                    <a:pt x="5383" y="909"/>
                  </a:lnTo>
                  <a:cubicBezTo>
                    <a:pt x="5383" y="839"/>
                    <a:pt x="5361" y="781"/>
                    <a:pt x="5336" y="722"/>
                  </a:cubicBezTo>
                  <a:cubicBezTo>
                    <a:pt x="5313" y="666"/>
                    <a:pt x="5291" y="619"/>
                    <a:pt x="5291" y="571"/>
                  </a:cubicBezTo>
                  <a:lnTo>
                    <a:pt x="5291" y="537"/>
                  </a:lnTo>
                  <a:cubicBezTo>
                    <a:pt x="5291" y="512"/>
                    <a:pt x="5302" y="490"/>
                    <a:pt x="5313" y="468"/>
                  </a:cubicBezTo>
                  <a:cubicBezTo>
                    <a:pt x="5324" y="431"/>
                    <a:pt x="5336" y="409"/>
                    <a:pt x="5336" y="373"/>
                  </a:cubicBezTo>
                  <a:cubicBezTo>
                    <a:pt x="5336" y="361"/>
                    <a:pt x="5336" y="350"/>
                    <a:pt x="5324" y="350"/>
                  </a:cubicBezTo>
                  <a:lnTo>
                    <a:pt x="5324" y="339"/>
                  </a:lnTo>
                  <a:cubicBezTo>
                    <a:pt x="5324" y="328"/>
                    <a:pt x="5313" y="317"/>
                    <a:pt x="5302" y="303"/>
                  </a:cubicBezTo>
                  <a:cubicBezTo>
                    <a:pt x="5291" y="291"/>
                    <a:pt x="5280" y="291"/>
                    <a:pt x="5280" y="291"/>
                  </a:cubicBezTo>
                  <a:lnTo>
                    <a:pt x="5196" y="291"/>
                  </a:lnTo>
                  <a:cubicBezTo>
                    <a:pt x="5173" y="291"/>
                    <a:pt x="5151" y="280"/>
                    <a:pt x="5140" y="269"/>
                  </a:cubicBezTo>
                  <a:cubicBezTo>
                    <a:pt x="5115" y="269"/>
                    <a:pt x="5104" y="247"/>
                    <a:pt x="5081" y="233"/>
                  </a:cubicBezTo>
                  <a:cubicBezTo>
                    <a:pt x="5056" y="199"/>
                    <a:pt x="5022" y="177"/>
                    <a:pt x="4975" y="140"/>
                  </a:cubicBezTo>
                  <a:cubicBezTo>
                    <a:pt x="4941" y="118"/>
                    <a:pt x="4894" y="107"/>
                    <a:pt x="4846" y="93"/>
                  </a:cubicBezTo>
                  <a:lnTo>
                    <a:pt x="4835" y="93"/>
                  </a:lnTo>
                  <a:cubicBezTo>
                    <a:pt x="4802" y="93"/>
                    <a:pt x="4776" y="107"/>
                    <a:pt x="4754" y="107"/>
                  </a:cubicBezTo>
                  <a:cubicBezTo>
                    <a:pt x="4720" y="107"/>
                    <a:pt x="4706" y="93"/>
                    <a:pt x="4695" y="82"/>
                  </a:cubicBezTo>
                  <a:cubicBezTo>
                    <a:pt x="4684" y="82"/>
                    <a:pt x="4673" y="71"/>
                    <a:pt x="4673" y="59"/>
                  </a:cubicBezTo>
                  <a:cubicBezTo>
                    <a:pt x="4662" y="48"/>
                    <a:pt x="4651" y="37"/>
                    <a:pt x="4637" y="23"/>
                  </a:cubicBezTo>
                  <a:cubicBezTo>
                    <a:pt x="4614" y="12"/>
                    <a:pt x="4592" y="1"/>
                    <a:pt x="458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87;p17">
              <a:extLst>
                <a:ext uri="{FF2B5EF4-FFF2-40B4-BE49-F238E27FC236}">
                  <a16:creationId xmlns:a16="http://schemas.microsoft.com/office/drawing/2014/main" xmlns="" id="{3F9A6FCB-398F-4094-610E-001ED404E323}"/>
                </a:ext>
              </a:extLst>
            </p:cNvPr>
            <p:cNvSpPr/>
            <p:nvPr/>
          </p:nvSpPr>
          <p:spPr>
            <a:xfrm>
              <a:off x="1578266" y="1531837"/>
              <a:ext cx="929117" cy="672068"/>
            </a:xfrm>
            <a:custGeom>
              <a:avLst/>
              <a:gdLst/>
              <a:ahLst/>
              <a:cxnLst/>
              <a:rect l="l" t="t" r="r" b="b"/>
              <a:pathLst>
                <a:path w="4030" h="2915" extrusionOk="0">
                  <a:moveTo>
                    <a:pt x="1931" y="1"/>
                  </a:moveTo>
                  <a:cubicBezTo>
                    <a:pt x="1903" y="1"/>
                    <a:pt x="1882" y="26"/>
                    <a:pt x="1851" y="26"/>
                  </a:cubicBezTo>
                  <a:cubicBezTo>
                    <a:pt x="1840" y="26"/>
                    <a:pt x="1818" y="14"/>
                    <a:pt x="1818" y="3"/>
                  </a:cubicBezTo>
                  <a:cubicBezTo>
                    <a:pt x="1806" y="14"/>
                    <a:pt x="1792" y="26"/>
                    <a:pt x="1792" y="48"/>
                  </a:cubicBezTo>
                  <a:cubicBezTo>
                    <a:pt x="1792" y="62"/>
                    <a:pt x="1806" y="73"/>
                    <a:pt x="1792" y="84"/>
                  </a:cubicBezTo>
                  <a:cubicBezTo>
                    <a:pt x="1781" y="96"/>
                    <a:pt x="1781" y="96"/>
                    <a:pt x="1770" y="96"/>
                  </a:cubicBezTo>
                  <a:cubicBezTo>
                    <a:pt x="1759" y="118"/>
                    <a:pt x="1770" y="132"/>
                    <a:pt x="1781" y="154"/>
                  </a:cubicBezTo>
                  <a:cubicBezTo>
                    <a:pt x="1781" y="165"/>
                    <a:pt x="1759" y="188"/>
                    <a:pt x="1748" y="202"/>
                  </a:cubicBezTo>
                  <a:cubicBezTo>
                    <a:pt x="1723" y="235"/>
                    <a:pt x="1689" y="258"/>
                    <a:pt x="1667" y="294"/>
                  </a:cubicBezTo>
                  <a:cubicBezTo>
                    <a:pt x="1641" y="316"/>
                    <a:pt x="1608" y="328"/>
                    <a:pt x="1572" y="353"/>
                  </a:cubicBezTo>
                  <a:cubicBezTo>
                    <a:pt x="1549" y="364"/>
                    <a:pt x="1513" y="398"/>
                    <a:pt x="1513" y="434"/>
                  </a:cubicBezTo>
                  <a:cubicBezTo>
                    <a:pt x="1513" y="445"/>
                    <a:pt x="1527" y="467"/>
                    <a:pt x="1513" y="481"/>
                  </a:cubicBezTo>
                  <a:lnTo>
                    <a:pt x="1502" y="493"/>
                  </a:lnTo>
                  <a:cubicBezTo>
                    <a:pt x="1468" y="515"/>
                    <a:pt x="1421" y="504"/>
                    <a:pt x="1398" y="537"/>
                  </a:cubicBezTo>
                  <a:cubicBezTo>
                    <a:pt x="1398" y="551"/>
                    <a:pt x="1398" y="551"/>
                    <a:pt x="1387" y="562"/>
                  </a:cubicBezTo>
                  <a:cubicBezTo>
                    <a:pt x="1387" y="574"/>
                    <a:pt x="1362" y="585"/>
                    <a:pt x="1351" y="585"/>
                  </a:cubicBezTo>
                  <a:cubicBezTo>
                    <a:pt x="1351" y="596"/>
                    <a:pt x="1362" y="607"/>
                    <a:pt x="1362" y="607"/>
                  </a:cubicBezTo>
                  <a:cubicBezTo>
                    <a:pt x="1373" y="621"/>
                    <a:pt x="1387" y="621"/>
                    <a:pt x="1398" y="621"/>
                  </a:cubicBezTo>
                  <a:cubicBezTo>
                    <a:pt x="1421" y="632"/>
                    <a:pt x="1443" y="655"/>
                    <a:pt x="1432" y="691"/>
                  </a:cubicBezTo>
                  <a:cubicBezTo>
                    <a:pt x="1432" y="702"/>
                    <a:pt x="1421" y="713"/>
                    <a:pt x="1421" y="725"/>
                  </a:cubicBezTo>
                  <a:cubicBezTo>
                    <a:pt x="1421" y="736"/>
                    <a:pt x="1432" y="747"/>
                    <a:pt x="1432" y="747"/>
                  </a:cubicBezTo>
                  <a:cubicBezTo>
                    <a:pt x="1443" y="772"/>
                    <a:pt x="1443" y="795"/>
                    <a:pt x="1432" y="806"/>
                  </a:cubicBezTo>
                  <a:cubicBezTo>
                    <a:pt x="1421" y="806"/>
                    <a:pt x="1421" y="806"/>
                    <a:pt x="1409" y="817"/>
                  </a:cubicBezTo>
                  <a:cubicBezTo>
                    <a:pt x="1387" y="817"/>
                    <a:pt x="1373" y="817"/>
                    <a:pt x="1362" y="806"/>
                  </a:cubicBezTo>
                  <a:cubicBezTo>
                    <a:pt x="1344" y="797"/>
                    <a:pt x="1316" y="780"/>
                    <a:pt x="1295" y="780"/>
                  </a:cubicBezTo>
                  <a:cubicBezTo>
                    <a:pt x="1290" y="780"/>
                    <a:pt x="1285" y="781"/>
                    <a:pt x="1281" y="783"/>
                  </a:cubicBezTo>
                  <a:cubicBezTo>
                    <a:pt x="1254" y="792"/>
                    <a:pt x="1232" y="809"/>
                    <a:pt x="1207" y="809"/>
                  </a:cubicBezTo>
                  <a:cubicBezTo>
                    <a:pt x="1201" y="809"/>
                    <a:pt x="1195" y="808"/>
                    <a:pt x="1188" y="806"/>
                  </a:cubicBezTo>
                  <a:cubicBezTo>
                    <a:pt x="1152" y="795"/>
                    <a:pt x="1141" y="761"/>
                    <a:pt x="1119" y="747"/>
                  </a:cubicBezTo>
                  <a:cubicBezTo>
                    <a:pt x="1114" y="746"/>
                    <a:pt x="1110" y="746"/>
                    <a:pt x="1106" y="746"/>
                  </a:cubicBezTo>
                  <a:cubicBezTo>
                    <a:pt x="1065" y="746"/>
                    <a:pt x="1033" y="795"/>
                    <a:pt x="990" y="795"/>
                  </a:cubicBezTo>
                  <a:cubicBezTo>
                    <a:pt x="942" y="795"/>
                    <a:pt x="920" y="736"/>
                    <a:pt x="872" y="725"/>
                  </a:cubicBezTo>
                  <a:cubicBezTo>
                    <a:pt x="861" y="719"/>
                    <a:pt x="847" y="719"/>
                    <a:pt x="832" y="719"/>
                  </a:cubicBezTo>
                  <a:cubicBezTo>
                    <a:pt x="817" y="719"/>
                    <a:pt x="803" y="719"/>
                    <a:pt x="791" y="713"/>
                  </a:cubicBezTo>
                  <a:cubicBezTo>
                    <a:pt x="780" y="713"/>
                    <a:pt x="769" y="702"/>
                    <a:pt x="758" y="691"/>
                  </a:cubicBezTo>
                  <a:cubicBezTo>
                    <a:pt x="733" y="691"/>
                    <a:pt x="721" y="677"/>
                    <a:pt x="710" y="677"/>
                  </a:cubicBezTo>
                  <a:cubicBezTo>
                    <a:pt x="663" y="677"/>
                    <a:pt x="629" y="666"/>
                    <a:pt x="582" y="666"/>
                  </a:cubicBezTo>
                  <a:lnTo>
                    <a:pt x="548" y="666"/>
                  </a:lnTo>
                  <a:cubicBezTo>
                    <a:pt x="523" y="677"/>
                    <a:pt x="534" y="713"/>
                    <a:pt x="548" y="736"/>
                  </a:cubicBezTo>
                  <a:cubicBezTo>
                    <a:pt x="548" y="787"/>
                    <a:pt x="504" y="844"/>
                    <a:pt x="448" y="844"/>
                  </a:cubicBezTo>
                  <a:cubicBezTo>
                    <a:pt x="427" y="844"/>
                    <a:pt x="405" y="836"/>
                    <a:pt x="383" y="817"/>
                  </a:cubicBezTo>
                  <a:cubicBezTo>
                    <a:pt x="372" y="806"/>
                    <a:pt x="372" y="795"/>
                    <a:pt x="361" y="783"/>
                  </a:cubicBezTo>
                  <a:cubicBezTo>
                    <a:pt x="361" y="772"/>
                    <a:pt x="350" y="761"/>
                    <a:pt x="350" y="747"/>
                  </a:cubicBezTo>
                  <a:cubicBezTo>
                    <a:pt x="338" y="736"/>
                    <a:pt x="313" y="736"/>
                    <a:pt x="302" y="736"/>
                  </a:cubicBezTo>
                  <a:cubicBezTo>
                    <a:pt x="291" y="747"/>
                    <a:pt x="291" y="761"/>
                    <a:pt x="280" y="772"/>
                  </a:cubicBezTo>
                  <a:cubicBezTo>
                    <a:pt x="268" y="783"/>
                    <a:pt x="243" y="806"/>
                    <a:pt x="243" y="831"/>
                  </a:cubicBezTo>
                  <a:lnTo>
                    <a:pt x="243" y="864"/>
                  </a:lnTo>
                  <a:cubicBezTo>
                    <a:pt x="232" y="864"/>
                    <a:pt x="221" y="864"/>
                    <a:pt x="210" y="876"/>
                  </a:cubicBezTo>
                  <a:cubicBezTo>
                    <a:pt x="185" y="887"/>
                    <a:pt x="162" y="923"/>
                    <a:pt x="162" y="957"/>
                  </a:cubicBezTo>
                  <a:cubicBezTo>
                    <a:pt x="173" y="982"/>
                    <a:pt x="185" y="1015"/>
                    <a:pt x="199" y="1052"/>
                  </a:cubicBezTo>
                  <a:cubicBezTo>
                    <a:pt x="221" y="1074"/>
                    <a:pt x="232" y="1111"/>
                    <a:pt x="221" y="1144"/>
                  </a:cubicBezTo>
                  <a:cubicBezTo>
                    <a:pt x="216" y="1146"/>
                    <a:pt x="211" y="1146"/>
                    <a:pt x="206" y="1146"/>
                  </a:cubicBezTo>
                  <a:cubicBezTo>
                    <a:pt x="178" y="1146"/>
                    <a:pt x="158" y="1120"/>
                    <a:pt x="129" y="1111"/>
                  </a:cubicBezTo>
                  <a:cubicBezTo>
                    <a:pt x="111" y="1093"/>
                    <a:pt x="89" y="1076"/>
                    <a:pt x="68" y="1076"/>
                  </a:cubicBezTo>
                  <a:cubicBezTo>
                    <a:pt x="60" y="1076"/>
                    <a:pt x="52" y="1079"/>
                    <a:pt x="45" y="1085"/>
                  </a:cubicBezTo>
                  <a:cubicBezTo>
                    <a:pt x="34" y="1097"/>
                    <a:pt x="22" y="1111"/>
                    <a:pt x="22" y="1133"/>
                  </a:cubicBezTo>
                  <a:cubicBezTo>
                    <a:pt x="22" y="1155"/>
                    <a:pt x="11" y="1166"/>
                    <a:pt x="0" y="1192"/>
                  </a:cubicBezTo>
                  <a:lnTo>
                    <a:pt x="0" y="1214"/>
                  </a:lnTo>
                  <a:cubicBezTo>
                    <a:pt x="0" y="1225"/>
                    <a:pt x="11" y="1236"/>
                    <a:pt x="22" y="1262"/>
                  </a:cubicBezTo>
                  <a:cubicBezTo>
                    <a:pt x="34" y="1284"/>
                    <a:pt x="59" y="1306"/>
                    <a:pt x="81" y="1320"/>
                  </a:cubicBezTo>
                  <a:cubicBezTo>
                    <a:pt x="92" y="1320"/>
                    <a:pt x="104" y="1331"/>
                    <a:pt x="104" y="1343"/>
                  </a:cubicBezTo>
                  <a:cubicBezTo>
                    <a:pt x="104" y="1354"/>
                    <a:pt x="92" y="1365"/>
                    <a:pt x="92" y="1376"/>
                  </a:cubicBezTo>
                  <a:cubicBezTo>
                    <a:pt x="92" y="1401"/>
                    <a:pt x="129" y="1424"/>
                    <a:pt x="140" y="1446"/>
                  </a:cubicBezTo>
                  <a:cubicBezTo>
                    <a:pt x="140" y="1471"/>
                    <a:pt x="129" y="1494"/>
                    <a:pt x="115" y="1516"/>
                  </a:cubicBezTo>
                  <a:cubicBezTo>
                    <a:pt x="104" y="1530"/>
                    <a:pt x="92" y="1552"/>
                    <a:pt x="92" y="1575"/>
                  </a:cubicBezTo>
                  <a:cubicBezTo>
                    <a:pt x="92" y="1600"/>
                    <a:pt x="115" y="1611"/>
                    <a:pt x="140" y="1611"/>
                  </a:cubicBezTo>
                  <a:cubicBezTo>
                    <a:pt x="151" y="1611"/>
                    <a:pt x="151" y="1633"/>
                    <a:pt x="140" y="1645"/>
                  </a:cubicBezTo>
                  <a:cubicBezTo>
                    <a:pt x="140" y="1656"/>
                    <a:pt x="129" y="1670"/>
                    <a:pt x="129" y="1681"/>
                  </a:cubicBezTo>
                  <a:cubicBezTo>
                    <a:pt x="129" y="1703"/>
                    <a:pt x="151" y="1726"/>
                    <a:pt x="173" y="1740"/>
                  </a:cubicBezTo>
                  <a:cubicBezTo>
                    <a:pt x="199" y="1751"/>
                    <a:pt x="221" y="1762"/>
                    <a:pt x="232" y="1784"/>
                  </a:cubicBezTo>
                  <a:cubicBezTo>
                    <a:pt x="243" y="1810"/>
                    <a:pt x="232" y="1843"/>
                    <a:pt x="243" y="1880"/>
                  </a:cubicBezTo>
                  <a:cubicBezTo>
                    <a:pt x="255" y="1902"/>
                    <a:pt x="291" y="1913"/>
                    <a:pt x="313" y="1913"/>
                  </a:cubicBezTo>
                  <a:cubicBezTo>
                    <a:pt x="350" y="1913"/>
                    <a:pt x="383" y="1913"/>
                    <a:pt x="408" y="1924"/>
                  </a:cubicBezTo>
                  <a:cubicBezTo>
                    <a:pt x="489" y="1949"/>
                    <a:pt x="548" y="2100"/>
                    <a:pt x="489" y="2170"/>
                  </a:cubicBezTo>
                  <a:cubicBezTo>
                    <a:pt x="464" y="2193"/>
                    <a:pt x="419" y="2204"/>
                    <a:pt x="383" y="2229"/>
                  </a:cubicBezTo>
                  <a:cubicBezTo>
                    <a:pt x="383" y="2229"/>
                    <a:pt x="372" y="2229"/>
                    <a:pt x="372" y="2240"/>
                  </a:cubicBezTo>
                  <a:cubicBezTo>
                    <a:pt x="350" y="2263"/>
                    <a:pt x="338" y="2285"/>
                    <a:pt x="350" y="2321"/>
                  </a:cubicBezTo>
                  <a:cubicBezTo>
                    <a:pt x="361" y="2332"/>
                    <a:pt x="383" y="2344"/>
                    <a:pt x="383" y="2369"/>
                  </a:cubicBezTo>
                  <a:cubicBezTo>
                    <a:pt x="394" y="2380"/>
                    <a:pt x="408" y="2380"/>
                    <a:pt x="419" y="2380"/>
                  </a:cubicBezTo>
                  <a:lnTo>
                    <a:pt x="431" y="2380"/>
                  </a:lnTo>
                  <a:cubicBezTo>
                    <a:pt x="442" y="2380"/>
                    <a:pt x="453" y="2380"/>
                    <a:pt x="464" y="2369"/>
                  </a:cubicBezTo>
                  <a:cubicBezTo>
                    <a:pt x="478" y="2355"/>
                    <a:pt x="478" y="2355"/>
                    <a:pt x="489" y="2344"/>
                  </a:cubicBezTo>
                  <a:cubicBezTo>
                    <a:pt x="489" y="2332"/>
                    <a:pt x="512" y="2321"/>
                    <a:pt x="534" y="2310"/>
                  </a:cubicBezTo>
                  <a:cubicBezTo>
                    <a:pt x="548" y="2310"/>
                    <a:pt x="570" y="2310"/>
                    <a:pt x="570" y="2299"/>
                  </a:cubicBezTo>
                  <a:lnTo>
                    <a:pt x="570" y="2274"/>
                  </a:lnTo>
                  <a:cubicBezTo>
                    <a:pt x="570" y="2263"/>
                    <a:pt x="593" y="2251"/>
                    <a:pt x="604" y="2240"/>
                  </a:cubicBezTo>
                  <a:cubicBezTo>
                    <a:pt x="604" y="2240"/>
                    <a:pt x="618" y="2229"/>
                    <a:pt x="629" y="2229"/>
                  </a:cubicBezTo>
                  <a:cubicBezTo>
                    <a:pt x="640" y="2229"/>
                    <a:pt x="652" y="2251"/>
                    <a:pt x="663" y="2263"/>
                  </a:cubicBezTo>
                  <a:cubicBezTo>
                    <a:pt x="674" y="2274"/>
                    <a:pt x="688" y="2285"/>
                    <a:pt x="699" y="2285"/>
                  </a:cubicBezTo>
                  <a:lnTo>
                    <a:pt x="710" y="2285"/>
                  </a:lnTo>
                  <a:cubicBezTo>
                    <a:pt x="733" y="2274"/>
                    <a:pt x="710" y="2251"/>
                    <a:pt x="721" y="2240"/>
                  </a:cubicBezTo>
                  <a:cubicBezTo>
                    <a:pt x="721" y="2229"/>
                    <a:pt x="733" y="2229"/>
                    <a:pt x="744" y="2229"/>
                  </a:cubicBezTo>
                  <a:cubicBezTo>
                    <a:pt x="758" y="2229"/>
                    <a:pt x="769" y="2229"/>
                    <a:pt x="780" y="2215"/>
                  </a:cubicBezTo>
                  <a:cubicBezTo>
                    <a:pt x="791" y="2215"/>
                    <a:pt x="791" y="2215"/>
                    <a:pt x="803" y="2204"/>
                  </a:cubicBezTo>
                  <a:cubicBezTo>
                    <a:pt x="814" y="2193"/>
                    <a:pt x="839" y="2181"/>
                    <a:pt x="861" y="2181"/>
                  </a:cubicBezTo>
                  <a:cubicBezTo>
                    <a:pt x="884" y="2181"/>
                    <a:pt x="898" y="2193"/>
                    <a:pt x="909" y="2193"/>
                  </a:cubicBezTo>
                  <a:cubicBezTo>
                    <a:pt x="920" y="2193"/>
                    <a:pt x="931" y="2181"/>
                    <a:pt x="942" y="2181"/>
                  </a:cubicBezTo>
                  <a:cubicBezTo>
                    <a:pt x="946" y="2178"/>
                    <a:pt x="950" y="2177"/>
                    <a:pt x="955" y="2177"/>
                  </a:cubicBezTo>
                  <a:cubicBezTo>
                    <a:pt x="964" y="2177"/>
                    <a:pt x="975" y="2181"/>
                    <a:pt x="990" y="2181"/>
                  </a:cubicBezTo>
                  <a:cubicBezTo>
                    <a:pt x="1001" y="2204"/>
                    <a:pt x="1023" y="2240"/>
                    <a:pt x="1023" y="2263"/>
                  </a:cubicBezTo>
                  <a:cubicBezTo>
                    <a:pt x="1012" y="2274"/>
                    <a:pt x="1012" y="2274"/>
                    <a:pt x="1012" y="2285"/>
                  </a:cubicBezTo>
                  <a:cubicBezTo>
                    <a:pt x="1001" y="2310"/>
                    <a:pt x="1023" y="2344"/>
                    <a:pt x="1049" y="2355"/>
                  </a:cubicBezTo>
                  <a:cubicBezTo>
                    <a:pt x="1060" y="2355"/>
                    <a:pt x="1071" y="2355"/>
                    <a:pt x="1071" y="2369"/>
                  </a:cubicBezTo>
                  <a:cubicBezTo>
                    <a:pt x="1082" y="2369"/>
                    <a:pt x="1093" y="2369"/>
                    <a:pt x="1093" y="2380"/>
                  </a:cubicBezTo>
                  <a:lnTo>
                    <a:pt x="1093" y="2391"/>
                  </a:lnTo>
                  <a:cubicBezTo>
                    <a:pt x="1082" y="2414"/>
                    <a:pt x="1060" y="2439"/>
                    <a:pt x="1060" y="2461"/>
                  </a:cubicBezTo>
                  <a:cubicBezTo>
                    <a:pt x="1060" y="2483"/>
                    <a:pt x="1071" y="2509"/>
                    <a:pt x="1082" y="2520"/>
                  </a:cubicBezTo>
                  <a:cubicBezTo>
                    <a:pt x="1093" y="2531"/>
                    <a:pt x="1107" y="2542"/>
                    <a:pt x="1119" y="2542"/>
                  </a:cubicBezTo>
                  <a:cubicBezTo>
                    <a:pt x="1130" y="2542"/>
                    <a:pt x="1130" y="2531"/>
                    <a:pt x="1141" y="2531"/>
                  </a:cubicBezTo>
                  <a:cubicBezTo>
                    <a:pt x="1145" y="2527"/>
                    <a:pt x="1148" y="2526"/>
                    <a:pt x="1152" y="2526"/>
                  </a:cubicBezTo>
                  <a:cubicBezTo>
                    <a:pt x="1160" y="2526"/>
                    <a:pt x="1168" y="2531"/>
                    <a:pt x="1177" y="2531"/>
                  </a:cubicBezTo>
                  <a:cubicBezTo>
                    <a:pt x="1188" y="2520"/>
                    <a:pt x="1188" y="2509"/>
                    <a:pt x="1200" y="2495"/>
                  </a:cubicBezTo>
                  <a:cubicBezTo>
                    <a:pt x="1200" y="2483"/>
                    <a:pt x="1200" y="2472"/>
                    <a:pt x="1211" y="2461"/>
                  </a:cubicBezTo>
                  <a:cubicBezTo>
                    <a:pt x="1211" y="2450"/>
                    <a:pt x="1222" y="2439"/>
                    <a:pt x="1233" y="2425"/>
                  </a:cubicBezTo>
                  <a:cubicBezTo>
                    <a:pt x="1247" y="2414"/>
                    <a:pt x="1247" y="2414"/>
                    <a:pt x="1258" y="2414"/>
                  </a:cubicBezTo>
                  <a:lnTo>
                    <a:pt x="1270" y="2414"/>
                  </a:lnTo>
                  <a:cubicBezTo>
                    <a:pt x="1328" y="2450"/>
                    <a:pt x="1339" y="2520"/>
                    <a:pt x="1398" y="2542"/>
                  </a:cubicBezTo>
                  <a:lnTo>
                    <a:pt x="1421" y="2542"/>
                  </a:lnTo>
                  <a:cubicBezTo>
                    <a:pt x="1443" y="2553"/>
                    <a:pt x="1443" y="2590"/>
                    <a:pt x="1443" y="2612"/>
                  </a:cubicBezTo>
                  <a:cubicBezTo>
                    <a:pt x="1443" y="2634"/>
                    <a:pt x="1432" y="2660"/>
                    <a:pt x="1443" y="2682"/>
                  </a:cubicBezTo>
                  <a:cubicBezTo>
                    <a:pt x="1443" y="2704"/>
                    <a:pt x="1457" y="2730"/>
                    <a:pt x="1479" y="2730"/>
                  </a:cubicBezTo>
                  <a:cubicBezTo>
                    <a:pt x="1513" y="2730"/>
                    <a:pt x="1527" y="2693"/>
                    <a:pt x="1560" y="2682"/>
                  </a:cubicBezTo>
                  <a:lnTo>
                    <a:pt x="1597" y="2682"/>
                  </a:lnTo>
                  <a:cubicBezTo>
                    <a:pt x="1608" y="2682"/>
                    <a:pt x="1630" y="2682"/>
                    <a:pt x="1630" y="2671"/>
                  </a:cubicBezTo>
                  <a:cubicBezTo>
                    <a:pt x="1630" y="2660"/>
                    <a:pt x="1619" y="2648"/>
                    <a:pt x="1619" y="2634"/>
                  </a:cubicBezTo>
                  <a:cubicBezTo>
                    <a:pt x="1608" y="2623"/>
                    <a:pt x="1608" y="2612"/>
                    <a:pt x="1619" y="2601"/>
                  </a:cubicBezTo>
                  <a:cubicBezTo>
                    <a:pt x="1619" y="2601"/>
                    <a:pt x="1630" y="2601"/>
                    <a:pt x="1641" y="2590"/>
                  </a:cubicBezTo>
                  <a:lnTo>
                    <a:pt x="1641" y="2565"/>
                  </a:lnTo>
                  <a:cubicBezTo>
                    <a:pt x="1653" y="2553"/>
                    <a:pt x="1667" y="2553"/>
                    <a:pt x="1678" y="2553"/>
                  </a:cubicBezTo>
                  <a:cubicBezTo>
                    <a:pt x="1695" y="2553"/>
                    <a:pt x="1713" y="2569"/>
                    <a:pt x="1726" y="2569"/>
                  </a:cubicBezTo>
                  <a:cubicBezTo>
                    <a:pt x="1730" y="2569"/>
                    <a:pt x="1733" y="2568"/>
                    <a:pt x="1737" y="2565"/>
                  </a:cubicBezTo>
                  <a:cubicBezTo>
                    <a:pt x="1737" y="2553"/>
                    <a:pt x="1748" y="2553"/>
                    <a:pt x="1748" y="2542"/>
                  </a:cubicBezTo>
                  <a:cubicBezTo>
                    <a:pt x="1759" y="2531"/>
                    <a:pt x="1781" y="2531"/>
                    <a:pt x="1792" y="2531"/>
                  </a:cubicBezTo>
                  <a:cubicBezTo>
                    <a:pt x="1829" y="2531"/>
                    <a:pt x="1851" y="2483"/>
                    <a:pt x="1829" y="2461"/>
                  </a:cubicBezTo>
                  <a:cubicBezTo>
                    <a:pt x="1818" y="2439"/>
                    <a:pt x="1792" y="2425"/>
                    <a:pt x="1806" y="2414"/>
                  </a:cubicBezTo>
                  <a:lnTo>
                    <a:pt x="1818" y="2402"/>
                  </a:lnTo>
                  <a:cubicBezTo>
                    <a:pt x="1888" y="2355"/>
                    <a:pt x="1957" y="2310"/>
                    <a:pt x="1969" y="2240"/>
                  </a:cubicBezTo>
                  <a:cubicBezTo>
                    <a:pt x="1969" y="2215"/>
                    <a:pt x="1969" y="2204"/>
                    <a:pt x="1980" y="2193"/>
                  </a:cubicBezTo>
                  <a:cubicBezTo>
                    <a:pt x="1991" y="2181"/>
                    <a:pt x="2016" y="2181"/>
                    <a:pt x="2039" y="2181"/>
                  </a:cubicBezTo>
                  <a:cubicBezTo>
                    <a:pt x="2061" y="2193"/>
                    <a:pt x="2072" y="2215"/>
                    <a:pt x="2086" y="2229"/>
                  </a:cubicBezTo>
                  <a:cubicBezTo>
                    <a:pt x="2086" y="2251"/>
                    <a:pt x="2097" y="2263"/>
                    <a:pt x="2108" y="2274"/>
                  </a:cubicBezTo>
                  <a:lnTo>
                    <a:pt x="2226" y="2274"/>
                  </a:lnTo>
                  <a:cubicBezTo>
                    <a:pt x="2248" y="2274"/>
                    <a:pt x="2282" y="2274"/>
                    <a:pt x="2282" y="2299"/>
                  </a:cubicBezTo>
                  <a:cubicBezTo>
                    <a:pt x="2296" y="2321"/>
                    <a:pt x="2282" y="2332"/>
                    <a:pt x="2296" y="2344"/>
                  </a:cubicBezTo>
                  <a:cubicBezTo>
                    <a:pt x="2307" y="2380"/>
                    <a:pt x="2352" y="2369"/>
                    <a:pt x="2366" y="2391"/>
                  </a:cubicBezTo>
                  <a:cubicBezTo>
                    <a:pt x="2377" y="2414"/>
                    <a:pt x="2352" y="2450"/>
                    <a:pt x="2366" y="2472"/>
                  </a:cubicBezTo>
                  <a:cubicBezTo>
                    <a:pt x="2377" y="2495"/>
                    <a:pt x="2410" y="2483"/>
                    <a:pt x="2436" y="2495"/>
                  </a:cubicBezTo>
                  <a:cubicBezTo>
                    <a:pt x="2458" y="2509"/>
                    <a:pt x="2458" y="2531"/>
                    <a:pt x="2458" y="2565"/>
                  </a:cubicBezTo>
                  <a:cubicBezTo>
                    <a:pt x="2458" y="2601"/>
                    <a:pt x="2447" y="2634"/>
                    <a:pt x="2447" y="2660"/>
                  </a:cubicBezTo>
                  <a:cubicBezTo>
                    <a:pt x="2447" y="2682"/>
                    <a:pt x="2447" y="2704"/>
                    <a:pt x="2469" y="2704"/>
                  </a:cubicBezTo>
                  <a:cubicBezTo>
                    <a:pt x="2469" y="2709"/>
                    <a:pt x="2470" y="2711"/>
                    <a:pt x="2472" y="2711"/>
                  </a:cubicBezTo>
                  <a:cubicBezTo>
                    <a:pt x="2477" y="2711"/>
                    <a:pt x="2484" y="2704"/>
                    <a:pt x="2491" y="2704"/>
                  </a:cubicBezTo>
                  <a:cubicBezTo>
                    <a:pt x="2517" y="2704"/>
                    <a:pt x="2539" y="2730"/>
                    <a:pt x="2550" y="2741"/>
                  </a:cubicBezTo>
                  <a:cubicBezTo>
                    <a:pt x="2564" y="2749"/>
                    <a:pt x="2576" y="2753"/>
                    <a:pt x="2587" y="2753"/>
                  </a:cubicBezTo>
                  <a:cubicBezTo>
                    <a:pt x="2604" y="2753"/>
                    <a:pt x="2617" y="2743"/>
                    <a:pt x="2631" y="2730"/>
                  </a:cubicBezTo>
                  <a:cubicBezTo>
                    <a:pt x="2656" y="2704"/>
                    <a:pt x="2690" y="2693"/>
                    <a:pt x="2715" y="2693"/>
                  </a:cubicBezTo>
                  <a:cubicBezTo>
                    <a:pt x="2749" y="2693"/>
                    <a:pt x="2785" y="2718"/>
                    <a:pt x="2796" y="2741"/>
                  </a:cubicBezTo>
                  <a:cubicBezTo>
                    <a:pt x="2796" y="2752"/>
                    <a:pt x="2807" y="2763"/>
                    <a:pt x="2807" y="2763"/>
                  </a:cubicBezTo>
                  <a:cubicBezTo>
                    <a:pt x="2813" y="2769"/>
                    <a:pt x="2821" y="2769"/>
                    <a:pt x="2832" y="2769"/>
                  </a:cubicBezTo>
                  <a:cubicBezTo>
                    <a:pt x="2842" y="2769"/>
                    <a:pt x="2854" y="2769"/>
                    <a:pt x="2866" y="2774"/>
                  </a:cubicBezTo>
                  <a:cubicBezTo>
                    <a:pt x="2889" y="2774"/>
                    <a:pt x="2900" y="2811"/>
                    <a:pt x="2925" y="2833"/>
                  </a:cubicBezTo>
                  <a:lnTo>
                    <a:pt x="2925" y="2844"/>
                  </a:lnTo>
                  <a:lnTo>
                    <a:pt x="2947" y="2844"/>
                  </a:lnTo>
                  <a:cubicBezTo>
                    <a:pt x="2995" y="2833"/>
                    <a:pt x="3040" y="2811"/>
                    <a:pt x="3098" y="2811"/>
                  </a:cubicBezTo>
                  <a:cubicBezTo>
                    <a:pt x="3109" y="2811"/>
                    <a:pt x="3121" y="2822"/>
                    <a:pt x="3135" y="2822"/>
                  </a:cubicBezTo>
                  <a:cubicBezTo>
                    <a:pt x="3146" y="2844"/>
                    <a:pt x="3146" y="2858"/>
                    <a:pt x="3157" y="2881"/>
                  </a:cubicBezTo>
                  <a:cubicBezTo>
                    <a:pt x="3179" y="2903"/>
                    <a:pt x="3216" y="2914"/>
                    <a:pt x="3238" y="2914"/>
                  </a:cubicBezTo>
                  <a:cubicBezTo>
                    <a:pt x="3274" y="2914"/>
                    <a:pt x="3297" y="2903"/>
                    <a:pt x="3330" y="2881"/>
                  </a:cubicBezTo>
                  <a:cubicBezTo>
                    <a:pt x="3344" y="2869"/>
                    <a:pt x="3367" y="2858"/>
                    <a:pt x="3378" y="2858"/>
                  </a:cubicBezTo>
                  <a:cubicBezTo>
                    <a:pt x="3389" y="2858"/>
                    <a:pt x="3400" y="2869"/>
                    <a:pt x="3414" y="2869"/>
                  </a:cubicBezTo>
                  <a:cubicBezTo>
                    <a:pt x="3425" y="2844"/>
                    <a:pt x="3448" y="2822"/>
                    <a:pt x="3470" y="2822"/>
                  </a:cubicBezTo>
                  <a:cubicBezTo>
                    <a:pt x="3484" y="2788"/>
                    <a:pt x="3470" y="2752"/>
                    <a:pt x="3459" y="2718"/>
                  </a:cubicBezTo>
                  <a:cubicBezTo>
                    <a:pt x="3414" y="2730"/>
                    <a:pt x="3414" y="2822"/>
                    <a:pt x="3356" y="2822"/>
                  </a:cubicBezTo>
                  <a:cubicBezTo>
                    <a:pt x="3319" y="2822"/>
                    <a:pt x="3308" y="2774"/>
                    <a:pt x="3319" y="2741"/>
                  </a:cubicBezTo>
                  <a:cubicBezTo>
                    <a:pt x="3344" y="2704"/>
                    <a:pt x="3367" y="2660"/>
                    <a:pt x="3344" y="2623"/>
                  </a:cubicBezTo>
                  <a:cubicBezTo>
                    <a:pt x="3319" y="2579"/>
                    <a:pt x="3238" y="2590"/>
                    <a:pt x="3216" y="2531"/>
                  </a:cubicBezTo>
                  <a:cubicBezTo>
                    <a:pt x="3205" y="2509"/>
                    <a:pt x="3216" y="2483"/>
                    <a:pt x="3216" y="2450"/>
                  </a:cubicBezTo>
                  <a:cubicBezTo>
                    <a:pt x="3216" y="2428"/>
                    <a:pt x="3197" y="2400"/>
                    <a:pt x="3177" y="2400"/>
                  </a:cubicBezTo>
                  <a:cubicBezTo>
                    <a:pt x="3174" y="2400"/>
                    <a:pt x="3171" y="2401"/>
                    <a:pt x="3168" y="2402"/>
                  </a:cubicBezTo>
                  <a:cubicBezTo>
                    <a:pt x="3157" y="2414"/>
                    <a:pt x="3157" y="2414"/>
                    <a:pt x="3146" y="2414"/>
                  </a:cubicBezTo>
                  <a:cubicBezTo>
                    <a:pt x="3135" y="2424"/>
                    <a:pt x="3123" y="2428"/>
                    <a:pt x="3111" y="2428"/>
                  </a:cubicBezTo>
                  <a:cubicBezTo>
                    <a:pt x="3080" y="2428"/>
                    <a:pt x="3048" y="2401"/>
                    <a:pt x="3040" y="2369"/>
                  </a:cubicBezTo>
                  <a:cubicBezTo>
                    <a:pt x="3017" y="2321"/>
                    <a:pt x="3040" y="2274"/>
                    <a:pt x="3051" y="2229"/>
                  </a:cubicBezTo>
                  <a:cubicBezTo>
                    <a:pt x="3065" y="2215"/>
                    <a:pt x="3065" y="2193"/>
                    <a:pt x="3087" y="2181"/>
                  </a:cubicBezTo>
                  <a:lnTo>
                    <a:pt x="3274" y="2181"/>
                  </a:lnTo>
                  <a:cubicBezTo>
                    <a:pt x="3274" y="2123"/>
                    <a:pt x="3191" y="2064"/>
                    <a:pt x="3227" y="2019"/>
                  </a:cubicBezTo>
                  <a:cubicBezTo>
                    <a:pt x="3235" y="2006"/>
                    <a:pt x="3248" y="2001"/>
                    <a:pt x="3262" y="2001"/>
                  </a:cubicBezTo>
                  <a:cubicBezTo>
                    <a:pt x="3289" y="2001"/>
                    <a:pt x="3321" y="2018"/>
                    <a:pt x="3344" y="2042"/>
                  </a:cubicBezTo>
                  <a:cubicBezTo>
                    <a:pt x="3378" y="2064"/>
                    <a:pt x="3400" y="2112"/>
                    <a:pt x="3448" y="2123"/>
                  </a:cubicBezTo>
                  <a:cubicBezTo>
                    <a:pt x="3470" y="2123"/>
                    <a:pt x="3484" y="2123"/>
                    <a:pt x="3507" y="2112"/>
                  </a:cubicBezTo>
                  <a:cubicBezTo>
                    <a:pt x="3588" y="2112"/>
                    <a:pt x="3658" y="2170"/>
                    <a:pt x="3669" y="2240"/>
                  </a:cubicBezTo>
                  <a:lnTo>
                    <a:pt x="3669" y="2299"/>
                  </a:lnTo>
                  <a:cubicBezTo>
                    <a:pt x="3694" y="2321"/>
                    <a:pt x="3716" y="2344"/>
                    <a:pt x="3750" y="2355"/>
                  </a:cubicBezTo>
                  <a:cubicBezTo>
                    <a:pt x="3775" y="2380"/>
                    <a:pt x="3797" y="2414"/>
                    <a:pt x="3786" y="2450"/>
                  </a:cubicBezTo>
                  <a:cubicBezTo>
                    <a:pt x="3778" y="2448"/>
                    <a:pt x="3770" y="2447"/>
                    <a:pt x="3762" y="2447"/>
                  </a:cubicBezTo>
                  <a:cubicBezTo>
                    <a:pt x="3724" y="2447"/>
                    <a:pt x="3691" y="2469"/>
                    <a:pt x="3680" y="2509"/>
                  </a:cubicBezTo>
                  <a:cubicBezTo>
                    <a:pt x="3668" y="2516"/>
                    <a:pt x="3653" y="2520"/>
                    <a:pt x="3638" y="2520"/>
                  </a:cubicBezTo>
                  <a:cubicBezTo>
                    <a:pt x="3610" y="2520"/>
                    <a:pt x="3580" y="2507"/>
                    <a:pt x="3565" y="2483"/>
                  </a:cubicBezTo>
                  <a:cubicBezTo>
                    <a:pt x="3554" y="2472"/>
                    <a:pt x="3540" y="2450"/>
                    <a:pt x="3529" y="2425"/>
                  </a:cubicBezTo>
                  <a:cubicBezTo>
                    <a:pt x="3521" y="2408"/>
                    <a:pt x="3507" y="2398"/>
                    <a:pt x="3495" y="2398"/>
                  </a:cubicBezTo>
                  <a:cubicBezTo>
                    <a:pt x="3491" y="2398"/>
                    <a:pt x="3487" y="2399"/>
                    <a:pt x="3484" y="2402"/>
                  </a:cubicBezTo>
                  <a:cubicBezTo>
                    <a:pt x="3437" y="2425"/>
                    <a:pt x="3470" y="2472"/>
                    <a:pt x="3470" y="2520"/>
                  </a:cubicBezTo>
                  <a:cubicBezTo>
                    <a:pt x="3459" y="2553"/>
                    <a:pt x="3437" y="2579"/>
                    <a:pt x="3448" y="2612"/>
                  </a:cubicBezTo>
                  <a:cubicBezTo>
                    <a:pt x="3456" y="2628"/>
                    <a:pt x="3471" y="2640"/>
                    <a:pt x="3492" y="2640"/>
                  </a:cubicBezTo>
                  <a:cubicBezTo>
                    <a:pt x="3500" y="2640"/>
                    <a:pt x="3508" y="2638"/>
                    <a:pt x="3518" y="2634"/>
                  </a:cubicBezTo>
                  <a:cubicBezTo>
                    <a:pt x="3540" y="2634"/>
                    <a:pt x="3565" y="2623"/>
                    <a:pt x="3588" y="2623"/>
                  </a:cubicBezTo>
                  <a:cubicBezTo>
                    <a:pt x="3610" y="2623"/>
                    <a:pt x="3624" y="2634"/>
                    <a:pt x="3646" y="2634"/>
                  </a:cubicBezTo>
                  <a:cubicBezTo>
                    <a:pt x="3652" y="2636"/>
                    <a:pt x="3657" y="2636"/>
                    <a:pt x="3662" y="2636"/>
                  </a:cubicBezTo>
                  <a:cubicBezTo>
                    <a:pt x="3722" y="2636"/>
                    <a:pt x="3755" y="2562"/>
                    <a:pt x="3820" y="2531"/>
                  </a:cubicBezTo>
                  <a:cubicBezTo>
                    <a:pt x="3878" y="2520"/>
                    <a:pt x="3948" y="2531"/>
                    <a:pt x="3985" y="2495"/>
                  </a:cubicBezTo>
                  <a:cubicBezTo>
                    <a:pt x="4029" y="2450"/>
                    <a:pt x="4018" y="2380"/>
                    <a:pt x="3985" y="2332"/>
                  </a:cubicBezTo>
                  <a:cubicBezTo>
                    <a:pt x="3960" y="2285"/>
                    <a:pt x="3915" y="2240"/>
                    <a:pt x="3915" y="2193"/>
                  </a:cubicBezTo>
                  <a:cubicBezTo>
                    <a:pt x="3904" y="2170"/>
                    <a:pt x="3915" y="2145"/>
                    <a:pt x="3904" y="2134"/>
                  </a:cubicBezTo>
                  <a:cubicBezTo>
                    <a:pt x="3904" y="2112"/>
                    <a:pt x="3890" y="2089"/>
                    <a:pt x="3878" y="2075"/>
                  </a:cubicBezTo>
                  <a:cubicBezTo>
                    <a:pt x="3820" y="1994"/>
                    <a:pt x="3727" y="1961"/>
                    <a:pt x="3669" y="1880"/>
                  </a:cubicBezTo>
                  <a:cubicBezTo>
                    <a:pt x="3610" y="1784"/>
                    <a:pt x="3610" y="1656"/>
                    <a:pt x="3518" y="1600"/>
                  </a:cubicBezTo>
                  <a:cubicBezTo>
                    <a:pt x="3495" y="1586"/>
                    <a:pt x="3459" y="1575"/>
                    <a:pt x="3425" y="1564"/>
                  </a:cubicBezTo>
                  <a:cubicBezTo>
                    <a:pt x="3344" y="1530"/>
                    <a:pt x="3286" y="1460"/>
                    <a:pt x="3238" y="1376"/>
                  </a:cubicBezTo>
                  <a:cubicBezTo>
                    <a:pt x="3191" y="1284"/>
                    <a:pt x="3157" y="1155"/>
                    <a:pt x="3146" y="1052"/>
                  </a:cubicBezTo>
                  <a:cubicBezTo>
                    <a:pt x="3135" y="1015"/>
                    <a:pt x="3135" y="982"/>
                    <a:pt x="3121" y="957"/>
                  </a:cubicBezTo>
                  <a:cubicBezTo>
                    <a:pt x="3098" y="923"/>
                    <a:pt x="3051" y="912"/>
                    <a:pt x="3017" y="887"/>
                  </a:cubicBezTo>
                  <a:cubicBezTo>
                    <a:pt x="2947" y="842"/>
                    <a:pt x="2889" y="761"/>
                    <a:pt x="2889" y="666"/>
                  </a:cubicBezTo>
                  <a:cubicBezTo>
                    <a:pt x="2877" y="632"/>
                    <a:pt x="2889" y="596"/>
                    <a:pt x="2866" y="562"/>
                  </a:cubicBezTo>
                  <a:cubicBezTo>
                    <a:pt x="2841" y="551"/>
                    <a:pt x="2819" y="551"/>
                    <a:pt x="2796" y="551"/>
                  </a:cubicBezTo>
                  <a:cubicBezTo>
                    <a:pt x="2771" y="537"/>
                    <a:pt x="2760" y="537"/>
                    <a:pt x="2749" y="526"/>
                  </a:cubicBezTo>
                  <a:cubicBezTo>
                    <a:pt x="2715" y="551"/>
                    <a:pt x="2690" y="574"/>
                    <a:pt x="2668" y="585"/>
                  </a:cubicBezTo>
                  <a:cubicBezTo>
                    <a:pt x="2649" y="592"/>
                    <a:pt x="2629" y="596"/>
                    <a:pt x="2608" y="596"/>
                  </a:cubicBezTo>
                  <a:cubicBezTo>
                    <a:pt x="2564" y="596"/>
                    <a:pt x="2521" y="578"/>
                    <a:pt x="2505" y="537"/>
                  </a:cubicBezTo>
                  <a:cubicBezTo>
                    <a:pt x="2491" y="515"/>
                    <a:pt x="2491" y="493"/>
                    <a:pt x="2469" y="481"/>
                  </a:cubicBezTo>
                  <a:lnTo>
                    <a:pt x="2447" y="481"/>
                  </a:lnTo>
                  <a:cubicBezTo>
                    <a:pt x="2399" y="467"/>
                    <a:pt x="2399" y="386"/>
                    <a:pt x="2352" y="364"/>
                  </a:cubicBezTo>
                  <a:cubicBezTo>
                    <a:pt x="2344" y="361"/>
                    <a:pt x="2336" y="361"/>
                    <a:pt x="2327" y="361"/>
                  </a:cubicBezTo>
                  <a:cubicBezTo>
                    <a:pt x="2312" y="361"/>
                    <a:pt x="2295" y="363"/>
                    <a:pt x="2279" y="363"/>
                  </a:cubicBezTo>
                  <a:cubicBezTo>
                    <a:pt x="2264" y="363"/>
                    <a:pt x="2249" y="361"/>
                    <a:pt x="2237" y="353"/>
                  </a:cubicBezTo>
                  <a:cubicBezTo>
                    <a:pt x="2190" y="328"/>
                    <a:pt x="2190" y="258"/>
                    <a:pt x="2212" y="213"/>
                  </a:cubicBezTo>
                  <a:cubicBezTo>
                    <a:pt x="2226" y="165"/>
                    <a:pt x="2248" y="96"/>
                    <a:pt x="2201" y="62"/>
                  </a:cubicBezTo>
                  <a:cubicBezTo>
                    <a:pt x="2192" y="58"/>
                    <a:pt x="2182" y="57"/>
                    <a:pt x="2173" y="57"/>
                  </a:cubicBezTo>
                  <a:cubicBezTo>
                    <a:pt x="2145" y="57"/>
                    <a:pt x="2117" y="71"/>
                    <a:pt x="2108" y="96"/>
                  </a:cubicBezTo>
                  <a:cubicBezTo>
                    <a:pt x="2086" y="132"/>
                    <a:pt x="2097" y="188"/>
                    <a:pt x="2050" y="213"/>
                  </a:cubicBezTo>
                  <a:cubicBezTo>
                    <a:pt x="2044" y="216"/>
                    <a:pt x="2037" y="217"/>
                    <a:pt x="2030" y="217"/>
                  </a:cubicBezTo>
                  <a:cubicBezTo>
                    <a:pt x="2010" y="217"/>
                    <a:pt x="1988" y="206"/>
                    <a:pt x="1980" y="188"/>
                  </a:cubicBezTo>
                  <a:cubicBezTo>
                    <a:pt x="1932" y="132"/>
                    <a:pt x="1969" y="62"/>
                    <a:pt x="1946" y="3"/>
                  </a:cubicBezTo>
                  <a:cubicBezTo>
                    <a:pt x="1941" y="2"/>
                    <a:pt x="1936" y="1"/>
                    <a:pt x="1931" y="1"/>
                  </a:cubicBezTo>
                  <a:close/>
                </a:path>
              </a:pathLst>
            </a:custGeom>
            <a:solidFill>
              <a:srgbClr val="027CB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88;p17">
              <a:extLst>
                <a:ext uri="{FF2B5EF4-FFF2-40B4-BE49-F238E27FC236}">
                  <a16:creationId xmlns:a16="http://schemas.microsoft.com/office/drawing/2014/main" xmlns="" id="{97AACFA7-EF4A-28F1-A0FF-C6212D09F7E5}"/>
                </a:ext>
              </a:extLst>
            </p:cNvPr>
            <p:cNvSpPr/>
            <p:nvPr/>
          </p:nvSpPr>
          <p:spPr>
            <a:xfrm>
              <a:off x="1572272" y="1518926"/>
              <a:ext cx="935111" cy="690743"/>
            </a:xfrm>
            <a:custGeom>
              <a:avLst/>
              <a:gdLst/>
              <a:ahLst/>
              <a:cxnLst/>
              <a:rect l="l" t="t" r="r" b="b"/>
              <a:pathLst>
                <a:path w="4056" h="2996" extrusionOk="0">
                  <a:moveTo>
                    <a:pt x="3472" y="2814"/>
                  </a:moveTo>
                  <a:lnTo>
                    <a:pt x="3472" y="2814"/>
                  </a:lnTo>
                  <a:cubicBezTo>
                    <a:pt x="3474" y="2822"/>
                    <a:pt x="3474" y="2832"/>
                    <a:pt x="3474" y="2844"/>
                  </a:cubicBezTo>
                  <a:lnTo>
                    <a:pt x="3474" y="2860"/>
                  </a:lnTo>
                  <a:lnTo>
                    <a:pt x="3474" y="2860"/>
                  </a:lnTo>
                  <a:cubicBezTo>
                    <a:pt x="3465" y="2864"/>
                    <a:pt x="3458" y="2871"/>
                    <a:pt x="3451" y="2878"/>
                  </a:cubicBezTo>
                  <a:cubicBezTo>
                    <a:pt x="3446" y="2883"/>
                    <a:pt x="3440" y="2889"/>
                    <a:pt x="3434" y="2895"/>
                  </a:cubicBezTo>
                  <a:lnTo>
                    <a:pt x="3434" y="2895"/>
                  </a:lnTo>
                  <a:cubicBezTo>
                    <a:pt x="3428" y="2892"/>
                    <a:pt x="3423" y="2890"/>
                    <a:pt x="3419" y="2889"/>
                  </a:cubicBezTo>
                  <a:lnTo>
                    <a:pt x="3419" y="2889"/>
                  </a:lnTo>
                  <a:cubicBezTo>
                    <a:pt x="3423" y="2886"/>
                    <a:pt x="3426" y="2882"/>
                    <a:pt x="3426" y="2878"/>
                  </a:cubicBezTo>
                  <a:cubicBezTo>
                    <a:pt x="3451" y="2867"/>
                    <a:pt x="3451" y="2844"/>
                    <a:pt x="3463" y="2819"/>
                  </a:cubicBezTo>
                  <a:cubicBezTo>
                    <a:pt x="3468" y="2819"/>
                    <a:pt x="3471" y="2816"/>
                    <a:pt x="3472" y="2814"/>
                  </a:cubicBezTo>
                  <a:close/>
                  <a:moveTo>
                    <a:pt x="1952" y="82"/>
                  </a:moveTo>
                  <a:lnTo>
                    <a:pt x="1952" y="82"/>
                  </a:lnTo>
                  <a:cubicBezTo>
                    <a:pt x="1958" y="101"/>
                    <a:pt x="1958" y="123"/>
                    <a:pt x="1958" y="152"/>
                  </a:cubicBezTo>
                  <a:cubicBezTo>
                    <a:pt x="1958" y="188"/>
                    <a:pt x="1958" y="221"/>
                    <a:pt x="1983" y="258"/>
                  </a:cubicBezTo>
                  <a:cubicBezTo>
                    <a:pt x="2006" y="280"/>
                    <a:pt x="2028" y="303"/>
                    <a:pt x="2053" y="303"/>
                  </a:cubicBezTo>
                  <a:cubicBezTo>
                    <a:pt x="2065" y="303"/>
                    <a:pt x="2076" y="291"/>
                    <a:pt x="2087" y="291"/>
                  </a:cubicBezTo>
                  <a:cubicBezTo>
                    <a:pt x="2112" y="280"/>
                    <a:pt x="2123" y="269"/>
                    <a:pt x="2123" y="258"/>
                  </a:cubicBezTo>
                  <a:cubicBezTo>
                    <a:pt x="2134" y="233"/>
                    <a:pt x="2134" y="221"/>
                    <a:pt x="2134" y="199"/>
                  </a:cubicBezTo>
                  <a:cubicBezTo>
                    <a:pt x="2146" y="188"/>
                    <a:pt x="2146" y="163"/>
                    <a:pt x="2146" y="163"/>
                  </a:cubicBezTo>
                  <a:cubicBezTo>
                    <a:pt x="2157" y="140"/>
                    <a:pt x="2182" y="140"/>
                    <a:pt x="2193" y="140"/>
                  </a:cubicBezTo>
                  <a:lnTo>
                    <a:pt x="2216" y="140"/>
                  </a:lnTo>
                  <a:cubicBezTo>
                    <a:pt x="2216" y="140"/>
                    <a:pt x="2227" y="152"/>
                    <a:pt x="2227" y="163"/>
                  </a:cubicBezTo>
                  <a:lnTo>
                    <a:pt x="2227" y="188"/>
                  </a:lnTo>
                  <a:cubicBezTo>
                    <a:pt x="2227" y="210"/>
                    <a:pt x="2227" y="233"/>
                    <a:pt x="2216" y="258"/>
                  </a:cubicBezTo>
                  <a:cubicBezTo>
                    <a:pt x="2204" y="280"/>
                    <a:pt x="2204" y="314"/>
                    <a:pt x="2204" y="339"/>
                  </a:cubicBezTo>
                  <a:cubicBezTo>
                    <a:pt x="2204" y="361"/>
                    <a:pt x="2204" y="372"/>
                    <a:pt x="2216" y="398"/>
                  </a:cubicBezTo>
                  <a:cubicBezTo>
                    <a:pt x="2216" y="409"/>
                    <a:pt x="2238" y="420"/>
                    <a:pt x="2252" y="431"/>
                  </a:cubicBezTo>
                  <a:cubicBezTo>
                    <a:pt x="2274" y="442"/>
                    <a:pt x="2285" y="442"/>
                    <a:pt x="2297" y="442"/>
                  </a:cubicBezTo>
                  <a:lnTo>
                    <a:pt x="2367" y="442"/>
                  </a:lnTo>
                  <a:cubicBezTo>
                    <a:pt x="2378" y="442"/>
                    <a:pt x="2378" y="454"/>
                    <a:pt x="2392" y="467"/>
                  </a:cubicBezTo>
                  <a:cubicBezTo>
                    <a:pt x="2392" y="479"/>
                    <a:pt x="2403" y="490"/>
                    <a:pt x="2414" y="512"/>
                  </a:cubicBezTo>
                  <a:cubicBezTo>
                    <a:pt x="2414" y="523"/>
                    <a:pt x="2425" y="537"/>
                    <a:pt x="2425" y="537"/>
                  </a:cubicBezTo>
                  <a:cubicBezTo>
                    <a:pt x="2436" y="549"/>
                    <a:pt x="2448" y="560"/>
                    <a:pt x="2462" y="560"/>
                  </a:cubicBezTo>
                  <a:lnTo>
                    <a:pt x="2495" y="560"/>
                  </a:lnTo>
                  <a:cubicBezTo>
                    <a:pt x="2495" y="571"/>
                    <a:pt x="2495" y="582"/>
                    <a:pt x="2506" y="607"/>
                  </a:cubicBezTo>
                  <a:cubicBezTo>
                    <a:pt x="2517" y="630"/>
                    <a:pt x="2543" y="652"/>
                    <a:pt x="2554" y="652"/>
                  </a:cubicBezTo>
                  <a:cubicBezTo>
                    <a:pt x="2576" y="663"/>
                    <a:pt x="2601" y="677"/>
                    <a:pt x="2624" y="677"/>
                  </a:cubicBezTo>
                  <a:cubicBezTo>
                    <a:pt x="2646" y="677"/>
                    <a:pt x="2671" y="663"/>
                    <a:pt x="2694" y="663"/>
                  </a:cubicBezTo>
                  <a:cubicBezTo>
                    <a:pt x="2723" y="644"/>
                    <a:pt x="2755" y="633"/>
                    <a:pt x="2777" y="615"/>
                  </a:cubicBezTo>
                  <a:lnTo>
                    <a:pt x="2777" y="615"/>
                  </a:lnTo>
                  <a:cubicBezTo>
                    <a:pt x="2789" y="620"/>
                    <a:pt x="2805" y="622"/>
                    <a:pt x="2822" y="630"/>
                  </a:cubicBezTo>
                  <a:lnTo>
                    <a:pt x="2856" y="630"/>
                  </a:lnTo>
                  <a:lnTo>
                    <a:pt x="2867" y="641"/>
                  </a:lnTo>
                  <a:cubicBezTo>
                    <a:pt x="2881" y="641"/>
                    <a:pt x="2881" y="652"/>
                    <a:pt x="2881" y="663"/>
                  </a:cubicBezTo>
                  <a:cubicBezTo>
                    <a:pt x="2881" y="677"/>
                    <a:pt x="2892" y="688"/>
                    <a:pt x="2892" y="700"/>
                  </a:cubicBezTo>
                  <a:lnTo>
                    <a:pt x="2892" y="711"/>
                  </a:lnTo>
                  <a:lnTo>
                    <a:pt x="2892" y="722"/>
                  </a:lnTo>
                  <a:cubicBezTo>
                    <a:pt x="2892" y="828"/>
                    <a:pt x="2951" y="909"/>
                    <a:pt x="3032" y="957"/>
                  </a:cubicBezTo>
                  <a:cubicBezTo>
                    <a:pt x="3066" y="979"/>
                    <a:pt x="3113" y="1002"/>
                    <a:pt x="3124" y="1027"/>
                  </a:cubicBezTo>
                  <a:cubicBezTo>
                    <a:pt x="3135" y="1049"/>
                    <a:pt x="3135" y="1071"/>
                    <a:pt x="3147" y="1108"/>
                  </a:cubicBezTo>
                  <a:cubicBezTo>
                    <a:pt x="3161" y="1211"/>
                    <a:pt x="3194" y="1340"/>
                    <a:pt x="3242" y="1446"/>
                  </a:cubicBezTo>
                  <a:cubicBezTo>
                    <a:pt x="3286" y="1527"/>
                    <a:pt x="3356" y="1608"/>
                    <a:pt x="3440" y="1642"/>
                  </a:cubicBezTo>
                  <a:cubicBezTo>
                    <a:pt x="3474" y="1656"/>
                    <a:pt x="3510" y="1667"/>
                    <a:pt x="3533" y="1678"/>
                  </a:cubicBezTo>
                  <a:cubicBezTo>
                    <a:pt x="3566" y="1701"/>
                    <a:pt x="3591" y="1737"/>
                    <a:pt x="3614" y="1796"/>
                  </a:cubicBezTo>
                  <a:cubicBezTo>
                    <a:pt x="3636" y="1840"/>
                    <a:pt x="3650" y="1899"/>
                    <a:pt x="3684" y="1947"/>
                  </a:cubicBezTo>
                  <a:cubicBezTo>
                    <a:pt x="3706" y="1991"/>
                    <a:pt x="3753" y="2017"/>
                    <a:pt x="3790" y="2050"/>
                  </a:cubicBezTo>
                  <a:cubicBezTo>
                    <a:pt x="3823" y="2086"/>
                    <a:pt x="3860" y="2109"/>
                    <a:pt x="3882" y="2145"/>
                  </a:cubicBezTo>
                  <a:cubicBezTo>
                    <a:pt x="3893" y="2156"/>
                    <a:pt x="3904" y="2179"/>
                    <a:pt x="3904" y="2190"/>
                  </a:cubicBezTo>
                  <a:cubicBezTo>
                    <a:pt x="3916" y="2201"/>
                    <a:pt x="3904" y="2226"/>
                    <a:pt x="3916" y="2249"/>
                  </a:cubicBezTo>
                  <a:cubicBezTo>
                    <a:pt x="3916" y="2307"/>
                    <a:pt x="3963" y="2355"/>
                    <a:pt x="3986" y="2400"/>
                  </a:cubicBezTo>
                  <a:cubicBezTo>
                    <a:pt x="4011" y="2425"/>
                    <a:pt x="4011" y="2458"/>
                    <a:pt x="4011" y="2481"/>
                  </a:cubicBezTo>
                  <a:cubicBezTo>
                    <a:pt x="4011" y="2506"/>
                    <a:pt x="4011" y="2517"/>
                    <a:pt x="4000" y="2528"/>
                  </a:cubicBezTo>
                  <a:cubicBezTo>
                    <a:pt x="3986" y="2539"/>
                    <a:pt x="3963" y="2551"/>
                    <a:pt x="3930" y="2551"/>
                  </a:cubicBezTo>
                  <a:cubicBezTo>
                    <a:pt x="3904" y="2551"/>
                    <a:pt x="3871" y="2551"/>
                    <a:pt x="3835" y="2576"/>
                  </a:cubicBezTo>
                  <a:cubicBezTo>
                    <a:pt x="3801" y="2587"/>
                    <a:pt x="3776" y="2609"/>
                    <a:pt x="3753" y="2635"/>
                  </a:cubicBezTo>
                  <a:cubicBezTo>
                    <a:pt x="3731" y="2646"/>
                    <a:pt x="3720" y="2657"/>
                    <a:pt x="3706" y="2668"/>
                  </a:cubicBezTo>
                  <a:cubicBezTo>
                    <a:pt x="3695" y="2668"/>
                    <a:pt x="3695" y="2679"/>
                    <a:pt x="3684" y="2679"/>
                  </a:cubicBezTo>
                  <a:lnTo>
                    <a:pt x="3672" y="2668"/>
                  </a:lnTo>
                  <a:cubicBezTo>
                    <a:pt x="3661" y="2668"/>
                    <a:pt x="3650" y="2668"/>
                    <a:pt x="3614" y="2657"/>
                  </a:cubicBezTo>
                  <a:lnTo>
                    <a:pt x="3602" y="2657"/>
                  </a:lnTo>
                  <a:cubicBezTo>
                    <a:pt x="3580" y="2657"/>
                    <a:pt x="3555" y="2668"/>
                    <a:pt x="3533" y="2668"/>
                  </a:cubicBezTo>
                  <a:lnTo>
                    <a:pt x="3510" y="2668"/>
                  </a:lnTo>
                  <a:cubicBezTo>
                    <a:pt x="3496" y="2668"/>
                    <a:pt x="3496" y="2668"/>
                    <a:pt x="3496" y="2657"/>
                  </a:cubicBezTo>
                  <a:lnTo>
                    <a:pt x="3496" y="2621"/>
                  </a:lnTo>
                  <a:cubicBezTo>
                    <a:pt x="3510" y="2609"/>
                    <a:pt x="3521" y="2598"/>
                    <a:pt x="3521" y="2576"/>
                  </a:cubicBezTo>
                  <a:lnTo>
                    <a:pt x="3521" y="2565"/>
                  </a:lnTo>
                  <a:cubicBezTo>
                    <a:pt x="3521" y="2551"/>
                    <a:pt x="3521" y="2539"/>
                    <a:pt x="3510" y="2528"/>
                  </a:cubicBezTo>
                  <a:lnTo>
                    <a:pt x="3510" y="2495"/>
                  </a:lnTo>
                  <a:lnTo>
                    <a:pt x="3510" y="2481"/>
                  </a:lnTo>
                  <a:lnTo>
                    <a:pt x="3533" y="2481"/>
                  </a:lnTo>
                  <a:cubicBezTo>
                    <a:pt x="3533" y="2481"/>
                    <a:pt x="3533" y="2495"/>
                    <a:pt x="3544" y="2495"/>
                  </a:cubicBezTo>
                  <a:cubicBezTo>
                    <a:pt x="3555" y="2506"/>
                    <a:pt x="3555" y="2528"/>
                    <a:pt x="3566" y="2551"/>
                  </a:cubicBezTo>
                  <a:cubicBezTo>
                    <a:pt x="3591" y="2587"/>
                    <a:pt x="3625" y="2598"/>
                    <a:pt x="3661" y="2598"/>
                  </a:cubicBezTo>
                  <a:cubicBezTo>
                    <a:pt x="3684" y="2598"/>
                    <a:pt x="3695" y="2598"/>
                    <a:pt x="3720" y="2587"/>
                  </a:cubicBezTo>
                  <a:lnTo>
                    <a:pt x="3731" y="2576"/>
                  </a:lnTo>
                  <a:cubicBezTo>
                    <a:pt x="3731" y="2539"/>
                    <a:pt x="3765" y="2517"/>
                    <a:pt x="3801" y="2517"/>
                  </a:cubicBezTo>
                  <a:lnTo>
                    <a:pt x="3812" y="2528"/>
                  </a:lnTo>
                  <a:lnTo>
                    <a:pt x="3823" y="2528"/>
                  </a:lnTo>
                  <a:lnTo>
                    <a:pt x="3835" y="2517"/>
                  </a:lnTo>
                  <a:lnTo>
                    <a:pt x="3835" y="2481"/>
                  </a:lnTo>
                  <a:cubicBezTo>
                    <a:pt x="3835" y="2458"/>
                    <a:pt x="3835" y="2447"/>
                    <a:pt x="3823" y="2436"/>
                  </a:cubicBezTo>
                  <a:cubicBezTo>
                    <a:pt x="3812" y="2425"/>
                    <a:pt x="3801" y="2411"/>
                    <a:pt x="3790" y="2400"/>
                  </a:cubicBezTo>
                  <a:cubicBezTo>
                    <a:pt x="3776" y="2388"/>
                    <a:pt x="3753" y="2377"/>
                    <a:pt x="3742" y="2366"/>
                  </a:cubicBezTo>
                  <a:cubicBezTo>
                    <a:pt x="3731" y="2366"/>
                    <a:pt x="3731" y="2355"/>
                    <a:pt x="3720" y="2341"/>
                  </a:cubicBezTo>
                  <a:lnTo>
                    <a:pt x="3720" y="2296"/>
                  </a:lnTo>
                  <a:cubicBezTo>
                    <a:pt x="3706" y="2249"/>
                    <a:pt x="3684" y="2215"/>
                    <a:pt x="3661" y="2190"/>
                  </a:cubicBezTo>
                  <a:cubicBezTo>
                    <a:pt x="3625" y="2168"/>
                    <a:pt x="3591" y="2145"/>
                    <a:pt x="3544" y="2145"/>
                  </a:cubicBezTo>
                  <a:lnTo>
                    <a:pt x="3533" y="2145"/>
                  </a:lnTo>
                  <a:cubicBezTo>
                    <a:pt x="3510" y="2156"/>
                    <a:pt x="3496" y="2156"/>
                    <a:pt x="3485" y="2156"/>
                  </a:cubicBezTo>
                  <a:lnTo>
                    <a:pt x="3474" y="2156"/>
                  </a:lnTo>
                  <a:cubicBezTo>
                    <a:pt x="3463" y="2156"/>
                    <a:pt x="3451" y="2145"/>
                    <a:pt x="3426" y="2131"/>
                  </a:cubicBezTo>
                  <a:cubicBezTo>
                    <a:pt x="3415" y="2109"/>
                    <a:pt x="3404" y="2098"/>
                    <a:pt x="3382" y="2075"/>
                  </a:cubicBezTo>
                  <a:cubicBezTo>
                    <a:pt x="3356" y="2050"/>
                    <a:pt x="3334" y="2039"/>
                    <a:pt x="3286" y="2028"/>
                  </a:cubicBezTo>
                  <a:cubicBezTo>
                    <a:pt x="3275" y="2028"/>
                    <a:pt x="3253" y="2039"/>
                    <a:pt x="3231" y="2061"/>
                  </a:cubicBezTo>
                  <a:cubicBezTo>
                    <a:pt x="3231" y="2075"/>
                    <a:pt x="3217" y="2086"/>
                    <a:pt x="3217" y="2098"/>
                  </a:cubicBezTo>
                  <a:cubicBezTo>
                    <a:pt x="3217" y="2131"/>
                    <a:pt x="3242" y="2156"/>
                    <a:pt x="3253" y="2179"/>
                  </a:cubicBezTo>
                  <a:cubicBezTo>
                    <a:pt x="3259" y="2191"/>
                    <a:pt x="3265" y="2204"/>
                    <a:pt x="3269" y="2215"/>
                  </a:cubicBezTo>
                  <a:lnTo>
                    <a:pt x="3102" y="2215"/>
                  </a:lnTo>
                  <a:cubicBezTo>
                    <a:pt x="3091" y="2226"/>
                    <a:pt x="3077" y="2237"/>
                    <a:pt x="3066" y="2249"/>
                  </a:cubicBezTo>
                  <a:cubicBezTo>
                    <a:pt x="3066" y="2260"/>
                    <a:pt x="3066" y="2271"/>
                    <a:pt x="3054" y="2285"/>
                  </a:cubicBezTo>
                  <a:cubicBezTo>
                    <a:pt x="3043" y="2307"/>
                    <a:pt x="3032" y="2355"/>
                    <a:pt x="3032" y="2388"/>
                  </a:cubicBezTo>
                  <a:cubicBezTo>
                    <a:pt x="3032" y="2400"/>
                    <a:pt x="3032" y="2425"/>
                    <a:pt x="3043" y="2436"/>
                  </a:cubicBezTo>
                  <a:cubicBezTo>
                    <a:pt x="3043" y="2458"/>
                    <a:pt x="3066" y="2470"/>
                    <a:pt x="3077" y="2495"/>
                  </a:cubicBezTo>
                  <a:cubicBezTo>
                    <a:pt x="3102" y="2506"/>
                    <a:pt x="3113" y="2506"/>
                    <a:pt x="3135" y="2506"/>
                  </a:cubicBezTo>
                  <a:cubicBezTo>
                    <a:pt x="3161" y="2506"/>
                    <a:pt x="3172" y="2506"/>
                    <a:pt x="3194" y="2495"/>
                  </a:cubicBezTo>
                  <a:lnTo>
                    <a:pt x="3194" y="2481"/>
                  </a:lnTo>
                  <a:lnTo>
                    <a:pt x="3205" y="2481"/>
                  </a:lnTo>
                  <a:lnTo>
                    <a:pt x="3205" y="2495"/>
                  </a:lnTo>
                  <a:lnTo>
                    <a:pt x="3217" y="2506"/>
                  </a:lnTo>
                  <a:lnTo>
                    <a:pt x="3217" y="2517"/>
                  </a:lnTo>
                  <a:cubicBezTo>
                    <a:pt x="3217" y="2528"/>
                    <a:pt x="3205" y="2539"/>
                    <a:pt x="3205" y="2565"/>
                  </a:cubicBezTo>
                  <a:cubicBezTo>
                    <a:pt x="3205" y="2576"/>
                    <a:pt x="3205" y="2587"/>
                    <a:pt x="3217" y="2598"/>
                  </a:cubicBezTo>
                  <a:cubicBezTo>
                    <a:pt x="3231" y="2621"/>
                    <a:pt x="3242" y="2635"/>
                    <a:pt x="3253" y="2646"/>
                  </a:cubicBezTo>
                  <a:cubicBezTo>
                    <a:pt x="3275" y="2657"/>
                    <a:pt x="3300" y="2657"/>
                    <a:pt x="3323" y="2668"/>
                  </a:cubicBezTo>
                  <a:lnTo>
                    <a:pt x="3334" y="2679"/>
                  </a:lnTo>
                  <a:cubicBezTo>
                    <a:pt x="3345" y="2679"/>
                    <a:pt x="3345" y="2690"/>
                    <a:pt x="3356" y="2690"/>
                  </a:cubicBezTo>
                  <a:lnTo>
                    <a:pt x="3356" y="2704"/>
                  </a:lnTo>
                  <a:cubicBezTo>
                    <a:pt x="3356" y="2727"/>
                    <a:pt x="3345" y="2749"/>
                    <a:pt x="3334" y="2786"/>
                  </a:cubicBezTo>
                  <a:cubicBezTo>
                    <a:pt x="3323" y="2797"/>
                    <a:pt x="3323" y="2808"/>
                    <a:pt x="3323" y="2830"/>
                  </a:cubicBezTo>
                  <a:cubicBezTo>
                    <a:pt x="3323" y="2844"/>
                    <a:pt x="3323" y="2867"/>
                    <a:pt x="3334" y="2878"/>
                  </a:cubicBezTo>
                  <a:cubicBezTo>
                    <a:pt x="3345" y="2889"/>
                    <a:pt x="3356" y="2900"/>
                    <a:pt x="3382" y="2900"/>
                  </a:cubicBezTo>
                  <a:cubicBezTo>
                    <a:pt x="3382" y="2900"/>
                    <a:pt x="3382" y="2900"/>
                    <a:pt x="3383" y="2900"/>
                  </a:cubicBezTo>
                  <a:lnTo>
                    <a:pt x="3383" y="2900"/>
                  </a:lnTo>
                  <a:cubicBezTo>
                    <a:pt x="3367" y="2909"/>
                    <a:pt x="3353" y="2918"/>
                    <a:pt x="3345" y="2925"/>
                  </a:cubicBezTo>
                  <a:cubicBezTo>
                    <a:pt x="3312" y="2937"/>
                    <a:pt x="3286" y="2948"/>
                    <a:pt x="3264" y="2948"/>
                  </a:cubicBezTo>
                  <a:cubicBezTo>
                    <a:pt x="3242" y="2948"/>
                    <a:pt x="3217" y="2937"/>
                    <a:pt x="3205" y="2925"/>
                  </a:cubicBezTo>
                  <a:cubicBezTo>
                    <a:pt x="3205" y="2914"/>
                    <a:pt x="3194" y="2900"/>
                    <a:pt x="3194" y="2900"/>
                  </a:cubicBezTo>
                  <a:cubicBezTo>
                    <a:pt x="3194" y="2889"/>
                    <a:pt x="3183" y="2878"/>
                    <a:pt x="3172" y="2867"/>
                  </a:cubicBezTo>
                  <a:cubicBezTo>
                    <a:pt x="3161" y="2855"/>
                    <a:pt x="3135" y="2855"/>
                    <a:pt x="3124" y="2844"/>
                  </a:cubicBezTo>
                  <a:lnTo>
                    <a:pt x="3113" y="2844"/>
                  </a:lnTo>
                  <a:cubicBezTo>
                    <a:pt x="3054" y="2844"/>
                    <a:pt x="3007" y="2867"/>
                    <a:pt x="2962" y="2878"/>
                  </a:cubicBezTo>
                  <a:cubicBezTo>
                    <a:pt x="2962" y="2867"/>
                    <a:pt x="2951" y="2855"/>
                    <a:pt x="2937" y="2830"/>
                  </a:cubicBezTo>
                  <a:cubicBezTo>
                    <a:pt x="2926" y="2819"/>
                    <a:pt x="2915" y="2808"/>
                    <a:pt x="2892" y="2808"/>
                  </a:cubicBezTo>
                  <a:lnTo>
                    <a:pt x="2856" y="2808"/>
                  </a:lnTo>
                  <a:lnTo>
                    <a:pt x="2845" y="2797"/>
                  </a:lnTo>
                  <a:cubicBezTo>
                    <a:pt x="2822" y="2749"/>
                    <a:pt x="2786" y="2727"/>
                    <a:pt x="2741" y="2727"/>
                  </a:cubicBezTo>
                  <a:cubicBezTo>
                    <a:pt x="2705" y="2727"/>
                    <a:pt x="2671" y="2738"/>
                    <a:pt x="2646" y="2774"/>
                  </a:cubicBezTo>
                  <a:cubicBezTo>
                    <a:pt x="2635" y="2774"/>
                    <a:pt x="2635" y="2786"/>
                    <a:pt x="2624" y="2786"/>
                  </a:cubicBezTo>
                  <a:lnTo>
                    <a:pt x="2587" y="2786"/>
                  </a:lnTo>
                  <a:cubicBezTo>
                    <a:pt x="2587" y="2774"/>
                    <a:pt x="2576" y="2774"/>
                    <a:pt x="2565" y="2760"/>
                  </a:cubicBezTo>
                  <a:cubicBezTo>
                    <a:pt x="2554" y="2749"/>
                    <a:pt x="2543" y="2738"/>
                    <a:pt x="2531" y="2738"/>
                  </a:cubicBezTo>
                  <a:lnTo>
                    <a:pt x="2495" y="2738"/>
                  </a:lnTo>
                  <a:lnTo>
                    <a:pt x="2495" y="2727"/>
                  </a:lnTo>
                  <a:cubicBezTo>
                    <a:pt x="2495" y="2690"/>
                    <a:pt x="2506" y="2657"/>
                    <a:pt x="2506" y="2621"/>
                  </a:cubicBezTo>
                  <a:lnTo>
                    <a:pt x="2506" y="2598"/>
                  </a:lnTo>
                  <a:cubicBezTo>
                    <a:pt x="2506" y="2587"/>
                    <a:pt x="2506" y="2576"/>
                    <a:pt x="2495" y="2565"/>
                  </a:cubicBezTo>
                  <a:cubicBezTo>
                    <a:pt x="2495" y="2551"/>
                    <a:pt x="2484" y="2539"/>
                    <a:pt x="2473" y="2528"/>
                  </a:cubicBezTo>
                  <a:cubicBezTo>
                    <a:pt x="2448" y="2517"/>
                    <a:pt x="2436" y="2517"/>
                    <a:pt x="2425" y="2517"/>
                  </a:cubicBezTo>
                  <a:lnTo>
                    <a:pt x="2414" y="2517"/>
                  </a:lnTo>
                  <a:lnTo>
                    <a:pt x="2414" y="2495"/>
                  </a:lnTo>
                  <a:cubicBezTo>
                    <a:pt x="2414" y="2481"/>
                    <a:pt x="2425" y="2470"/>
                    <a:pt x="2425" y="2458"/>
                  </a:cubicBezTo>
                  <a:cubicBezTo>
                    <a:pt x="2425" y="2447"/>
                    <a:pt x="2414" y="2447"/>
                    <a:pt x="2414" y="2436"/>
                  </a:cubicBezTo>
                  <a:cubicBezTo>
                    <a:pt x="2414" y="2425"/>
                    <a:pt x="2403" y="2411"/>
                    <a:pt x="2392" y="2411"/>
                  </a:cubicBezTo>
                  <a:cubicBezTo>
                    <a:pt x="2378" y="2400"/>
                    <a:pt x="2355" y="2400"/>
                    <a:pt x="2355" y="2400"/>
                  </a:cubicBezTo>
                  <a:lnTo>
                    <a:pt x="2344" y="2400"/>
                  </a:lnTo>
                  <a:lnTo>
                    <a:pt x="2344" y="2388"/>
                  </a:lnTo>
                  <a:lnTo>
                    <a:pt x="2344" y="2366"/>
                  </a:lnTo>
                  <a:cubicBezTo>
                    <a:pt x="2344" y="2366"/>
                    <a:pt x="2344" y="2355"/>
                    <a:pt x="2333" y="2355"/>
                  </a:cubicBezTo>
                  <a:cubicBezTo>
                    <a:pt x="2333" y="2330"/>
                    <a:pt x="2308" y="2319"/>
                    <a:pt x="2297" y="2307"/>
                  </a:cubicBezTo>
                  <a:lnTo>
                    <a:pt x="2146" y="2307"/>
                  </a:lnTo>
                  <a:lnTo>
                    <a:pt x="2146" y="2296"/>
                  </a:lnTo>
                  <a:cubicBezTo>
                    <a:pt x="2134" y="2296"/>
                    <a:pt x="2134" y="2285"/>
                    <a:pt x="2134" y="2271"/>
                  </a:cubicBezTo>
                  <a:cubicBezTo>
                    <a:pt x="2123" y="2249"/>
                    <a:pt x="2098" y="2237"/>
                    <a:pt x="2076" y="2215"/>
                  </a:cubicBezTo>
                  <a:lnTo>
                    <a:pt x="2042" y="2215"/>
                  </a:lnTo>
                  <a:cubicBezTo>
                    <a:pt x="2028" y="2215"/>
                    <a:pt x="2006" y="2226"/>
                    <a:pt x="1995" y="2237"/>
                  </a:cubicBezTo>
                  <a:cubicBezTo>
                    <a:pt x="1972" y="2260"/>
                    <a:pt x="1972" y="2271"/>
                    <a:pt x="1972" y="2285"/>
                  </a:cubicBezTo>
                  <a:cubicBezTo>
                    <a:pt x="1958" y="2319"/>
                    <a:pt x="1947" y="2341"/>
                    <a:pt x="1925" y="2366"/>
                  </a:cubicBezTo>
                  <a:cubicBezTo>
                    <a:pt x="1902" y="2400"/>
                    <a:pt x="1866" y="2411"/>
                    <a:pt x="1832" y="2436"/>
                  </a:cubicBezTo>
                  <a:cubicBezTo>
                    <a:pt x="1832" y="2436"/>
                    <a:pt x="1818" y="2447"/>
                    <a:pt x="1818" y="2458"/>
                  </a:cubicBezTo>
                  <a:cubicBezTo>
                    <a:pt x="1807" y="2458"/>
                    <a:pt x="1807" y="2470"/>
                    <a:pt x="1807" y="2470"/>
                  </a:cubicBezTo>
                  <a:cubicBezTo>
                    <a:pt x="1807" y="2495"/>
                    <a:pt x="1818" y="2506"/>
                    <a:pt x="1818" y="2506"/>
                  </a:cubicBezTo>
                  <a:cubicBezTo>
                    <a:pt x="1832" y="2517"/>
                    <a:pt x="1832" y="2528"/>
                    <a:pt x="1832" y="2528"/>
                  </a:cubicBezTo>
                  <a:cubicBezTo>
                    <a:pt x="1844" y="2528"/>
                    <a:pt x="1844" y="2528"/>
                    <a:pt x="1844" y="2539"/>
                  </a:cubicBezTo>
                  <a:lnTo>
                    <a:pt x="1832" y="2551"/>
                  </a:lnTo>
                  <a:cubicBezTo>
                    <a:pt x="1832" y="2565"/>
                    <a:pt x="1818" y="2565"/>
                    <a:pt x="1818" y="2565"/>
                  </a:cubicBezTo>
                  <a:lnTo>
                    <a:pt x="1796" y="2565"/>
                  </a:lnTo>
                  <a:cubicBezTo>
                    <a:pt x="1785" y="2565"/>
                    <a:pt x="1785" y="2565"/>
                    <a:pt x="1774" y="2576"/>
                  </a:cubicBezTo>
                  <a:cubicBezTo>
                    <a:pt x="1763" y="2576"/>
                    <a:pt x="1763" y="2576"/>
                    <a:pt x="1749" y="2587"/>
                  </a:cubicBezTo>
                  <a:lnTo>
                    <a:pt x="1749" y="2598"/>
                  </a:lnTo>
                  <a:lnTo>
                    <a:pt x="1726" y="2598"/>
                  </a:lnTo>
                  <a:cubicBezTo>
                    <a:pt x="1726" y="2587"/>
                    <a:pt x="1715" y="2587"/>
                    <a:pt x="1704" y="2587"/>
                  </a:cubicBezTo>
                  <a:lnTo>
                    <a:pt x="1667" y="2587"/>
                  </a:lnTo>
                  <a:cubicBezTo>
                    <a:pt x="1667" y="2598"/>
                    <a:pt x="1656" y="2598"/>
                    <a:pt x="1656" y="2609"/>
                  </a:cubicBezTo>
                  <a:cubicBezTo>
                    <a:pt x="1645" y="2621"/>
                    <a:pt x="1645" y="2635"/>
                    <a:pt x="1645" y="2635"/>
                  </a:cubicBezTo>
                  <a:cubicBezTo>
                    <a:pt x="1634" y="2635"/>
                    <a:pt x="1634" y="2635"/>
                    <a:pt x="1623" y="2646"/>
                  </a:cubicBezTo>
                  <a:cubicBezTo>
                    <a:pt x="1609" y="2657"/>
                    <a:pt x="1609" y="2668"/>
                    <a:pt x="1609" y="2668"/>
                  </a:cubicBezTo>
                  <a:cubicBezTo>
                    <a:pt x="1609" y="2679"/>
                    <a:pt x="1623" y="2690"/>
                    <a:pt x="1623" y="2704"/>
                  </a:cubicBezTo>
                  <a:lnTo>
                    <a:pt x="1634" y="2716"/>
                  </a:lnTo>
                  <a:lnTo>
                    <a:pt x="1586" y="2716"/>
                  </a:lnTo>
                  <a:cubicBezTo>
                    <a:pt x="1564" y="2727"/>
                    <a:pt x="1539" y="2738"/>
                    <a:pt x="1528" y="2749"/>
                  </a:cubicBezTo>
                  <a:lnTo>
                    <a:pt x="1516" y="2760"/>
                  </a:lnTo>
                  <a:lnTo>
                    <a:pt x="1505" y="2760"/>
                  </a:lnTo>
                  <a:lnTo>
                    <a:pt x="1494" y="2749"/>
                  </a:lnTo>
                  <a:lnTo>
                    <a:pt x="1494" y="2727"/>
                  </a:lnTo>
                  <a:lnTo>
                    <a:pt x="1494" y="2668"/>
                  </a:lnTo>
                  <a:lnTo>
                    <a:pt x="1494" y="2657"/>
                  </a:lnTo>
                  <a:cubicBezTo>
                    <a:pt x="1494" y="2646"/>
                    <a:pt x="1494" y="2635"/>
                    <a:pt x="1483" y="2621"/>
                  </a:cubicBezTo>
                  <a:cubicBezTo>
                    <a:pt x="1483" y="2598"/>
                    <a:pt x="1469" y="2587"/>
                    <a:pt x="1458" y="2587"/>
                  </a:cubicBezTo>
                  <a:cubicBezTo>
                    <a:pt x="1447" y="2576"/>
                    <a:pt x="1435" y="2576"/>
                    <a:pt x="1435" y="2576"/>
                  </a:cubicBezTo>
                  <a:cubicBezTo>
                    <a:pt x="1413" y="2565"/>
                    <a:pt x="1399" y="2551"/>
                    <a:pt x="1377" y="2528"/>
                  </a:cubicBezTo>
                  <a:cubicBezTo>
                    <a:pt x="1365" y="2506"/>
                    <a:pt x="1343" y="2470"/>
                    <a:pt x="1307" y="2458"/>
                  </a:cubicBezTo>
                  <a:cubicBezTo>
                    <a:pt x="1307" y="2447"/>
                    <a:pt x="1296" y="2447"/>
                    <a:pt x="1284" y="2447"/>
                  </a:cubicBezTo>
                  <a:lnTo>
                    <a:pt x="1259" y="2447"/>
                  </a:lnTo>
                  <a:lnTo>
                    <a:pt x="1248" y="2458"/>
                  </a:lnTo>
                  <a:cubicBezTo>
                    <a:pt x="1237" y="2470"/>
                    <a:pt x="1226" y="2481"/>
                    <a:pt x="1214" y="2506"/>
                  </a:cubicBezTo>
                  <a:cubicBezTo>
                    <a:pt x="1203" y="2517"/>
                    <a:pt x="1203" y="2539"/>
                    <a:pt x="1203" y="2539"/>
                  </a:cubicBezTo>
                  <a:lnTo>
                    <a:pt x="1189" y="2551"/>
                  </a:lnTo>
                  <a:lnTo>
                    <a:pt x="1189" y="2565"/>
                  </a:lnTo>
                  <a:lnTo>
                    <a:pt x="1156" y="2565"/>
                  </a:lnTo>
                  <a:cubicBezTo>
                    <a:pt x="1156" y="2565"/>
                    <a:pt x="1145" y="2565"/>
                    <a:pt x="1145" y="2576"/>
                  </a:cubicBezTo>
                  <a:lnTo>
                    <a:pt x="1133" y="2565"/>
                  </a:lnTo>
                  <a:lnTo>
                    <a:pt x="1119" y="2565"/>
                  </a:lnTo>
                  <a:cubicBezTo>
                    <a:pt x="1119" y="2551"/>
                    <a:pt x="1108" y="2539"/>
                    <a:pt x="1108" y="2539"/>
                  </a:cubicBezTo>
                  <a:lnTo>
                    <a:pt x="1108" y="2517"/>
                  </a:lnTo>
                  <a:lnTo>
                    <a:pt x="1108" y="2495"/>
                  </a:lnTo>
                  <a:cubicBezTo>
                    <a:pt x="1119" y="2495"/>
                    <a:pt x="1133" y="2481"/>
                    <a:pt x="1133" y="2458"/>
                  </a:cubicBezTo>
                  <a:cubicBezTo>
                    <a:pt x="1145" y="2458"/>
                    <a:pt x="1145" y="2447"/>
                    <a:pt x="1145" y="2436"/>
                  </a:cubicBezTo>
                  <a:cubicBezTo>
                    <a:pt x="1145" y="2425"/>
                    <a:pt x="1133" y="2411"/>
                    <a:pt x="1133" y="2411"/>
                  </a:cubicBezTo>
                  <a:cubicBezTo>
                    <a:pt x="1119" y="2400"/>
                    <a:pt x="1119" y="2400"/>
                    <a:pt x="1108" y="2400"/>
                  </a:cubicBezTo>
                  <a:cubicBezTo>
                    <a:pt x="1097" y="2388"/>
                    <a:pt x="1086" y="2388"/>
                    <a:pt x="1086" y="2388"/>
                  </a:cubicBezTo>
                  <a:cubicBezTo>
                    <a:pt x="1075" y="2388"/>
                    <a:pt x="1063" y="2366"/>
                    <a:pt x="1063" y="2355"/>
                  </a:cubicBezTo>
                  <a:cubicBezTo>
                    <a:pt x="1063" y="2341"/>
                    <a:pt x="1063" y="2330"/>
                    <a:pt x="1075" y="2319"/>
                  </a:cubicBezTo>
                  <a:lnTo>
                    <a:pt x="1075" y="2307"/>
                  </a:lnTo>
                  <a:cubicBezTo>
                    <a:pt x="1075" y="2296"/>
                    <a:pt x="1063" y="2271"/>
                    <a:pt x="1049" y="2260"/>
                  </a:cubicBezTo>
                  <a:cubicBezTo>
                    <a:pt x="1049" y="2249"/>
                    <a:pt x="1038" y="2237"/>
                    <a:pt x="1027" y="2226"/>
                  </a:cubicBezTo>
                  <a:cubicBezTo>
                    <a:pt x="1016" y="2215"/>
                    <a:pt x="994" y="2215"/>
                    <a:pt x="980" y="2215"/>
                  </a:cubicBezTo>
                  <a:lnTo>
                    <a:pt x="957" y="2215"/>
                  </a:lnTo>
                  <a:cubicBezTo>
                    <a:pt x="946" y="2215"/>
                    <a:pt x="935" y="2226"/>
                    <a:pt x="935" y="2226"/>
                  </a:cubicBezTo>
                  <a:cubicBezTo>
                    <a:pt x="924" y="2226"/>
                    <a:pt x="910" y="2215"/>
                    <a:pt x="898" y="2215"/>
                  </a:cubicBezTo>
                  <a:lnTo>
                    <a:pt x="876" y="2215"/>
                  </a:lnTo>
                  <a:cubicBezTo>
                    <a:pt x="854" y="2215"/>
                    <a:pt x="829" y="2226"/>
                    <a:pt x="806" y="2249"/>
                  </a:cubicBezTo>
                  <a:lnTo>
                    <a:pt x="795" y="2260"/>
                  </a:lnTo>
                  <a:lnTo>
                    <a:pt x="747" y="2260"/>
                  </a:lnTo>
                  <a:cubicBezTo>
                    <a:pt x="736" y="2271"/>
                    <a:pt x="725" y="2271"/>
                    <a:pt x="725" y="2285"/>
                  </a:cubicBezTo>
                  <a:lnTo>
                    <a:pt x="725" y="2307"/>
                  </a:lnTo>
                  <a:lnTo>
                    <a:pt x="725" y="2316"/>
                  </a:lnTo>
                  <a:lnTo>
                    <a:pt x="725" y="2316"/>
                  </a:lnTo>
                  <a:cubicBezTo>
                    <a:pt x="717" y="2312"/>
                    <a:pt x="709" y="2307"/>
                    <a:pt x="700" y="2307"/>
                  </a:cubicBezTo>
                  <a:cubicBezTo>
                    <a:pt x="700" y="2296"/>
                    <a:pt x="700" y="2296"/>
                    <a:pt x="689" y="2285"/>
                  </a:cubicBezTo>
                  <a:cubicBezTo>
                    <a:pt x="689" y="2271"/>
                    <a:pt x="678" y="2271"/>
                    <a:pt x="666" y="2260"/>
                  </a:cubicBezTo>
                  <a:lnTo>
                    <a:pt x="655" y="2260"/>
                  </a:lnTo>
                  <a:cubicBezTo>
                    <a:pt x="630" y="2260"/>
                    <a:pt x="619" y="2271"/>
                    <a:pt x="619" y="2271"/>
                  </a:cubicBezTo>
                  <a:cubicBezTo>
                    <a:pt x="608" y="2285"/>
                    <a:pt x="596" y="2285"/>
                    <a:pt x="596" y="2296"/>
                  </a:cubicBezTo>
                  <a:cubicBezTo>
                    <a:pt x="585" y="2296"/>
                    <a:pt x="574" y="2307"/>
                    <a:pt x="574" y="2330"/>
                  </a:cubicBezTo>
                  <a:lnTo>
                    <a:pt x="574" y="2341"/>
                  </a:lnTo>
                  <a:lnTo>
                    <a:pt x="549" y="2341"/>
                  </a:lnTo>
                  <a:cubicBezTo>
                    <a:pt x="527" y="2355"/>
                    <a:pt x="504" y="2366"/>
                    <a:pt x="490" y="2388"/>
                  </a:cubicBezTo>
                  <a:cubicBezTo>
                    <a:pt x="479" y="2400"/>
                    <a:pt x="479" y="2400"/>
                    <a:pt x="479" y="2411"/>
                  </a:cubicBezTo>
                  <a:lnTo>
                    <a:pt x="457" y="2411"/>
                  </a:lnTo>
                  <a:cubicBezTo>
                    <a:pt x="447" y="2411"/>
                    <a:pt x="439" y="2411"/>
                    <a:pt x="432" y="2410"/>
                  </a:cubicBezTo>
                  <a:lnTo>
                    <a:pt x="432" y="2410"/>
                  </a:lnTo>
                  <a:cubicBezTo>
                    <a:pt x="428" y="2395"/>
                    <a:pt x="418" y="2386"/>
                    <a:pt x="409" y="2377"/>
                  </a:cubicBezTo>
                  <a:cubicBezTo>
                    <a:pt x="398" y="2366"/>
                    <a:pt x="398" y="2366"/>
                    <a:pt x="398" y="2355"/>
                  </a:cubicBezTo>
                  <a:lnTo>
                    <a:pt x="387" y="2355"/>
                  </a:lnTo>
                  <a:cubicBezTo>
                    <a:pt x="387" y="2341"/>
                    <a:pt x="398" y="2319"/>
                    <a:pt x="409" y="2307"/>
                  </a:cubicBezTo>
                  <a:cubicBezTo>
                    <a:pt x="409" y="2307"/>
                    <a:pt x="420" y="2307"/>
                    <a:pt x="420" y="2296"/>
                  </a:cubicBezTo>
                  <a:cubicBezTo>
                    <a:pt x="445" y="2296"/>
                    <a:pt x="457" y="2285"/>
                    <a:pt x="479" y="2271"/>
                  </a:cubicBezTo>
                  <a:cubicBezTo>
                    <a:pt x="490" y="2271"/>
                    <a:pt x="515" y="2260"/>
                    <a:pt x="527" y="2237"/>
                  </a:cubicBezTo>
                  <a:cubicBezTo>
                    <a:pt x="549" y="2215"/>
                    <a:pt x="560" y="2179"/>
                    <a:pt x="560" y="2156"/>
                  </a:cubicBezTo>
                  <a:cubicBezTo>
                    <a:pt x="560" y="2109"/>
                    <a:pt x="549" y="2075"/>
                    <a:pt x="527" y="2028"/>
                  </a:cubicBezTo>
                  <a:cubicBezTo>
                    <a:pt x="504" y="1991"/>
                    <a:pt x="479" y="1969"/>
                    <a:pt x="445" y="1958"/>
                  </a:cubicBezTo>
                  <a:cubicBezTo>
                    <a:pt x="420" y="1947"/>
                    <a:pt x="409" y="1947"/>
                    <a:pt x="387" y="1947"/>
                  </a:cubicBezTo>
                  <a:lnTo>
                    <a:pt x="306" y="1947"/>
                  </a:lnTo>
                  <a:cubicBezTo>
                    <a:pt x="294" y="1936"/>
                    <a:pt x="294" y="1936"/>
                    <a:pt x="294" y="1922"/>
                  </a:cubicBezTo>
                  <a:cubicBezTo>
                    <a:pt x="281" y="1922"/>
                    <a:pt x="281" y="1910"/>
                    <a:pt x="281" y="1910"/>
                  </a:cubicBezTo>
                  <a:cubicBezTo>
                    <a:pt x="281" y="1899"/>
                    <a:pt x="294" y="1877"/>
                    <a:pt x="294" y="1866"/>
                  </a:cubicBezTo>
                  <a:cubicBezTo>
                    <a:pt x="294" y="1852"/>
                    <a:pt x="281" y="1840"/>
                    <a:pt x="281" y="1829"/>
                  </a:cubicBezTo>
                  <a:cubicBezTo>
                    <a:pt x="269" y="1807"/>
                    <a:pt x="258" y="1796"/>
                    <a:pt x="247" y="1796"/>
                  </a:cubicBezTo>
                  <a:cubicBezTo>
                    <a:pt x="236" y="1782"/>
                    <a:pt x="225" y="1782"/>
                    <a:pt x="211" y="1771"/>
                  </a:cubicBezTo>
                  <a:cubicBezTo>
                    <a:pt x="199" y="1771"/>
                    <a:pt x="188" y="1759"/>
                    <a:pt x="177" y="1759"/>
                  </a:cubicBezTo>
                  <a:lnTo>
                    <a:pt x="177" y="1737"/>
                  </a:lnTo>
                  <a:cubicBezTo>
                    <a:pt x="177" y="1737"/>
                    <a:pt x="177" y="1726"/>
                    <a:pt x="188" y="1712"/>
                  </a:cubicBezTo>
                  <a:cubicBezTo>
                    <a:pt x="188" y="1701"/>
                    <a:pt x="199" y="1689"/>
                    <a:pt x="199" y="1678"/>
                  </a:cubicBezTo>
                  <a:cubicBezTo>
                    <a:pt x="199" y="1678"/>
                    <a:pt x="199" y="1667"/>
                    <a:pt x="188" y="1667"/>
                  </a:cubicBezTo>
                  <a:cubicBezTo>
                    <a:pt x="188" y="1656"/>
                    <a:pt x="188" y="1642"/>
                    <a:pt x="177" y="1642"/>
                  </a:cubicBezTo>
                  <a:lnTo>
                    <a:pt x="155" y="1642"/>
                  </a:lnTo>
                  <a:lnTo>
                    <a:pt x="141" y="1631"/>
                  </a:lnTo>
                  <a:cubicBezTo>
                    <a:pt x="141" y="1620"/>
                    <a:pt x="155" y="1597"/>
                    <a:pt x="166" y="1586"/>
                  </a:cubicBezTo>
                  <a:cubicBezTo>
                    <a:pt x="177" y="1561"/>
                    <a:pt x="188" y="1538"/>
                    <a:pt x="188" y="1516"/>
                  </a:cubicBezTo>
                  <a:lnTo>
                    <a:pt x="188" y="1502"/>
                  </a:lnTo>
                  <a:cubicBezTo>
                    <a:pt x="177" y="1480"/>
                    <a:pt x="166" y="1469"/>
                    <a:pt x="166" y="1457"/>
                  </a:cubicBezTo>
                  <a:lnTo>
                    <a:pt x="141" y="1432"/>
                  </a:lnTo>
                  <a:cubicBezTo>
                    <a:pt x="141" y="1421"/>
                    <a:pt x="155" y="1410"/>
                    <a:pt x="155" y="1399"/>
                  </a:cubicBezTo>
                  <a:lnTo>
                    <a:pt x="155" y="1387"/>
                  </a:lnTo>
                  <a:cubicBezTo>
                    <a:pt x="155" y="1376"/>
                    <a:pt x="141" y="1376"/>
                    <a:pt x="141" y="1362"/>
                  </a:cubicBezTo>
                  <a:cubicBezTo>
                    <a:pt x="130" y="1351"/>
                    <a:pt x="118" y="1351"/>
                    <a:pt x="118" y="1351"/>
                  </a:cubicBezTo>
                  <a:cubicBezTo>
                    <a:pt x="96" y="1340"/>
                    <a:pt x="85" y="1329"/>
                    <a:pt x="71" y="1306"/>
                  </a:cubicBezTo>
                  <a:cubicBezTo>
                    <a:pt x="60" y="1281"/>
                    <a:pt x="48" y="1270"/>
                    <a:pt x="48" y="1259"/>
                  </a:cubicBezTo>
                  <a:cubicBezTo>
                    <a:pt x="60" y="1236"/>
                    <a:pt x="71" y="1211"/>
                    <a:pt x="71" y="1189"/>
                  </a:cubicBezTo>
                  <a:lnTo>
                    <a:pt x="71" y="1178"/>
                  </a:lnTo>
                  <a:lnTo>
                    <a:pt x="85" y="1167"/>
                  </a:lnTo>
                  <a:lnTo>
                    <a:pt x="96" y="1153"/>
                  </a:lnTo>
                  <a:cubicBezTo>
                    <a:pt x="107" y="1153"/>
                    <a:pt x="130" y="1167"/>
                    <a:pt x="141" y="1178"/>
                  </a:cubicBezTo>
                  <a:cubicBezTo>
                    <a:pt x="155" y="1189"/>
                    <a:pt x="166" y="1200"/>
                    <a:pt x="188" y="1211"/>
                  </a:cubicBezTo>
                  <a:cubicBezTo>
                    <a:pt x="199" y="1211"/>
                    <a:pt x="211" y="1222"/>
                    <a:pt x="236" y="1222"/>
                  </a:cubicBezTo>
                  <a:lnTo>
                    <a:pt x="269" y="1222"/>
                  </a:lnTo>
                  <a:lnTo>
                    <a:pt x="269" y="1200"/>
                  </a:lnTo>
                  <a:lnTo>
                    <a:pt x="269" y="1178"/>
                  </a:lnTo>
                  <a:cubicBezTo>
                    <a:pt x="269" y="1153"/>
                    <a:pt x="258" y="1119"/>
                    <a:pt x="247" y="1097"/>
                  </a:cubicBezTo>
                  <a:cubicBezTo>
                    <a:pt x="236" y="1060"/>
                    <a:pt x="225" y="1038"/>
                    <a:pt x="211" y="1002"/>
                  </a:cubicBezTo>
                  <a:cubicBezTo>
                    <a:pt x="211" y="990"/>
                    <a:pt x="225" y="979"/>
                    <a:pt x="225" y="968"/>
                  </a:cubicBezTo>
                  <a:cubicBezTo>
                    <a:pt x="236" y="957"/>
                    <a:pt x="236" y="957"/>
                    <a:pt x="247" y="957"/>
                  </a:cubicBezTo>
                  <a:lnTo>
                    <a:pt x="258" y="943"/>
                  </a:lnTo>
                  <a:cubicBezTo>
                    <a:pt x="269" y="943"/>
                    <a:pt x="281" y="943"/>
                    <a:pt x="294" y="932"/>
                  </a:cubicBezTo>
                  <a:lnTo>
                    <a:pt x="294" y="909"/>
                  </a:lnTo>
                  <a:lnTo>
                    <a:pt x="294" y="887"/>
                  </a:lnTo>
                  <a:lnTo>
                    <a:pt x="294" y="873"/>
                  </a:lnTo>
                  <a:lnTo>
                    <a:pt x="294" y="862"/>
                  </a:lnTo>
                  <a:cubicBezTo>
                    <a:pt x="306" y="862"/>
                    <a:pt x="317" y="851"/>
                    <a:pt x="317" y="839"/>
                  </a:cubicBezTo>
                  <a:cubicBezTo>
                    <a:pt x="324" y="832"/>
                    <a:pt x="331" y="825"/>
                    <a:pt x="335" y="817"/>
                  </a:cubicBezTo>
                  <a:lnTo>
                    <a:pt x="339" y="817"/>
                  </a:lnTo>
                  <a:cubicBezTo>
                    <a:pt x="350" y="817"/>
                    <a:pt x="350" y="828"/>
                    <a:pt x="350" y="828"/>
                  </a:cubicBezTo>
                  <a:cubicBezTo>
                    <a:pt x="364" y="828"/>
                    <a:pt x="364" y="839"/>
                    <a:pt x="364" y="851"/>
                  </a:cubicBezTo>
                  <a:cubicBezTo>
                    <a:pt x="376" y="862"/>
                    <a:pt x="387" y="873"/>
                    <a:pt x="398" y="887"/>
                  </a:cubicBezTo>
                  <a:cubicBezTo>
                    <a:pt x="420" y="909"/>
                    <a:pt x="457" y="920"/>
                    <a:pt x="479" y="920"/>
                  </a:cubicBezTo>
                  <a:cubicBezTo>
                    <a:pt x="515" y="920"/>
                    <a:pt x="538" y="909"/>
                    <a:pt x="560" y="887"/>
                  </a:cubicBezTo>
                  <a:cubicBezTo>
                    <a:pt x="585" y="862"/>
                    <a:pt x="596" y="839"/>
                    <a:pt x="596" y="803"/>
                  </a:cubicBezTo>
                  <a:lnTo>
                    <a:pt x="596" y="792"/>
                  </a:lnTo>
                  <a:cubicBezTo>
                    <a:pt x="585" y="781"/>
                    <a:pt x="585" y="769"/>
                    <a:pt x="585" y="758"/>
                  </a:cubicBezTo>
                  <a:lnTo>
                    <a:pt x="585" y="747"/>
                  </a:lnTo>
                  <a:lnTo>
                    <a:pt x="608" y="747"/>
                  </a:lnTo>
                  <a:cubicBezTo>
                    <a:pt x="644" y="747"/>
                    <a:pt x="689" y="758"/>
                    <a:pt x="736" y="758"/>
                  </a:cubicBezTo>
                  <a:cubicBezTo>
                    <a:pt x="747" y="758"/>
                    <a:pt x="759" y="758"/>
                    <a:pt x="770" y="769"/>
                  </a:cubicBezTo>
                  <a:cubicBezTo>
                    <a:pt x="784" y="769"/>
                    <a:pt x="795" y="781"/>
                    <a:pt x="806" y="792"/>
                  </a:cubicBezTo>
                  <a:cubicBezTo>
                    <a:pt x="829" y="803"/>
                    <a:pt x="840" y="803"/>
                    <a:pt x="854" y="803"/>
                  </a:cubicBezTo>
                  <a:lnTo>
                    <a:pt x="898" y="803"/>
                  </a:lnTo>
                  <a:cubicBezTo>
                    <a:pt x="910" y="803"/>
                    <a:pt x="924" y="817"/>
                    <a:pt x="946" y="839"/>
                  </a:cubicBezTo>
                  <a:lnTo>
                    <a:pt x="968" y="862"/>
                  </a:lnTo>
                  <a:cubicBezTo>
                    <a:pt x="980" y="862"/>
                    <a:pt x="994" y="873"/>
                    <a:pt x="1016" y="873"/>
                  </a:cubicBezTo>
                  <a:cubicBezTo>
                    <a:pt x="1038" y="873"/>
                    <a:pt x="1063" y="862"/>
                    <a:pt x="1086" y="851"/>
                  </a:cubicBezTo>
                  <a:cubicBezTo>
                    <a:pt x="1097" y="839"/>
                    <a:pt x="1119" y="828"/>
                    <a:pt x="1133" y="828"/>
                  </a:cubicBezTo>
                  <a:cubicBezTo>
                    <a:pt x="1145" y="828"/>
                    <a:pt x="1145" y="839"/>
                    <a:pt x="1156" y="851"/>
                  </a:cubicBezTo>
                  <a:cubicBezTo>
                    <a:pt x="1167" y="862"/>
                    <a:pt x="1178" y="873"/>
                    <a:pt x="1203" y="887"/>
                  </a:cubicBezTo>
                  <a:lnTo>
                    <a:pt x="1226" y="887"/>
                  </a:lnTo>
                  <a:cubicBezTo>
                    <a:pt x="1248" y="887"/>
                    <a:pt x="1259" y="887"/>
                    <a:pt x="1273" y="873"/>
                  </a:cubicBezTo>
                  <a:cubicBezTo>
                    <a:pt x="1296" y="862"/>
                    <a:pt x="1296" y="862"/>
                    <a:pt x="1307" y="862"/>
                  </a:cubicBezTo>
                  <a:lnTo>
                    <a:pt x="1318" y="862"/>
                  </a:lnTo>
                  <a:cubicBezTo>
                    <a:pt x="1329" y="862"/>
                    <a:pt x="1354" y="873"/>
                    <a:pt x="1377" y="873"/>
                  </a:cubicBezTo>
                  <a:cubicBezTo>
                    <a:pt x="1377" y="887"/>
                    <a:pt x="1388" y="887"/>
                    <a:pt x="1388" y="887"/>
                  </a:cubicBezTo>
                  <a:cubicBezTo>
                    <a:pt x="1399" y="898"/>
                    <a:pt x="1413" y="898"/>
                    <a:pt x="1424" y="898"/>
                  </a:cubicBezTo>
                  <a:lnTo>
                    <a:pt x="1447" y="898"/>
                  </a:lnTo>
                  <a:cubicBezTo>
                    <a:pt x="1447" y="887"/>
                    <a:pt x="1458" y="887"/>
                    <a:pt x="1469" y="873"/>
                  </a:cubicBezTo>
                  <a:cubicBezTo>
                    <a:pt x="1483" y="862"/>
                    <a:pt x="1494" y="851"/>
                    <a:pt x="1494" y="828"/>
                  </a:cubicBezTo>
                  <a:cubicBezTo>
                    <a:pt x="1494" y="817"/>
                    <a:pt x="1494" y="803"/>
                    <a:pt x="1483" y="803"/>
                  </a:cubicBezTo>
                  <a:lnTo>
                    <a:pt x="1483" y="792"/>
                  </a:lnTo>
                  <a:cubicBezTo>
                    <a:pt x="1483" y="781"/>
                    <a:pt x="1469" y="781"/>
                    <a:pt x="1469" y="781"/>
                  </a:cubicBezTo>
                  <a:cubicBezTo>
                    <a:pt x="1469" y="769"/>
                    <a:pt x="1483" y="769"/>
                    <a:pt x="1483" y="747"/>
                  </a:cubicBezTo>
                  <a:lnTo>
                    <a:pt x="1483" y="733"/>
                  </a:lnTo>
                  <a:cubicBezTo>
                    <a:pt x="1483" y="700"/>
                    <a:pt x="1469" y="663"/>
                    <a:pt x="1435" y="652"/>
                  </a:cubicBezTo>
                  <a:cubicBezTo>
                    <a:pt x="1429" y="652"/>
                    <a:pt x="1424" y="652"/>
                    <a:pt x="1417" y="650"/>
                  </a:cubicBezTo>
                  <a:lnTo>
                    <a:pt x="1417" y="650"/>
                  </a:lnTo>
                  <a:cubicBezTo>
                    <a:pt x="1425" y="645"/>
                    <a:pt x="1431" y="638"/>
                    <a:pt x="1435" y="630"/>
                  </a:cubicBezTo>
                  <a:cubicBezTo>
                    <a:pt x="1447" y="618"/>
                    <a:pt x="1447" y="607"/>
                    <a:pt x="1447" y="607"/>
                  </a:cubicBezTo>
                  <a:cubicBezTo>
                    <a:pt x="1447" y="607"/>
                    <a:pt x="1447" y="593"/>
                    <a:pt x="1458" y="593"/>
                  </a:cubicBezTo>
                  <a:cubicBezTo>
                    <a:pt x="1469" y="593"/>
                    <a:pt x="1483" y="582"/>
                    <a:pt x="1494" y="582"/>
                  </a:cubicBezTo>
                  <a:cubicBezTo>
                    <a:pt x="1505" y="582"/>
                    <a:pt x="1528" y="571"/>
                    <a:pt x="1539" y="571"/>
                  </a:cubicBezTo>
                  <a:cubicBezTo>
                    <a:pt x="1539" y="560"/>
                    <a:pt x="1553" y="560"/>
                    <a:pt x="1564" y="549"/>
                  </a:cubicBezTo>
                  <a:lnTo>
                    <a:pt x="1564" y="512"/>
                  </a:lnTo>
                  <a:lnTo>
                    <a:pt x="1564" y="490"/>
                  </a:lnTo>
                  <a:cubicBezTo>
                    <a:pt x="1564" y="479"/>
                    <a:pt x="1564" y="467"/>
                    <a:pt x="1575" y="454"/>
                  </a:cubicBezTo>
                  <a:cubicBezTo>
                    <a:pt x="1586" y="442"/>
                    <a:pt x="1598" y="431"/>
                    <a:pt x="1609" y="431"/>
                  </a:cubicBezTo>
                  <a:cubicBezTo>
                    <a:pt x="1645" y="409"/>
                    <a:pt x="1679" y="384"/>
                    <a:pt x="1704" y="361"/>
                  </a:cubicBezTo>
                  <a:cubicBezTo>
                    <a:pt x="1737" y="339"/>
                    <a:pt x="1763" y="303"/>
                    <a:pt x="1785" y="280"/>
                  </a:cubicBezTo>
                  <a:cubicBezTo>
                    <a:pt x="1796" y="269"/>
                    <a:pt x="1807" y="258"/>
                    <a:pt x="1807" y="244"/>
                  </a:cubicBezTo>
                  <a:cubicBezTo>
                    <a:pt x="1818" y="233"/>
                    <a:pt x="1832" y="221"/>
                    <a:pt x="1832" y="210"/>
                  </a:cubicBezTo>
                  <a:lnTo>
                    <a:pt x="1832" y="199"/>
                  </a:lnTo>
                  <a:cubicBezTo>
                    <a:pt x="1832" y="199"/>
                    <a:pt x="1818" y="188"/>
                    <a:pt x="1818" y="174"/>
                  </a:cubicBezTo>
                  <a:lnTo>
                    <a:pt x="1818" y="163"/>
                  </a:lnTo>
                  <a:cubicBezTo>
                    <a:pt x="1832" y="163"/>
                    <a:pt x="1832" y="163"/>
                    <a:pt x="1844" y="152"/>
                  </a:cubicBezTo>
                  <a:lnTo>
                    <a:pt x="1844" y="118"/>
                  </a:lnTo>
                  <a:lnTo>
                    <a:pt x="1844" y="104"/>
                  </a:lnTo>
                  <a:cubicBezTo>
                    <a:pt x="1844" y="101"/>
                    <a:pt x="1844" y="98"/>
                    <a:pt x="1846" y="95"/>
                  </a:cubicBezTo>
                  <a:lnTo>
                    <a:pt x="1846" y="95"/>
                  </a:lnTo>
                  <a:cubicBezTo>
                    <a:pt x="1856" y="104"/>
                    <a:pt x="1867" y="104"/>
                    <a:pt x="1877" y="104"/>
                  </a:cubicBezTo>
                  <a:cubicBezTo>
                    <a:pt x="1902" y="104"/>
                    <a:pt x="1914" y="93"/>
                    <a:pt x="1925" y="93"/>
                  </a:cubicBezTo>
                  <a:cubicBezTo>
                    <a:pt x="1936" y="82"/>
                    <a:pt x="1947" y="82"/>
                    <a:pt x="1947" y="82"/>
                  </a:cubicBezTo>
                  <a:close/>
                  <a:moveTo>
                    <a:pt x="1844" y="1"/>
                  </a:moveTo>
                  <a:lnTo>
                    <a:pt x="1818" y="48"/>
                  </a:lnTo>
                  <a:cubicBezTo>
                    <a:pt x="1807" y="59"/>
                    <a:pt x="1796" y="82"/>
                    <a:pt x="1796" y="104"/>
                  </a:cubicBezTo>
                  <a:lnTo>
                    <a:pt x="1796" y="118"/>
                  </a:lnTo>
                  <a:lnTo>
                    <a:pt x="1796" y="129"/>
                  </a:lnTo>
                  <a:lnTo>
                    <a:pt x="1785" y="140"/>
                  </a:lnTo>
                  <a:cubicBezTo>
                    <a:pt x="1774" y="152"/>
                    <a:pt x="1774" y="163"/>
                    <a:pt x="1774" y="163"/>
                  </a:cubicBezTo>
                  <a:lnTo>
                    <a:pt x="1774" y="199"/>
                  </a:lnTo>
                  <a:lnTo>
                    <a:pt x="1785" y="210"/>
                  </a:lnTo>
                  <a:lnTo>
                    <a:pt x="1774" y="221"/>
                  </a:lnTo>
                  <a:cubicBezTo>
                    <a:pt x="1774" y="233"/>
                    <a:pt x="1763" y="233"/>
                    <a:pt x="1763" y="244"/>
                  </a:cubicBezTo>
                  <a:cubicBezTo>
                    <a:pt x="1726" y="269"/>
                    <a:pt x="1704" y="303"/>
                    <a:pt x="1667" y="328"/>
                  </a:cubicBezTo>
                  <a:cubicBezTo>
                    <a:pt x="1656" y="350"/>
                    <a:pt x="1623" y="361"/>
                    <a:pt x="1586" y="384"/>
                  </a:cubicBezTo>
                  <a:cubicBezTo>
                    <a:pt x="1575" y="398"/>
                    <a:pt x="1553" y="409"/>
                    <a:pt x="1539" y="420"/>
                  </a:cubicBezTo>
                  <a:cubicBezTo>
                    <a:pt x="1529" y="440"/>
                    <a:pt x="1519" y="451"/>
                    <a:pt x="1517" y="479"/>
                  </a:cubicBezTo>
                  <a:lnTo>
                    <a:pt x="1517" y="479"/>
                  </a:lnTo>
                  <a:lnTo>
                    <a:pt x="1516" y="479"/>
                  </a:lnTo>
                  <a:lnTo>
                    <a:pt x="1516" y="490"/>
                  </a:lnTo>
                  <a:lnTo>
                    <a:pt x="1516" y="512"/>
                  </a:lnTo>
                  <a:lnTo>
                    <a:pt x="1516" y="523"/>
                  </a:lnTo>
                  <a:cubicBezTo>
                    <a:pt x="1505" y="537"/>
                    <a:pt x="1483" y="537"/>
                    <a:pt x="1469" y="549"/>
                  </a:cubicBezTo>
                  <a:cubicBezTo>
                    <a:pt x="1458" y="549"/>
                    <a:pt x="1447" y="549"/>
                    <a:pt x="1435" y="560"/>
                  </a:cubicBezTo>
                  <a:cubicBezTo>
                    <a:pt x="1424" y="560"/>
                    <a:pt x="1413" y="571"/>
                    <a:pt x="1413" y="582"/>
                  </a:cubicBezTo>
                  <a:cubicBezTo>
                    <a:pt x="1399" y="593"/>
                    <a:pt x="1399" y="607"/>
                    <a:pt x="1399" y="607"/>
                  </a:cubicBezTo>
                  <a:cubicBezTo>
                    <a:pt x="1388" y="618"/>
                    <a:pt x="1388" y="618"/>
                    <a:pt x="1377" y="618"/>
                  </a:cubicBezTo>
                  <a:lnTo>
                    <a:pt x="1365" y="618"/>
                  </a:lnTo>
                  <a:lnTo>
                    <a:pt x="1354" y="630"/>
                  </a:lnTo>
                  <a:lnTo>
                    <a:pt x="1354" y="641"/>
                  </a:lnTo>
                  <a:cubicBezTo>
                    <a:pt x="1354" y="652"/>
                    <a:pt x="1365" y="663"/>
                    <a:pt x="1365" y="677"/>
                  </a:cubicBezTo>
                  <a:cubicBezTo>
                    <a:pt x="1365" y="677"/>
                    <a:pt x="1377" y="688"/>
                    <a:pt x="1388" y="688"/>
                  </a:cubicBezTo>
                  <a:cubicBezTo>
                    <a:pt x="1399" y="688"/>
                    <a:pt x="1413" y="700"/>
                    <a:pt x="1413" y="700"/>
                  </a:cubicBezTo>
                  <a:cubicBezTo>
                    <a:pt x="1424" y="700"/>
                    <a:pt x="1435" y="711"/>
                    <a:pt x="1435" y="733"/>
                  </a:cubicBezTo>
                  <a:cubicBezTo>
                    <a:pt x="1435" y="747"/>
                    <a:pt x="1424" y="758"/>
                    <a:pt x="1424" y="781"/>
                  </a:cubicBezTo>
                  <a:cubicBezTo>
                    <a:pt x="1424" y="803"/>
                    <a:pt x="1435" y="817"/>
                    <a:pt x="1447" y="817"/>
                  </a:cubicBezTo>
                  <a:lnTo>
                    <a:pt x="1447" y="828"/>
                  </a:lnTo>
                  <a:cubicBezTo>
                    <a:pt x="1447" y="839"/>
                    <a:pt x="1447" y="839"/>
                    <a:pt x="1435" y="839"/>
                  </a:cubicBezTo>
                  <a:cubicBezTo>
                    <a:pt x="1435" y="839"/>
                    <a:pt x="1435" y="851"/>
                    <a:pt x="1424" y="851"/>
                  </a:cubicBezTo>
                  <a:lnTo>
                    <a:pt x="1413" y="851"/>
                  </a:lnTo>
                  <a:lnTo>
                    <a:pt x="1399" y="839"/>
                  </a:lnTo>
                  <a:cubicBezTo>
                    <a:pt x="1377" y="828"/>
                    <a:pt x="1354" y="817"/>
                    <a:pt x="1318" y="817"/>
                  </a:cubicBezTo>
                  <a:lnTo>
                    <a:pt x="1296" y="817"/>
                  </a:lnTo>
                  <a:cubicBezTo>
                    <a:pt x="1284" y="817"/>
                    <a:pt x="1273" y="828"/>
                    <a:pt x="1259" y="828"/>
                  </a:cubicBezTo>
                  <a:cubicBezTo>
                    <a:pt x="1248" y="839"/>
                    <a:pt x="1237" y="839"/>
                    <a:pt x="1226" y="839"/>
                  </a:cubicBezTo>
                  <a:cubicBezTo>
                    <a:pt x="1214" y="839"/>
                    <a:pt x="1203" y="828"/>
                    <a:pt x="1189" y="817"/>
                  </a:cubicBezTo>
                  <a:cubicBezTo>
                    <a:pt x="1178" y="803"/>
                    <a:pt x="1167" y="792"/>
                    <a:pt x="1145" y="781"/>
                  </a:cubicBezTo>
                  <a:lnTo>
                    <a:pt x="1133" y="781"/>
                  </a:lnTo>
                  <a:cubicBezTo>
                    <a:pt x="1097" y="781"/>
                    <a:pt x="1075" y="792"/>
                    <a:pt x="1063" y="803"/>
                  </a:cubicBezTo>
                  <a:cubicBezTo>
                    <a:pt x="1038" y="817"/>
                    <a:pt x="1027" y="828"/>
                    <a:pt x="1016" y="828"/>
                  </a:cubicBezTo>
                  <a:cubicBezTo>
                    <a:pt x="1005" y="828"/>
                    <a:pt x="1005" y="828"/>
                    <a:pt x="994" y="817"/>
                  </a:cubicBezTo>
                  <a:cubicBezTo>
                    <a:pt x="980" y="817"/>
                    <a:pt x="968" y="803"/>
                    <a:pt x="957" y="792"/>
                  </a:cubicBezTo>
                  <a:cubicBezTo>
                    <a:pt x="946" y="781"/>
                    <a:pt x="935" y="769"/>
                    <a:pt x="910" y="758"/>
                  </a:cubicBezTo>
                  <a:lnTo>
                    <a:pt x="854" y="758"/>
                  </a:lnTo>
                  <a:cubicBezTo>
                    <a:pt x="840" y="758"/>
                    <a:pt x="829" y="758"/>
                    <a:pt x="829" y="747"/>
                  </a:cubicBezTo>
                  <a:cubicBezTo>
                    <a:pt x="817" y="747"/>
                    <a:pt x="806" y="733"/>
                    <a:pt x="784" y="722"/>
                  </a:cubicBezTo>
                  <a:cubicBezTo>
                    <a:pt x="770" y="722"/>
                    <a:pt x="747" y="711"/>
                    <a:pt x="736" y="711"/>
                  </a:cubicBezTo>
                  <a:cubicBezTo>
                    <a:pt x="700" y="711"/>
                    <a:pt x="655" y="700"/>
                    <a:pt x="608" y="700"/>
                  </a:cubicBezTo>
                  <a:lnTo>
                    <a:pt x="596" y="700"/>
                  </a:lnTo>
                  <a:cubicBezTo>
                    <a:pt x="585" y="700"/>
                    <a:pt x="574" y="700"/>
                    <a:pt x="560" y="711"/>
                  </a:cubicBezTo>
                  <a:cubicBezTo>
                    <a:pt x="549" y="711"/>
                    <a:pt x="549" y="722"/>
                    <a:pt x="549" y="733"/>
                  </a:cubicBezTo>
                  <a:cubicBezTo>
                    <a:pt x="538" y="733"/>
                    <a:pt x="538" y="747"/>
                    <a:pt x="538" y="758"/>
                  </a:cubicBezTo>
                  <a:cubicBezTo>
                    <a:pt x="538" y="769"/>
                    <a:pt x="538" y="792"/>
                    <a:pt x="549" y="803"/>
                  </a:cubicBezTo>
                  <a:cubicBezTo>
                    <a:pt x="549" y="828"/>
                    <a:pt x="538" y="839"/>
                    <a:pt x="527" y="851"/>
                  </a:cubicBezTo>
                  <a:cubicBezTo>
                    <a:pt x="515" y="862"/>
                    <a:pt x="490" y="873"/>
                    <a:pt x="479" y="873"/>
                  </a:cubicBezTo>
                  <a:cubicBezTo>
                    <a:pt x="468" y="873"/>
                    <a:pt x="445" y="873"/>
                    <a:pt x="434" y="851"/>
                  </a:cubicBezTo>
                  <a:cubicBezTo>
                    <a:pt x="420" y="839"/>
                    <a:pt x="409" y="839"/>
                    <a:pt x="409" y="828"/>
                  </a:cubicBezTo>
                  <a:cubicBezTo>
                    <a:pt x="409" y="817"/>
                    <a:pt x="398" y="803"/>
                    <a:pt x="387" y="792"/>
                  </a:cubicBezTo>
                  <a:cubicBezTo>
                    <a:pt x="376" y="781"/>
                    <a:pt x="364" y="781"/>
                    <a:pt x="350" y="769"/>
                  </a:cubicBezTo>
                  <a:lnTo>
                    <a:pt x="306" y="769"/>
                  </a:lnTo>
                  <a:lnTo>
                    <a:pt x="306" y="781"/>
                  </a:lnTo>
                  <a:cubicBezTo>
                    <a:pt x="294" y="792"/>
                    <a:pt x="294" y="803"/>
                    <a:pt x="281" y="803"/>
                  </a:cubicBezTo>
                  <a:cubicBezTo>
                    <a:pt x="281" y="817"/>
                    <a:pt x="269" y="828"/>
                    <a:pt x="258" y="839"/>
                  </a:cubicBezTo>
                  <a:cubicBezTo>
                    <a:pt x="258" y="851"/>
                    <a:pt x="247" y="862"/>
                    <a:pt x="247" y="873"/>
                  </a:cubicBezTo>
                  <a:lnTo>
                    <a:pt x="247" y="887"/>
                  </a:lnTo>
                  <a:lnTo>
                    <a:pt x="247" y="898"/>
                  </a:lnTo>
                  <a:cubicBezTo>
                    <a:pt x="247" y="909"/>
                    <a:pt x="247" y="909"/>
                    <a:pt x="236" y="909"/>
                  </a:cubicBezTo>
                  <a:cubicBezTo>
                    <a:pt x="211" y="909"/>
                    <a:pt x="199" y="932"/>
                    <a:pt x="188" y="943"/>
                  </a:cubicBezTo>
                  <a:cubicBezTo>
                    <a:pt x="177" y="968"/>
                    <a:pt x="166" y="979"/>
                    <a:pt x="166" y="1002"/>
                  </a:cubicBezTo>
                  <a:lnTo>
                    <a:pt x="166" y="1013"/>
                  </a:lnTo>
                  <a:cubicBezTo>
                    <a:pt x="177" y="1049"/>
                    <a:pt x="188" y="1083"/>
                    <a:pt x="199" y="1119"/>
                  </a:cubicBezTo>
                  <a:cubicBezTo>
                    <a:pt x="210" y="1141"/>
                    <a:pt x="224" y="1165"/>
                    <a:pt x="225" y="1176"/>
                  </a:cubicBezTo>
                  <a:lnTo>
                    <a:pt x="225" y="1176"/>
                  </a:lnTo>
                  <a:cubicBezTo>
                    <a:pt x="221" y="1175"/>
                    <a:pt x="218" y="1172"/>
                    <a:pt x="211" y="1167"/>
                  </a:cubicBezTo>
                  <a:cubicBezTo>
                    <a:pt x="199" y="1167"/>
                    <a:pt x="188" y="1153"/>
                    <a:pt x="177" y="1141"/>
                  </a:cubicBezTo>
                  <a:cubicBezTo>
                    <a:pt x="155" y="1130"/>
                    <a:pt x="130" y="1108"/>
                    <a:pt x="96" y="1108"/>
                  </a:cubicBezTo>
                  <a:cubicBezTo>
                    <a:pt x="85" y="1108"/>
                    <a:pt x="71" y="1119"/>
                    <a:pt x="60" y="1130"/>
                  </a:cubicBezTo>
                  <a:cubicBezTo>
                    <a:pt x="48" y="1130"/>
                    <a:pt x="37" y="1141"/>
                    <a:pt x="37" y="1153"/>
                  </a:cubicBezTo>
                  <a:cubicBezTo>
                    <a:pt x="26" y="1167"/>
                    <a:pt x="26" y="1178"/>
                    <a:pt x="26" y="1189"/>
                  </a:cubicBezTo>
                  <a:cubicBezTo>
                    <a:pt x="26" y="1200"/>
                    <a:pt x="26" y="1211"/>
                    <a:pt x="15" y="1236"/>
                  </a:cubicBezTo>
                  <a:cubicBezTo>
                    <a:pt x="1" y="1236"/>
                    <a:pt x="1" y="1248"/>
                    <a:pt x="1" y="1259"/>
                  </a:cubicBezTo>
                  <a:lnTo>
                    <a:pt x="1" y="1270"/>
                  </a:lnTo>
                  <a:cubicBezTo>
                    <a:pt x="1" y="1292"/>
                    <a:pt x="26" y="1318"/>
                    <a:pt x="26" y="1329"/>
                  </a:cubicBezTo>
                  <a:lnTo>
                    <a:pt x="37" y="1329"/>
                  </a:lnTo>
                  <a:cubicBezTo>
                    <a:pt x="48" y="1362"/>
                    <a:pt x="71" y="1376"/>
                    <a:pt x="96" y="1387"/>
                  </a:cubicBezTo>
                  <a:lnTo>
                    <a:pt x="107" y="1399"/>
                  </a:lnTo>
                  <a:cubicBezTo>
                    <a:pt x="107" y="1399"/>
                    <a:pt x="107" y="1410"/>
                    <a:pt x="96" y="1432"/>
                  </a:cubicBezTo>
                  <a:cubicBezTo>
                    <a:pt x="96" y="1457"/>
                    <a:pt x="107" y="1469"/>
                    <a:pt x="118" y="1480"/>
                  </a:cubicBezTo>
                  <a:cubicBezTo>
                    <a:pt x="130" y="1491"/>
                    <a:pt x="141" y="1502"/>
                    <a:pt x="141" y="1516"/>
                  </a:cubicBezTo>
                  <a:cubicBezTo>
                    <a:pt x="141" y="1527"/>
                    <a:pt x="130" y="1538"/>
                    <a:pt x="118" y="1561"/>
                  </a:cubicBezTo>
                  <a:cubicBezTo>
                    <a:pt x="118" y="1572"/>
                    <a:pt x="96" y="1597"/>
                    <a:pt x="96" y="1631"/>
                  </a:cubicBezTo>
                  <a:cubicBezTo>
                    <a:pt x="96" y="1642"/>
                    <a:pt x="107" y="1656"/>
                    <a:pt x="118" y="1667"/>
                  </a:cubicBezTo>
                  <a:cubicBezTo>
                    <a:pt x="118" y="1675"/>
                    <a:pt x="131" y="1684"/>
                    <a:pt x="143" y="1688"/>
                  </a:cubicBezTo>
                  <a:lnTo>
                    <a:pt x="143" y="1688"/>
                  </a:lnTo>
                  <a:lnTo>
                    <a:pt x="141" y="1689"/>
                  </a:lnTo>
                  <a:cubicBezTo>
                    <a:pt x="141" y="1701"/>
                    <a:pt x="130" y="1712"/>
                    <a:pt x="130" y="1737"/>
                  </a:cubicBezTo>
                  <a:cubicBezTo>
                    <a:pt x="130" y="1759"/>
                    <a:pt x="141" y="1782"/>
                    <a:pt x="155" y="1796"/>
                  </a:cubicBezTo>
                  <a:cubicBezTo>
                    <a:pt x="166" y="1807"/>
                    <a:pt x="177" y="1807"/>
                    <a:pt x="188" y="1818"/>
                  </a:cubicBezTo>
                  <a:cubicBezTo>
                    <a:pt x="199" y="1818"/>
                    <a:pt x="211" y="1829"/>
                    <a:pt x="225" y="1829"/>
                  </a:cubicBezTo>
                  <a:cubicBezTo>
                    <a:pt x="236" y="1840"/>
                    <a:pt x="236" y="1840"/>
                    <a:pt x="236" y="1852"/>
                  </a:cubicBezTo>
                  <a:cubicBezTo>
                    <a:pt x="236" y="1852"/>
                    <a:pt x="247" y="1852"/>
                    <a:pt x="247" y="1866"/>
                  </a:cubicBezTo>
                  <a:cubicBezTo>
                    <a:pt x="247" y="1877"/>
                    <a:pt x="236" y="1888"/>
                    <a:pt x="236" y="1910"/>
                  </a:cubicBezTo>
                  <a:cubicBezTo>
                    <a:pt x="236" y="1910"/>
                    <a:pt x="236" y="1922"/>
                    <a:pt x="247" y="1936"/>
                  </a:cubicBezTo>
                  <a:cubicBezTo>
                    <a:pt x="247" y="1958"/>
                    <a:pt x="269" y="1969"/>
                    <a:pt x="281" y="1980"/>
                  </a:cubicBezTo>
                  <a:cubicBezTo>
                    <a:pt x="306" y="1991"/>
                    <a:pt x="328" y="1991"/>
                    <a:pt x="339" y="1991"/>
                  </a:cubicBezTo>
                  <a:lnTo>
                    <a:pt x="387" y="1991"/>
                  </a:lnTo>
                  <a:cubicBezTo>
                    <a:pt x="409" y="1991"/>
                    <a:pt x="420" y="1991"/>
                    <a:pt x="434" y="2005"/>
                  </a:cubicBezTo>
                  <a:cubicBezTo>
                    <a:pt x="445" y="2005"/>
                    <a:pt x="468" y="2028"/>
                    <a:pt x="490" y="2050"/>
                  </a:cubicBezTo>
                  <a:cubicBezTo>
                    <a:pt x="504" y="2086"/>
                    <a:pt x="515" y="2120"/>
                    <a:pt x="515" y="2156"/>
                  </a:cubicBezTo>
                  <a:cubicBezTo>
                    <a:pt x="515" y="2179"/>
                    <a:pt x="504" y="2190"/>
                    <a:pt x="490" y="2215"/>
                  </a:cubicBezTo>
                  <a:cubicBezTo>
                    <a:pt x="490" y="2215"/>
                    <a:pt x="468" y="2226"/>
                    <a:pt x="457" y="2237"/>
                  </a:cubicBezTo>
                  <a:cubicBezTo>
                    <a:pt x="445" y="2237"/>
                    <a:pt x="420" y="2249"/>
                    <a:pt x="398" y="2260"/>
                  </a:cubicBezTo>
                  <a:cubicBezTo>
                    <a:pt x="398" y="2260"/>
                    <a:pt x="387" y="2271"/>
                    <a:pt x="376" y="2271"/>
                  </a:cubicBezTo>
                  <a:cubicBezTo>
                    <a:pt x="364" y="2296"/>
                    <a:pt x="339" y="2319"/>
                    <a:pt x="339" y="2355"/>
                  </a:cubicBezTo>
                  <a:cubicBezTo>
                    <a:pt x="339" y="2366"/>
                    <a:pt x="350" y="2377"/>
                    <a:pt x="350" y="2388"/>
                  </a:cubicBezTo>
                  <a:cubicBezTo>
                    <a:pt x="364" y="2400"/>
                    <a:pt x="376" y="2400"/>
                    <a:pt x="376" y="2411"/>
                  </a:cubicBezTo>
                  <a:cubicBezTo>
                    <a:pt x="387" y="2411"/>
                    <a:pt x="387" y="2425"/>
                    <a:pt x="387" y="2425"/>
                  </a:cubicBezTo>
                  <a:lnTo>
                    <a:pt x="387" y="2447"/>
                  </a:lnTo>
                  <a:lnTo>
                    <a:pt x="398" y="2447"/>
                  </a:lnTo>
                  <a:cubicBezTo>
                    <a:pt x="409" y="2458"/>
                    <a:pt x="434" y="2458"/>
                    <a:pt x="445" y="2458"/>
                  </a:cubicBezTo>
                  <a:lnTo>
                    <a:pt x="457" y="2458"/>
                  </a:lnTo>
                  <a:cubicBezTo>
                    <a:pt x="468" y="2458"/>
                    <a:pt x="490" y="2458"/>
                    <a:pt x="515" y="2436"/>
                  </a:cubicBezTo>
                  <a:cubicBezTo>
                    <a:pt x="527" y="2436"/>
                    <a:pt x="527" y="2425"/>
                    <a:pt x="527" y="2411"/>
                  </a:cubicBezTo>
                  <a:cubicBezTo>
                    <a:pt x="538" y="2400"/>
                    <a:pt x="549" y="2388"/>
                    <a:pt x="560" y="2388"/>
                  </a:cubicBezTo>
                  <a:lnTo>
                    <a:pt x="585" y="2388"/>
                  </a:lnTo>
                  <a:cubicBezTo>
                    <a:pt x="596" y="2388"/>
                    <a:pt x="608" y="2377"/>
                    <a:pt x="608" y="2377"/>
                  </a:cubicBezTo>
                  <a:cubicBezTo>
                    <a:pt x="619" y="2366"/>
                    <a:pt x="619" y="2366"/>
                    <a:pt x="619" y="2355"/>
                  </a:cubicBezTo>
                  <a:lnTo>
                    <a:pt x="619" y="2341"/>
                  </a:lnTo>
                  <a:lnTo>
                    <a:pt x="619" y="2330"/>
                  </a:lnTo>
                  <a:lnTo>
                    <a:pt x="630" y="2330"/>
                  </a:lnTo>
                  <a:cubicBezTo>
                    <a:pt x="630" y="2319"/>
                    <a:pt x="630" y="2319"/>
                    <a:pt x="644" y="2319"/>
                  </a:cubicBezTo>
                  <a:lnTo>
                    <a:pt x="655" y="2307"/>
                  </a:lnTo>
                  <a:cubicBezTo>
                    <a:pt x="655" y="2307"/>
                    <a:pt x="655" y="2319"/>
                    <a:pt x="666" y="2330"/>
                  </a:cubicBezTo>
                  <a:cubicBezTo>
                    <a:pt x="678" y="2355"/>
                    <a:pt x="700" y="2366"/>
                    <a:pt x="725" y="2366"/>
                  </a:cubicBezTo>
                  <a:lnTo>
                    <a:pt x="747" y="2366"/>
                  </a:lnTo>
                  <a:cubicBezTo>
                    <a:pt x="759" y="2355"/>
                    <a:pt x="770" y="2355"/>
                    <a:pt x="770" y="2341"/>
                  </a:cubicBezTo>
                  <a:lnTo>
                    <a:pt x="770" y="2330"/>
                  </a:lnTo>
                  <a:lnTo>
                    <a:pt x="770" y="2307"/>
                  </a:lnTo>
                  <a:lnTo>
                    <a:pt x="795" y="2307"/>
                  </a:lnTo>
                  <a:cubicBezTo>
                    <a:pt x="806" y="2307"/>
                    <a:pt x="806" y="2307"/>
                    <a:pt x="817" y="2296"/>
                  </a:cubicBezTo>
                  <a:cubicBezTo>
                    <a:pt x="829" y="2296"/>
                    <a:pt x="840" y="2285"/>
                    <a:pt x="840" y="2271"/>
                  </a:cubicBezTo>
                  <a:cubicBezTo>
                    <a:pt x="854" y="2271"/>
                    <a:pt x="865" y="2260"/>
                    <a:pt x="876" y="2260"/>
                  </a:cubicBezTo>
                  <a:lnTo>
                    <a:pt x="887" y="2260"/>
                  </a:lnTo>
                  <a:cubicBezTo>
                    <a:pt x="898" y="2260"/>
                    <a:pt x="910" y="2271"/>
                    <a:pt x="935" y="2271"/>
                  </a:cubicBezTo>
                  <a:lnTo>
                    <a:pt x="946" y="2271"/>
                  </a:lnTo>
                  <a:cubicBezTo>
                    <a:pt x="957" y="2260"/>
                    <a:pt x="968" y="2260"/>
                    <a:pt x="968" y="2260"/>
                  </a:cubicBezTo>
                  <a:lnTo>
                    <a:pt x="980" y="2260"/>
                  </a:lnTo>
                  <a:cubicBezTo>
                    <a:pt x="980" y="2256"/>
                    <a:pt x="981" y="2255"/>
                    <a:pt x="983" y="2255"/>
                  </a:cubicBezTo>
                  <a:cubicBezTo>
                    <a:pt x="987" y="2255"/>
                    <a:pt x="994" y="2260"/>
                    <a:pt x="994" y="2260"/>
                  </a:cubicBezTo>
                  <a:cubicBezTo>
                    <a:pt x="1005" y="2260"/>
                    <a:pt x="1005" y="2271"/>
                    <a:pt x="1016" y="2285"/>
                  </a:cubicBezTo>
                  <a:cubicBezTo>
                    <a:pt x="1016" y="2296"/>
                    <a:pt x="1027" y="2307"/>
                    <a:pt x="1027" y="2307"/>
                  </a:cubicBezTo>
                  <a:cubicBezTo>
                    <a:pt x="1027" y="2316"/>
                    <a:pt x="1020" y="2318"/>
                    <a:pt x="1017" y="2330"/>
                  </a:cubicBezTo>
                  <a:lnTo>
                    <a:pt x="1017" y="2330"/>
                  </a:lnTo>
                  <a:lnTo>
                    <a:pt x="1016" y="2330"/>
                  </a:lnTo>
                  <a:lnTo>
                    <a:pt x="1016" y="2355"/>
                  </a:lnTo>
                  <a:cubicBezTo>
                    <a:pt x="1016" y="2388"/>
                    <a:pt x="1027" y="2425"/>
                    <a:pt x="1063" y="2436"/>
                  </a:cubicBezTo>
                  <a:lnTo>
                    <a:pt x="1097" y="2436"/>
                  </a:lnTo>
                  <a:lnTo>
                    <a:pt x="1097" y="2447"/>
                  </a:lnTo>
                  <a:cubicBezTo>
                    <a:pt x="1086" y="2447"/>
                    <a:pt x="1086" y="2458"/>
                    <a:pt x="1075" y="2470"/>
                  </a:cubicBezTo>
                  <a:cubicBezTo>
                    <a:pt x="1063" y="2481"/>
                    <a:pt x="1063" y="2506"/>
                    <a:pt x="1063" y="2517"/>
                  </a:cubicBezTo>
                  <a:cubicBezTo>
                    <a:pt x="1063" y="2539"/>
                    <a:pt x="1063" y="2551"/>
                    <a:pt x="1075" y="2565"/>
                  </a:cubicBezTo>
                  <a:cubicBezTo>
                    <a:pt x="1075" y="2576"/>
                    <a:pt x="1086" y="2587"/>
                    <a:pt x="1086" y="2587"/>
                  </a:cubicBezTo>
                  <a:lnTo>
                    <a:pt x="1108" y="2609"/>
                  </a:lnTo>
                  <a:cubicBezTo>
                    <a:pt x="1119" y="2609"/>
                    <a:pt x="1119" y="2621"/>
                    <a:pt x="1145" y="2621"/>
                  </a:cubicBezTo>
                  <a:cubicBezTo>
                    <a:pt x="1156" y="2609"/>
                    <a:pt x="1167" y="2609"/>
                    <a:pt x="1167" y="2609"/>
                  </a:cubicBezTo>
                  <a:lnTo>
                    <a:pt x="1178" y="2609"/>
                  </a:lnTo>
                  <a:cubicBezTo>
                    <a:pt x="1189" y="2609"/>
                    <a:pt x="1189" y="2609"/>
                    <a:pt x="1203" y="2598"/>
                  </a:cubicBezTo>
                  <a:cubicBezTo>
                    <a:pt x="1214" y="2598"/>
                    <a:pt x="1226" y="2587"/>
                    <a:pt x="1226" y="2587"/>
                  </a:cubicBezTo>
                  <a:cubicBezTo>
                    <a:pt x="1237" y="2576"/>
                    <a:pt x="1237" y="2565"/>
                    <a:pt x="1248" y="2565"/>
                  </a:cubicBezTo>
                  <a:lnTo>
                    <a:pt x="1248" y="2528"/>
                  </a:lnTo>
                  <a:cubicBezTo>
                    <a:pt x="1259" y="2517"/>
                    <a:pt x="1273" y="2506"/>
                    <a:pt x="1284" y="2495"/>
                  </a:cubicBezTo>
                  <a:cubicBezTo>
                    <a:pt x="1307" y="2506"/>
                    <a:pt x="1318" y="2528"/>
                    <a:pt x="1343" y="2551"/>
                  </a:cubicBezTo>
                  <a:cubicBezTo>
                    <a:pt x="1354" y="2576"/>
                    <a:pt x="1377" y="2609"/>
                    <a:pt x="1413" y="2621"/>
                  </a:cubicBezTo>
                  <a:lnTo>
                    <a:pt x="1435" y="2621"/>
                  </a:lnTo>
                  <a:lnTo>
                    <a:pt x="1447" y="2635"/>
                  </a:lnTo>
                  <a:lnTo>
                    <a:pt x="1447" y="2657"/>
                  </a:lnTo>
                  <a:lnTo>
                    <a:pt x="1447" y="2668"/>
                  </a:lnTo>
                  <a:lnTo>
                    <a:pt x="1447" y="2727"/>
                  </a:lnTo>
                  <a:lnTo>
                    <a:pt x="1447" y="2738"/>
                  </a:lnTo>
                  <a:cubicBezTo>
                    <a:pt x="1447" y="2749"/>
                    <a:pt x="1447" y="2774"/>
                    <a:pt x="1458" y="2786"/>
                  </a:cubicBezTo>
                  <a:cubicBezTo>
                    <a:pt x="1469" y="2797"/>
                    <a:pt x="1483" y="2808"/>
                    <a:pt x="1505" y="2808"/>
                  </a:cubicBezTo>
                  <a:cubicBezTo>
                    <a:pt x="1516" y="2808"/>
                    <a:pt x="1528" y="2808"/>
                    <a:pt x="1539" y="2797"/>
                  </a:cubicBezTo>
                  <a:cubicBezTo>
                    <a:pt x="1553" y="2797"/>
                    <a:pt x="1564" y="2786"/>
                    <a:pt x="1575" y="2774"/>
                  </a:cubicBezTo>
                  <a:lnTo>
                    <a:pt x="1586" y="2760"/>
                  </a:lnTo>
                  <a:lnTo>
                    <a:pt x="1634" y="2760"/>
                  </a:lnTo>
                  <a:cubicBezTo>
                    <a:pt x="1634" y="2760"/>
                    <a:pt x="1645" y="2760"/>
                    <a:pt x="1656" y="2749"/>
                  </a:cubicBezTo>
                  <a:cubicBezTo>
                    <a:pt x="1667" y="2749"/>
                    <a:pt x="1679" y="2738"/>
                    <a:pt x="1679" y="2727"/>
                  </a:cubicBezTo>
                  <a:lnTo>
                    <a:pt x="1679" y="2716"/>
                  </a:lnTo>
                  <a:cubicBezTo>
                    <a:pt x="1679" y="2704"/>
                    <a:pt x="1679" y="2704"/>
                    <a:pt x="1667" y="2690"/>
                  </a:cubicBezTo>
                  <a:lnTo>
                    <a:pt x="1667" y="2679"/>
                  </a:lnTo>
                  <a:cubicBezTo>
                    <a:pt x="1667" y="2668"/>
                    <a:pt x="1679" y="2668"/>
                    <a:pt x="1679" y="2668"/>
                  </a:cubicBezTo>
                  <a:cubicBezTo>
                    <a:pt x="1693" y="2657"/>
                    <a:pt x="1693" y="2646"/>
                    <a:pt x="1693" y="2646"/>
                  </a:cubicBezTo>
                  <a:lnTo>
                    <a:pt x="1693" y="2635"/>
                  </a:lnTo>
                  <a:lnTo>
                    <a:pt x="1704" y="2635"/>
                  </a:lnTo>
                  <a:cubicBezTo>
                    <a:pt x="1704" y="2635"/>
                    <a:pt x="1715" y="2635"/>
                    <a:pt x="1715" y="2646"/>
                  </a:cubicBezTo>
                  <a:lnTo>
                    <a:pt x="1749" y="2646"/>
                  </a:lnTo>
                  <a:cubicBezTo>
                    <a:pt x="1763" y="2646"/>
                    <a:pt x="1774" y="2646"/>
                    <a:pt x="1785" y="2635"/>
                  </a:cubicBezTo>
                  <a:lnTo>
                    <a:pt x="1785" y="2621"/>
                  </a:lnTo>
                  <a:lnTo>
                    <a:pt x="1796" y="2609"/>
                  </a:lnTo>
                  <a:lnTo>
                    <a:pt x="1832" y="2609"/>
                  </a:lnTo>
                  <a:cubicBezTo>
                    <a:pt x="1844" y="2609"/>
                    <a:pt x="1866" y="2598"/>
                    <a:pt x="1866" y="2587"/>
                  </a:cubicBezTo>
                  <a:cubicBezTo>
                    <a:pt x="1877" y="2576"/>
                    <a:pt x="1888" y="2551"/>
                    <a:pt x="1888" y="2539"/>
                  </a:cubicBezTo>
                  <a:cubicBezTo>
                    <a:pt x="1888" y="2528"/>
                    <a:pt x="1877" y="2517"/>
                    <a:pt x="1877" y="2506"/>
                  </a:cubicBezTo>
                  <a:cubicBezTo>
                    <a:pt x="1866" y="2495"/>
                    <a:pt x="1866" y="2481"/>
                    <a:pt x="1855" y="2481"/>
                  </a:cubicBezTo>
                  <a:lnTo>
                    <a:pt x="1855" y="2470"/>
                  </a:lnTo>
                  <a:cubicBezTo>
                    <a:pt x="1888" y="2458"/>
                    <a:pt x="1925" y="2436"/>
                    <a:pt x="1958" y="2400"/>
                  </a:cubicBezTo>
                  <a:cubicBezTo>
                    <a:pt x="1983" y="2377"/>
                    <a:pt x="2006" y="2341"/>
                    <a:pt x="2017" y="2296"/>
                  </a:cubicBezTo>
                  <a:cubicBezTo>
                    <a:pt x="2017" y="2285"/>
                    <a:pt x="2017" y="2271"/>
                    <a:pt x="2028" y="2271"/>
                  </a:cubicBezTo>
                  <a:cubicBezTo>
                    <a:pt x="2028" y="2260"/>
                    <a:pt x="2042" y="2260"/>
                    <a:pt x="2042" y="2260"/>
                  </a:cubicBezTo>
                  <a:lnTo>
                    <a:pt x="2053" y="2260"/>
                  </a:lnTo>
                  <a:cubicBezTo>
                    <a:pt x="2065" y="2271"/>
                    <a:pt x="2076" y="2285"/>
                    <a:pt x="2087" y="2296"/>
                  </a:cubicBezTo>
                  <a:cubicBezTo>
                    <a:pt x="2087" y="2307"/>
                    <a:pt x="2098" y="2319"/>
                    <a:pt x="2098" y="2319"/>
                  </a:cubicBezTo>
                  <a:cubicBezTo>
                    <a:pt x="2112" y="2330"/>
                    <a:pt x="2112" y="2341"/>
                    <a:pt x="2134" y="2355"/>
                  </a:cubicBezTo>
                  <a:lnTo>
                    <a:pt x="2285" y="2355"/>
                  </a:lnTo>
                  <a:cubicBezTo>
                    <a:pt x="2285" y="2355"/>
                    <a:pt x="2285" y="2366"/>
                    <a:pt x="2297" y="2366"/>
                  </a:cubicBezTo>
                  <a:lnTo>
                    <a:pt x="2297" y="2388"/>
                  </a:lnTo>
                  <a:lnTo>
                    <a:pt x="2297" y="2411"/>
                  </a:lnTo>
                  <a:cubicBezTo>
                    <a:pt x="2308" y="2425"/>
                    <a:pt x="2322" y="2436"/>
                    <a:pt x="2322" y="2436"/>
                  </a:cubicBezTo>
                  <a:cubicBezTo>
                    <a:pt x="2344" y="2447"/>
                    <a:pt x="2355" y="2447"/>
                    <a:pt x="2367" y="2447"/>
                  </a:cubicBezTo>
                  <a:lnTo>
                    <a:pt x="2367" y="2458"/>
                  </a:lnTo>
                  <a:lnTo>
                    <a:pt x="2378" y="2458"/>
                  </a:lnTo>
                  <a:cubicBezTo>
                    <a:pt x="2378" y="2458"/>
                    <a:pt x="2367" y="2470"/>
                    <a:pt x="2367" y="2481"/>
                  </a:cubicBezTo>
                  <a:lnTo>
                    <a:pt x="2367" y="2517"/>
                  </a:lnTo>
                  <a:lnTo>
                    <a:pt x="2367" y="2539"/>
                  </a:lnTo>
                  <a:cubicBezTo>
                    <a:pt x="2378" y="2551"/>
                    <a:pt x="2392" y="2565"/>
                    <a:pt x="2392" y="2565"/>
                  </a:cubicBezTo>
                  <a:lnTo>
                    <a:pt x="2425" y="2565"/>
                  </a:lnTo>
                  <a:cubicBezTo>
                    <a:pt x="2436" y="2565"/>
                    <a:pt x="2448" y="2565"/>
                    <a:pt x="2448" y="2576"/>
                  </a:cubicBezTo>
                  <a:lnTo>
                    <a:pt x="2462" y="2576"/>
                  </a:lnTo>
                  <a:lnTo>
                    <a:pt x="2462" y="2598"/>
                  </a:lnTo>
                  <a:lnTo>
                    <a:pt x="2462" y="2621"/>
                  </a:lnTo>
                  <a:cubicBezTo>
                    <a:pt x="2462" y="2646"/>
                    <a:pt x="2448" y="2679"/>
                    <a:pt x="2448" y="2716"/>
                  </a:cubicBezTo>
                  <a:lnTo>
                    <a:pt x="2448" y="2727"/>
                  </a:lnTo>
                  <a:cubicBezTo>
                    <a:pt x="2448" y="2738"/>
                    <a:pt x="2448" y="2749"/>
                    <a:pt x="2462" y="2760"/>
                  </a:cubicBezTo>
                  <a:cubicBezTo>
                    <a:pt x="2462" y="2774"/>
                    <a:pt x="2473" y="2786"/>
                    <a:pt x="2484" y="2786"/>
                  </a:cubicBezTo>
                  <a:lnTo>
                    <a:pt x="2517" y="2786"/>
                  </a:lnTo>
                  <a:cubicBezTo>
                    <a:pt x="2531" y="2786"/>
                    <a:pt x="2531" y="2786"/>
                    <a:pt x="2543" y="2797"/>
                  </a:cubicBezTo>
                  <a:cubicBezTo>
                    <a:pt x="2543" y="2808"/>
                    <a:pt x="2554" y="2808"/>
                    <a:pt x="2565" y="2819"/>
                  </a:cubicBezTo>
                  <a:cubicBezTo>
                    <a:pt x="2576" y="2830"/>
                    <a:pt x="2601" y="2830"/>
                    <a:pt x="2613" y="2830"/>
                  </a:cubicBezTo>
                  <a:cubicBezTo>
                    <a:pt x="2624" y="2830"/>
                    <a:pt x="2635" y="2830"/>
                    <a:pt x="2646" y="2819"/>
                  </a:cubicBezTo>
                  <a:cubicBezTo>
                    <a:pt x="2657" y="2819"/>
                    <a:pt x="2671" y="2808"/>
                    <a:pt x="2682" y="2797"/>
                  </a:cubicBezTo>
                  <a:cubicBezTo>
                    <a:pt x="2694" y="2786"/>
                    <a:pt x="2716" y="2774"/>
                    <a:pt x="2741" y="2774"/>
                  </a:cubicBezTo>
                  <a:cubicBezTo>
                    <a:pt x="2764" y="2774"/>
                    <a:pt x="2786" y="2786"/>
                    <a:pt x="2797" y="2808"/>
                  </a:cubicBezTo>
                  <a:cubicBezTo>
                    <a:pt x="2811" y="2819"/>
                    <a:pt x="2811" y="2830"/>
                    <a:pt x="2822" y="2844"/>
                  </a:cubicBezTo>
                  <a:cubicBezTo>
                    <a:pt x="2833" y="2855"/>
                    <a:pt x="2845" y="2855"/>
                    <a:pt x="2856" y="2855"/>
                  </a:cubicBezTo>
                  <a:lnTo>
                    <a:pt x="2892" y="2855"/>
                  </a:lnTo>
                  <a:cubicBezTo>
                    <a:pt x="2892" y="2855"/>
                    <a:pt x="2903" y="2855"/>
                    <a:pt x="2903" y="2867"/>
                  </a:cubicBezTo>
                  <a:cubicBezTo>
                    <a:pt x="2915" y="2878"/>
                    <a:pt x="2915" y="2889"/>
                    <a:pt x="2926" y="2900"/>
                  </a:cubicBezTo>
                  <a:lnTo>
                    <a:pt x="2926" y="2914"/>
                  </a:lnTo>
                  <a:cubicBezTo>
                    <a:pt x="2937" y="2914"/>
                    <a:pt x="2937" y="2925"/>
                    <a:pt x="2951" y="2925"/>
                  </a:cubicBezTo>
                  <a:lnTo>
                    <a:pt x="2973" y="2925"/>
                  </a:lnTo>
                  <a:cubicBezTo>
                    <a:pt x="3021" y="2914"/>
                    <a:pt x="3066" y="2889"/>
                    <a:pt x="3113" y="2889"/>
                  </a:cubicBezTo>
                  <a:lnTo>
                    <a:pt x="3124" y="2889"/>
                  </a:lnTo>
                  <a:cubicBezTo>
                    <a:pt x="3135" y="2889"/>
                    <a:pt x="3135" y="2900"/>
                    <a:pt x="3147" y="2900"/>
                  </a:cubicBezTo>
                  <a:lnTo>
                    <a:pt x="3147" y="2914"/>
                  </a:lnTo>
                  <a:cubicBezTo>
                    <a:pt x="3161" y="2925"/>
                    <a:pt x="3161" y="2937"/>
                    <a:pt x="3172" y="2948"/>
                  </a:cubicBezTo>
                  <a:cubicBezTo>
                    <a:pt x="3194" y="2984"/>
                    <a:pt x="3231" y="2995"/>
                    <a:pt x="3264" y="2995"/>
                  </a:cubicBezTo>
                  <a:cubicBezTo>
                    <a:pt x="3300" y="2995"/>
                    <a:pt x="3334" y="2984"/>
                    <a:pt x="3370" y="2959"/>
                  </a:cubicBezTo>
                  <a:cubicBezTo>
                    <a:pt x="3382" y="2948"/>
                    <a:pt x="3393" y="2937"/>
                    <a:pt x="3404" y="2937"/>
                  </a:cubicBezTo>
                  <a:lnTo>
                    <a:pt x="3415" y="2937"/>
                  </a:lnTo>
                  <a:cubicBezTo>
                    <a:pt x="3415" y="2937"/>
                    <a:pt x="3426" y="2937"/>
                    <a:pt x="3426" y="2948"/>
                  </a:cubicBezTo>
                  <a:lnTo>
                    <a:pt x="3451" y="2959"/>
                  </a:lnTo>
                  <a:lnTo>
                    <a:pt x="3463" y="2937"/>
                  </a:lnTo>
                  <a:cubicBezTo>
                    <a:pt x="3463" y="2925"/>
                    <a:pt x="3474" y="2914"/>
                    <a:pt x="3485" y="2914"/>
                  </a:cubicBezTo>
                  <a:cubicBezTo>
                    <a:pt x="3485" y="2900"/>
                    <a:pt x="3496" y="2900"/>
                    <a:pt x="3510" y="2889"/>
                  </a:cubicBezTo>
                  <a:lnTo>
                    <a:pt x="3521" y="2889"/>
                  </a:lnTo>
                  <a:lnTo>
                    <a:pt x="3521" y="2878"/>
                  </a:lnTo>
                  <a:lnTo>
                    <a:pt x="3521" y="2844"/>
                  </a:lnTo>
                  <a:cubicBezTo>
                    <a:pt x="3521" y="2819"/>
                    <a:pt x="3521" y="2797"/>
                    <a:pt x="3510" y="2760"/>
                  </a:cubicBezTo>
                  <a:lnTo>
                    <a:pt x="3496" y="2749"/>
                  </a:lnTo>
                  <a:lnTo>
                    <a:pt x="3485" y="2749"/>
                  </a:lnTo>
                  <a:cubicBezTo>
                    <a:pt x="3463" y="2749"/>
                    <a:pt x="3451" y="2774"/>
                    <a:pt x="3440" y="2786"/>
                  </a:cubicBezTo>
                  <a:cubicBezTo>
                    <a:pt x="3426" y="2797"/>
                    <a:pt x="3415" y="2819"/>
                    <a:pt x="3404" y="2844"/>
                  </a:cubicBezTo>
                  <a:lnTo>
                    <a:pt x="3393" y="2855"/>
                  </a:lnTo>
                  <a:lnTo>
                    <a:pt x="3370" y="2855"/>
                  </a:lnTo>
                  <a:lnTo>
                    <a:pt x="3370" y="2830"/>
                  </a:lnTo>
                  <a:lnTo>
                    <a:pt x="3370" y="2797"/>
                  </a:lnTo>
                  <a:cubicBezTo>
                    <a:pt x="3382" y="2774"/>
                    <a:pt x="3404" y="2749"/>
                    <a:pt x="3404" y="2704"/>
                  </a:cubicBezTo>
                  <a:cubicBezTo>
                    <a:pt x="3404" y="2704"/>
                    <a:pt x="3404" y="2690"/>
                    <a:pt x="3393" y="2679"/>
                  </a:cubicBezTo>
                  <a:cubicBezTo>
                    <a:pt x="3382" y="2657"/>
                    <a:pt x="3370" y="2646"/>
                    <a:pt x="3356" y="2635"/>
                  </a:cubicBezTo>
                  <a:cubicBezTo>
                    <a:pt x="3334" y="2621"/>
                    <a:pt x="3312" y="2621"/>
                    <a:pt x="3286" y="2609"/>
                  </a:cubicBezTo>
                  <a:lnTo>
                    <a:pt x="3275" y="2598"/>
                  </a:lnTo>
                  <a:cubicBezTo>
                    <a:pt x="3264" y="2598"/>
                    <a:pt x="3264" y="2587"/>
                    <a:pt x="3264" y="2587"/>
                  </a:cubicBezTo>
                  <a:cubicBezTo>
                    <a:pt x="3253" y="2576"/>
                    <a:pt x="3253" y="2576"/>
                    <a:pt x="3253" y="2565"/>
                  </a:cubicBezTo>
                  <a:cubicBezTo>
                    <a:pt x="3253" y="2551"/>
                    <a:pt x="3264" y="2528"/>
                    <a:pt x="3264" y="2517"/>
                  </a:cubicBezTo>
                  <a:lnTo>
                    <a:pt x="3264" y="2506"/>
                  </a:lnTo>
                  <a:cubicBezTo>
                    <a:pt x="3264" y="2495"/>
                    <a:pt x="3253" y="2481"/>
                    <a:pt x="3242" y="2458"/>
                  </a:cubicBezTo>
                  <a:lnTo>
                    <a:pt x="3231" y="2447"/>
                  </a:lnTo>
                  <a:cubicBezTo>
                    <a:pt x="3217" y="2447"/>
                    <a:pt x="3205" y="2436"/>
                    <a:pt x="3194" y="2436"/>
                  </a:cubicBezTo>
                  <a:cubicBezTo>
                    <a:pt x="3194" y="2436"/>
                    <a:pt x="3183" y="2436"/>
                    <a:pt x="3183" y="2447"/>
                  </a:cubicBezTo>
                  <a:cubicBezTo>
                    <a:pt x="3172" y="2447"/>
                    <a:pt x="3161" y="2458"/>
                    <a:pt x="3161" y="2458"/>
                  </a:cubicBezTo>
                  <a:lnTo>
                    <a:pt x="3135" y="2458"/>
                  </a:lnTo>
                  <a:cubicBezTo>
                    <a:pt x="3135" y="2458"/>
                    <a:pt x="3113" y="2458"/>
                    <a:pt x="3113" y="2447"/>
                  </a:cubicBezTo>
                  <a:cubicBezTo>
                    <a:pt x="3102" y="2447"/>
                    <a:pt x="3091" y="2436"/>
                    <a:pt x="3091" y="2425"/>
                  </a:cubicBezTo>
                  <a:cubicBezTo>
                    <a:pt x="3077" y="2411"/>
                    <a:pt x="3077" y="2400"/>
                    <a:pt x="3077" y="2388"/>
                  </a:cubicBezTo>
                  <a:cubicBezTo>
                    <a:pt x="3077" y="2366"/>
                    <a:pt x="3091" y="2330"/>
                    <a:pt x="3102" y="2296"/>
                  </a:cubicBezTo>
                  <a:cubicBezTo>
                    <a:pt x="3102" y="2285"/>
                    <a:pt x="3113" y="2271"/>
                    <a:pt x="3113" y="2271"/>
                  </a:cubicBezTo>
                  <a:cubicBezTo>
                    <a:pt x="3113" y="2260"/>
                    <a:pt x="3124" y="2260"/>
                    <a:pt x="3124" y="2260"/>
                  </a:cubicBezTo>
                  <a:lnTo>
                    <a:pt x="3300" y="2260"/>
                  </a:lnTo>
                  <a:lnTo>
                    <a:pt x="3323" y="2271"/>
                  </a:lnTo>
                  <a:lnTo>
                    <a:pt x="3323" y="2249"/>
                  </a:lnTo>
                  <a:lnTo>
                    <a:pt x="3323" y="2237"/>
                  </a:lnTo>
                  <a:cubicBezTo>
                    <a:pt x="3323" y="2201"/>
                    <a:pt x="3300" y="2179"/>
                    <a:pt x="3286" y="2156"/>
                  </a:cubicBezTo>
                  <a:cubicBezTo>
                    <a:pt x="3275" y="2131"/>
                    <a:pt x="3264" y="2109"/>
                    <a:pt x="3264" y="2098"/>
                  </a:cubicBezTo>
                  <a:lnTo>
                    <a:pt x="3275" y="2086"/>
                  </a:lnTo>
                  <a:cubicBezTo>
                    <a:pt x="3275" y="2086"/>
                    <a:pt x="3286" y="2086"/>
                    <a:pt x="3286" y="2075"/>
                  </a:cubicBezTo>
                  <a:cubicBezTo>
                    <a:pt x="3312" y="2075"/>
                    <a:pt x="3334" y="2098"/>
                    <a:pt x="3356" y="2109"/>
                  </a:cubicBezTo>
                  <a:cubicBezTo>
                    <a:pt x="3370" y="2120"/>
                    <a:pt x="3382" y="2145"/>
                    <a:pt x="3393" y="2168"/>
                  </a:cubicBezTo>
                  <a:cubicBezTo>
                    <a:pt x="3415" y="2179"/>
                    <a:pt x="3440" y="2201"/>
                    <a:pt x="3463" y="2201"/>
                  </a:cubicBezTo>
                  <a:lnTo>
                    <a:pt x="3485" y="2201"/>
                  </a:lnTo>
                  <a:cubicBezTo>
                    <a:pt x="3510" y="2201"/>
                    <a:pt x="3521" y="2201"/>
                    <a:pt x="3544" y="2190"/>
                  </a:cubicBezTo>
                  <a:cubicBezTo>
                    <a:pt x="3580" y="2190"/>
                    <a:pt x="3602" y="2201"/>
                    <a:pt x="3625" y="2226"/>
                  </a:cubicBezTo>
                  <a:cubicBezTo>
                    <a:pt x="3650" y="2249"/>
                    <a:pt x="3661" y="2271"/>
                    <a:pt x="3672" y="2296"/>
                  </a:cubicBezTo>
                  <a:cubicBezTo>
                    <a:pt x="3672" y="2319"/>
                    <a:pt x="3672" y="2330"/>
                    <a:pt x="3684" y="2355"/>
                  </a:cubicBezTo>
                  <a:cubicBezTo>
                    <a:pt x="3684" y="2377"/>
                    <a:pt x="3706" y="2388"/>
                    <a:pt x="3720" y="2400"/>
                  </a:cubicBezTo>
                  <a:cubicBezTo>
                    <a:pt x="3731" y="2411"/>
                    <a:pt x="3753" y="2425"/>
                    <a:pt x="3765" y="2436"/>
                  </a:cubicBezTo>
                  <a:cubicBezTo>
                    <a:pt x="3765" y="2447"/>
                    <a:pt x="3776" y="2447"/>
                    <a:pt x="3790" y="2458"/>
                  </a:cubicBezTo>
                  <a:lnTo>
                    <a:pt x="3790" y="2472"/>
                  </a:lnTo>
                  <a:lnTo>
                    <a:pt x="3790" y="2472"/>
                  </a:lnTo>
                  <a:cubicBezTo>
                    <a:pt x="3741" y="2483"/>
                    <a:pt x="3702" y="2505"/>
                    <a:pt x="3687" y="2551"/>
                  </a:cubicBezTo>
                  <a:lnTo>
                    <a:pt x="3661" y="2551"/>
                  </a:lnTo>
                  <a:cubicBezTo>
                    <a:pt x="3636" y="2551"/>
                    <a:pt x="3614" y="2539"/>
                    <a:pt x="3614" y="2528"/>
                  </a:cubicBezTo>
                  <a:cubicBezTo>
                    <a:pt x="3602" y="2517"/>
                    <a:pt x="3591" y="2495"/>
                    <a:pt x="3580" y="2470"/>
                  </a:cubicBezTo>
                  <a:cubicBezTo>
                    <a:pt x="3580" y="2458"/>
                    <a:pt x="3566" y="2447"/>
                    <a:pt x="3555" y="2447"/>
                  </a:cubicBezTo>
                  <a:cubicBezTo>
                    <a:pt x="3544" y="2436"/>
                    <a:pt x="3533" y="2436"/>
                    <a:pt x="3521" y="2436"/>
                  </a:cubicBezTo>
                  <a:lnTo>
                    <a:pt x="3496" y="2436"/>
                  </a:lnTo>
                  <a:cubicBezTo>
                    <a:pt x="3485" y="2447"/>
                    <a:pt x="3474" y="2447"/>
                    <a:pt x="3474" y="2458"/>
                  </a:cubicBezTo>
                  <a:cubicBezTo>
                    <a:pt x="3463" y="2470"/>
                    <a:pt x="3463" y="2481"/>
                    <a:pt x="3463" y="2495"/>
                  </a:cubicBezTo>
                  <a:lnTo>
                    <a:pt x="3463" y="2528"/>
                  </a:lnTo>
                  <a:cubicBezTo>
                    <a:pt x="3474" y="2539"/>
                    <a:pt x="3474" y="2551"/>
                    <a:pt x="3474" y="2565"/>
                  </a:cubicBezTo>
                  <a:lnTo>
                    <a:pt x="3474" y="2576"/>
                  </a:lnTo>
                  <a:cubicBezTo>
                    <a:pt x="3474" y="2576"/>
                    <a:pt x="3463" y="2587"/>
                    <a:pt x="3463" y="2609"/>
                  </a:cubicBezTo>
                  <a:cubicBezTo>
                    <a:pt x="3451" y="2621"/>
                    <a:pt x="3451" y="2635"/>
                    <a:pt x="3451" y="2657"/>
                  </a:cubicBezTo>
                  <a:lnTo>
                    <a:pt x="3451" y="2679"/>
                  </a:lnTo>
                  <a:cubicBezTo>
                    <a:pt x="3463" y="2690"/>
                    <a:pt x="3474" y="2704"/>
                    <a:pt x="3485" y="2716"/>
                  </a:cubicBezTo>
                  <a:lnTo>
                    <a:pt x="3544" y="2716"/>
                  </a:lnTo>
                  <a:cubicBezTo>
                    <a:pt x="3566" y="2716"/>
                    <a:pt x="3591" y="2704"/>
                    <a:pt x="3602" y="2704"/>
                  </a:cubicBezTo>
                  <a:lnTo>
                    <a:pt x="3614" y="2704"/>
                  </a:lnTo>
                  <a:cubicBezTo>
                    <a:pt x="3625" y="2704"/>
                    <a:pt x="3650" y="2716"/>
                    <a:pt x="3672" y="2716"/>
                  </a:cubicBezTo>
                  <a:lnTo>
                    <a:pt x="3684" y="2727"/>
                  </a:lnTo>
                  <a:cubicBezTo>
                    <a:pt x="3695" y="2727"/>
                    <a:pt x="3720" y="2716"/>
                    <a:pt x="3731" y="2704"/>
                  </a:cubicBezTo>
                  <a:cubicBezTo>
                    <a:pt x="3765" y="2690"/>
                    <a:pt x="3776" y="2668"/>
                    <a:pt x="3801" y="2657"/>
                  </a:cubicBezTo>
                  <a:cubicBezTo>
                    <a:pt x="3823" y="2635"/>
                    <a:pt x="3835" y="2621"/>
                    <a:pt x="3860" y="2609"/>
                  </a:cubicBezTo>
                  <a:cubicBezTo>
                    <a:pt x="3882" y="2609"/>
                    <a:pt x="3904" y="2598"/>
                    <a:pt x="3941" y="2598"/>
                  </a:cubicBezTo>
                  <a:cubicBezTo>
                    <a:pt x="3963" y="2598"/>
                    <a:pt x="4000" y="2587"/>
                    <a:pt x="4033" y="2565"/>
                  </a:cubicBezTo>
                  <a:cubicBezTo>
                    <a:pt x="4055" y="2539"/>
                    <a:pt x="4055" y="2517"/>
                    <a:pt x="4055" y="2481"/>
                  </a:cubicBezTo>
                  <a:cubicBezTo>
                    <a:pt x="4055" y="2447"/>
                    <a:pt x="4044" y="2411"/>
                    <a:pt x="4033" y="2377"/>
                  </a:cubicBezTo>
                  <a:cubicBezTo>
                    <a:pt x="4000" y="2330"/>
                    <a:pt x="3963" y="2285"/>
                    <a:pt x="3963" y="2237"/>
                  </a:cubicBezTo>
                  <a:cubicBezTo>
                    <a:pt x="3952" y="2226"/>
                    <a:pt x="3963" y="2201"/>
                    <a:pt x="3952" y="2179"/>
                  </a:cubicBezTo>
                  <a:cubicBezTo>
                    <a:pt x="3952" y="2156"/>
                    <a:pt x="3941" y="2131"/>
                    <a:pt x="3930" y="2120"/>
                  </a:cubicBezTo>
                  <a:cubicBezTo>
                    <a:pt x="3893" y="2075"/>
                    <a:pt x="3860" y="2050"/>
                    <a:pt x="3812" y="2017"/>
                  </a:cubicBezTo>
                  <a:cubicBezTo>
                    <a:pt x="3776" y="1980"/>
                    <a:pt x="3742" y="1958"/>
                    <a:pt x="3720" y="1922"/>
                  </a:cubicBezTo>
                  <a:cubicBezTo>
                    <a:pt x="3695" y="1877"/>
                    <a:pt x="3672" y="1818"/>
                    <a:pt x="3661" y="1771"/>
                  </a:cubicBezTo>
                  <a:cubicBezTo>
                    <a:pt x="3636" y="1726"/>
                    <a:pt x="3614" y="1667"/>
                    <a:pt x="3555" y="1631"/>
                  </a:cubicBezTo>
                  <a:cubicBezTo>
                    <a:pt x="3521" y="1620"/>
                    <a:pt x="3485" y="1608"/>
                    <a:pt x="3463" y="1597"/>
                  </a:cubicBezTo>
                  <a:cubicBezTo>
                    <a:pt x="3382" y="1572"/>
                    <a:pt x="3323" y="1502"/>
                    <a:pt x="3286" y="1421"/>
                  </a:cubicBezTo>
                  <a:cubicBezTo>
                    <a:pt x="3242" y="1329"/>
                    <a:pt x="3205" y="1200"/>
                    <a:pt x="3194" y="1097"/>
                  </a:cubicBezTo>
                  <a:cubicBezTo>
                    <a:pt x="3183" y="1071"/>
                    <a:pt x="3183" y="1038"/>
                    <a:pt x="3172" y="1002"/>
                  </a:cubicBezTo>
                  <a:lnTo>
                    <a:pt x="3161" y="1002"/>
                  </a:lnTo>
                  <a:cubicBezTo>
                    <a:pt x="3135" y="957"/>
                    <a:pt x="3091" y="943"/>
                    <a:pt x="3054" y="920"/>
                  </a:cubicBezTo>
                  <a:cubicBezTo>
                    <a:pt x="2984" y="873"/>
                    <a:pt x="2937" y="803"/>
                    <a:pt x="2937" y="722"/>
                  </a:cubicBezTo>
                  <a:lnTo>
                    <a:pt x="2937" y="711"/>
                  </a:lnTo>
                  <a:lnTo>
                    <a:pt x="2937" y="700"/>
                  </a:lnTo>
                  <a:cubicBezTo>
                    <a:pt x="2937" y="688"/>
                    <a:pt x="2937" y="663"/>
                    <a:pt x="2926" y="652"/>
                  </a:cubicBezTo>
                  <a:cubicBezTo>
                    <a:pt x="2926" y="641"/>
                    <a:pt x="2915" y="618"/>
                    <a:pt x="2903" y="607"/>
                  </a:cubicBezTo>
                  <a:cubicBezTo>
                    <a:pt x="2892" y="593"/>
                    <a:pt x="2881" y="582"/>
                    <a:pt x="2856" y="582"/>
                  </a:cubicBezTo>
                  <a:lnTo>
                    <a:pt x="2822" y="582"/>
                  </a:lnTo>
                  <a:cubicBezTo>
                    <a:pt x="2811" y="571"/>
                    <a:pt x="2797" y="571"/>
                    <a:pt x="2786" y="571"/>
                  </a:cubicBezTo>
                  <a:lnTo>
                    <a:pt x="2775" y="560"/>
                  </a:lnTo>
                  <a:lnTo>
                    <a:pt x="2764" y="571"/>
                  </a:lnTo>
                  <a:cubicBezTo>
                    <a:pt x="2727" y="582"/>
                    <a:pt x="2705" y="607"/>
                    <a:pt x="2682" y="618"/>
                  </a:cubicBezTo>
                  <a:cubicBezTo>
                    <a:pt x="2657" y="630"/>
                    <a:pt x="2646" y="630"/>
                    <a:pt x="2624" y="630"/>
                  </a:cubicBezTo>
                  <a:cubicBezTo>
                    <a:pt x="2613" y="630"/>
                    <a:pt x="2587" y="618"/>
                    <a:pt x="2576" y="618"/>
                  </a:cubicBezTo>
                  <a:cubicBezTo>
                    <a:pt x="2565" y="607"/>
                    <a:pt x="2554" y="607"/>
                    <a:pt x="2554" y="582"/>
                  </a:cubicBezTo>
                  <a:cubicBezTo>
                    <a:pt x="2543" y="582"/>
                    <a:pt x="2543" y="571"/>
                    <a:pt x="2543" y="560"/>
                  </a:cubicBezTo>
                  <a:cubicBezTo>
                    <a:pt x="2543" y="549"/>
                    <a:pt x="2531" y="549"/>
                    <a:pt x="2531" y="537"/>
                  </a:cubicBezTo>
                  <a:cubicBezTo>
                    <a:pt x="2517" y="523"/>
                    <a:pt x="2517" y="523"/>
                    <a:pt x="2506" y="523"/>
                  </a:cubicBezTo>
                  <a:cubicBezTo>
                    <a:pt x="2495" y="512"/>
                    <a:pt x="2484" y="512"/>
                    <a:pt x="2473" y="512"/>
                  </a:cubicBezTo>
                  <a:cubicBezTo>
                    <a:pt x="2473" y="512"/>
                    <a:pt x="2462" y="512"/>
                    <a:pt x="2462" y="501"/>
                  </a:cubicBezTo>
                  <a:cubicBezTo>
                    <a:pt x="2448" y="490"/>
                    <a:pt x="2448" y="479"/>
                    <a:pt x="2436" y="454"/>
                  </a:cubicBezTo>
                  <a:cubicBezTo>
                    <a:pt x="2425" y="442"/>
                    <a:pt x="2414" y="420"/>
                    <a:pt x="2392" y="409"/>
                  </a:cubicBezTo>
                  <a:cubicBezTo>
                    <a:pt x="2378" y="398"/>
                    <a:pt x="2355" y="398"/>
                    <a:pt x="2344" y="398"/>
                  </a:cubicBezTo>
                  <a:lnTo>
                    <a:pt x="2297" y="398"/>
                  </a:lnTo>
                  <a:cubicBezTo>
                    <a:pt x="2285" y="398"/>
                    <a:pt x="2274" y="398"/>
                    <a:pt x="2274" y="384"/>
                  </a:cubicBezTo>
                  <a:cubicBezTo>
                    <a:pt x="2263" y="384"/>
                    <a:pt x="2263" y="384"/>
                    <a:pt x="2252" y="372"/>
                  </a:cubicBezTo>
                  <a:lnTo>
                    <a:pt x="2252" y="339"/>
                  </a:lnTo>
                  <a:cubicBezTo>
                    <a:pt x="2252" y="314"/>
                    <a:pt x="2252" y="291"/>
                    <a:pt x="2263" y="280"/>
                  </a:cubicBezTo>
                  <a:cubicBezTo>
                    <a:pt x="2274" y="244"/>
                    <a:pt x="2274" y="221"/>
                    <a:pt x="2274" y="188"/>
                  </a:cubicBezTo>
                  <a:lnTo>
                    <a:pt x="2274" y="140"/>
                  </a:lnTo>
                  <a:cubicBezTo>
                    <a:pt x="2263" y="129"/>
                    <a:pt x="2252" y="118"/>
                    <a:pt x="2238" y="104"/>
                  </a:cubicBezTo>
                  <a:cubicBezTo>
                    <a:pt x="2227" y="93"/>
                    <a:pt x="2204" y="93"/>
                    <a:pt x="2193" y="93"/>
                  </a:cubicBezTo>
                  <a:cubicBezTo>
                    <a:pt x="2157" y="93"/>
                    <a:pt x="2123" y="104"/>
                    <a:pt x="2112" y="140"/>
                  </a:cubicBezTo>
                  <a:cubicBezTo>
                    <a:pt x="2098" y="163"/>
                    <a:pt x="2098" y="188"/>
                    <a:pt x="2087" y="210"/>
                  </a:cubicBezTo>
                  <a:lnTo>
                    <a:pt x="2087" y="233"/>
                  </a:lnTo>
                  <a:lnTo>
                    <a:pt x="2076" y="244"/>
                  </a:lnTo>
                  <a:cubicBezTo>
                    <a:pt x="2065" y="258"/>
                    <a:pt x="2065" y="258"/>
                    <a:pt x="2053" y="258"/>
                  </a:cubicBezTo>
                  <a:cubicBezTo>
                    <a:pt x="2042" y="258"/>
                    <a:pt x="2028" y="244"/>
                    <a:pt x="2017" y="233"/>
                  </a:cubicBezTo>
                  <a:cubicBezTo>
                    <a:pt x="2006" y="210"/>
                    <a:pt x="2006" y="188"/>
                    <a:pt x="2006" y="152"/>
                  </a:cubicBezTo>
                  <a:cubicBezTo>
                    <a:pt x="2006" y="118"/>
                    <a:pt x="2006" y="82"/>
                    <a:pt x="1983" y="48"/>
                  </a:cubicBezTo>
                  <a:lnTo>
                    <a:pt x="1983" y="34"/>
                  </a:lnTo>
                  <a:lnTo>
                    <a:pt x="1947" y="34"/>
                  </a:lnTo>
                  <a:cubicBezTo>
                    <a:pt x="1936" y="34"/>
                    <a:pt x="1914" y="48"/>
                    <a:pt x="1902" y="48"/>
                  </a:cubicBezTo>
                  <a:cubicBezTo>
                    <a:pt x="1888" y="59"/>
                    <a:pt x="1877" y="59"/>
                    <a:pt x="1877" y="59"/>
                  </a:cubicBezTo>
                  <a:lnTo>
                    <a:pt x="1866" y="59"/>
                  </a:lnTo>
                  <a:lnTo>
                    <a:pt x="1866" y="48"/>
                  </a:lnTo>
                  <a:lnTo>
                    <a:pt x="184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89;p17">
              <a:extLst>
                <a:ext uri="{FF2B5EF4-FFF2-40B4-BE49-F238E27FC236}">
                  <a16:creationId xmlns:a16="http://schemas.microsoft.com/office/drawing/2014/main" xmlns="" id="{06C91976-16C9-8706-149A-3C7D7E7F6B80}"/>
                </a:ext>
              </a:extLst>
            </p:cNvPr>
            <p:cNvSpPr/>
            <p:nvPr/>
          </p:nvSpPr>
          <p:spPr>
            <a:xfrm>
              <a:off x="1720747" y="2636190"/>
              <a:ext cx="816378" cy="959570"/>
            </a:xfrm>
            <a:custGeom>
              <a:avLst/>
              <a:gdLst/>
              <a:ahLst/>
              <a:cxnLst/>
              <a:rect l="l" t="t" r="r" b="b"/>
              <a:pathLst>
                <a:path w="3541" h="4162" extrusionOk="0">
                  <a:moveTo>
                    <a:pt x="1572" y="0"/>
                  </a:moveTo>
                  <a:cubicBezTo>
                    <a:pt x="1560" y="26"/>
                    <a:pt x="1560" y="48"/>
                    <a:pt x="1560" y="81"/>
                  </a:cubicBezTo>
                  <a:cubicBezTo>
                    <a:pt x="1572" y="151"/>
                    <a:pt x="1594" y="221"/>
                    <a:pt x="1549" y="280"/>
                  </a:cubicBezTo>
                  <a:cubicBezTo>
                    <a:pt x="1524" y="316"/>
                    <a:pt x="1490" y="328"/>
                    <a:pt x="1479" y="361"/>
                  </a:cubicBezTo>
                  <a:cubicBezTo>
                    <a:pt x="1468" y="375"/>
                    <a:pt x="1454" y="397"/>
                    <a:pt x="1443" y="409"/>
                  </a:cubicBezTo>
                  <a:cubicBezTo>
                    <a:pt x="1432" y="431"/>
                    <a:pt x="1421" y="431"/>
                    <a:pt x="1398" y="445"/>
                  </a:cubicBezTo>
                  <a:cubicBezTo>
                    <a:pt x="1351" y="467"/>
                    <a:pt x="1303" y="490"/>
                    <a:pt x="1244" y="501"/>
                  </a:cubicBezTo>
                  <a:cubicBezTo>
                    <a:pt x="1244" y="515"/>
                    <a:pt x="1233" y="515"/>
                    <a:pt x="1222" y="526"/>
                  </a:cubicBezTo>
                  <a:lnTo>
                    <a:pt x="1222" y="560"/>
                  </a:lnTo>
                  <a:cubicBezTo>
                    <a:pt x="1233" y="618"/>
                    <a:pt x="1244" y="677"/>
                    <a:pt x="1233" y="736"/>
                  </a:cubicBezTo>
                  <a:cubicBezTo>
                    <a:pt x="1225" y="778"/>
                    <a:pt x="1181" y="813"/>
                    <a:pt x="1140" y="813"/>
                  </a:cubicBezTo>
                  <a:cubicBezTo>
                    <a:pt x="1123" y="813"/>
                    <a:pt x="1107" y="807"/>
                    <a:pt x="1093" y="794"/>
                  </a:cubicBezTo>
                  <a:cubicBezTo>
                    <a:pt x="1082" y="781"/>
                    <a:pt x="1071" y="747"/>
                    <a:pt x="1035" y="747"/>
                  </a:cubicBezTo>
                  <a:cubicBezTo>
                    <a:pt x="1032" y="746"/>
                    <a:pt x="1029" y="746"/>
                    <a:pt x="1027" y="746"/>
                  </a:cubicBezTo>
                  <a:cubicBezTo>
                    <a:pt x="991" y="746"/>
                    <a:pt x="999" y="819"/>
                    <a:pt x="965" y="850"/>
                  </a:cubicBezTo>
                  <a:cubicBezTo>
                    <a:pt x="954" y="862"/>
                    <a:pt x="942" y="866"/>
                    <a:pt x="928" y="866"/>
                  </a:cubicBezTo>
                  <a:cubicBezTo>
                    <a:pt x="898" y="866"/>
                    <a:pt x="862" y="844"/>
                    <a:pt x="839" y="828"/>
                  </a:cubicBezTo>
                  <a:cubicBezTo>
                    <a:pt x="807" y="799"/>
                    <a:pt x="767" y="767"/>
                    <a:pt x="727" y="767"/>
                  </a:cubicBezTo>
                  <a:cubicBezTo>
                    <a:pt x="722" y="767"/>
                    <a:pt x="716" y="768"/>
                    <a:pt x="710" y="769"/>
                  </a:cubicBezTo>
                  <a:cubicBezTo>
                    <a:pt x="733" y="725"/>
                    <a:pt x="674" y="677"/>
                    <a:pt x="629" y="677"/>
                  </a:cubicBezTo>
                  <a:cubicBezTo>
                    <a:pt x="582" y="677"/>
                    <a:pt x="534" y="711"/>
                    <a:pt x="512" y="758"/>
                  </a:cubicBezTo>
                  <a:cubicBezTo>
                    <a:pt x="475" y="781"/>
                    <a:pt x="464" y="817"/>
                    <a:pt x="464" y="864"/>
                  </a:cubicBezTo>
                  <a:cubicBezTo>
                    <a:pt x="453" y="920"/>
                    <a:pt x="512" y="979"/>
                    <a:pt x="501" y="1049"/>
                  </a:cubicBezTo>
                  <a:cubicBezTo>
                    <a:pt x="501" y="1085"/>
                    <a:pt x="475" y="1119"/>
                    <a:pt x="453" y="1144"/>
                  </a:cubicBezTo>
                  <a:cubicBezTo>
                    <a:pt x="442" y="1178"/>
                    <a:pt x="431" y="1214"/>
                    <a:pt x="431" y="1247"/>
                  </a:cubicBezTo>
                  <a:cubicBezTo>
                    <a:pt x="439" y="1274"/>
                    <a:pt x="466" y="1293"/>
                    <a:pt x="493" y="1293"/>
                  </a:cubicBezTo>
                  <a:cubicBezTo>
                    <a:pt x="503" y="1293"/>
                    <a:pt x="514" y="1290"/>
                    <a:pt x="523" y="1284"/>
                  </a:cubicBezTo>
                  <a:cubicBezTo>
                    <a:pt x="534" y="1284"/>
                    <a:pt x="534" y="1259"/>
                    <a:pt x="559" y="1247"/>
                  </a:cubicBezTo>
                  <a:cubicBezTo>
                    <a:pt x="564" y="1242"/>
                    <a:pt x="571" y="1240"/>
                    <a:pt x="578" y="1240"/>
                  </a:cubicBezTo>
                  <a:cubicBezTo>
                    <a:pt x="602" y="1240"/>
                    <a:pt x="634" y="1267"/>
                    <a:pt x="652" y="1295"/>
                  </a:cubicBezTo>
                  <a:cubicBezTo>
                    <a:pt x="663" y="1329"/>
                    <a:pt x="663" y="1376"/>
                    <a:pt x="699" y="1398"/>
                  </a:cubicBezTo>
                  <a:cubicBezTo>
                    <a:pt x="721" y="1424"/>
                    <a:pt x="755" y="1435"/>
                    <a:pt x="791" y="1446"/>
                  </a:cubicBezTo>
                  <a:cubicBezTo>
                    <a:pt x="825" y="1468"/>
                    <a:pt x="850" y="1516"/>
                    <a:pt x="825" y="1538"/>
                  </a:cubicBezTo>
                  <a:cubicBezTo>
                    <a:pt x="814" y="1549"/>
                    <a:pt x="803" y="1549"/>
                    <a:pt x="780" y="1563"/>
                  </a:cubicBezTo>
                  <a:cubicBezTo>
                    <a:pt x="721" y="1575"/>
                    <a:pt x="663" y="1619"/>
                    <a:pt x="615" y="1667"/>
                  </a:cubicBezTo>
                  <a:cubicBezTo>
                    <a:pt x="640" y="1703"/>
                    <a:pt x="652" y="1759"/>
                    <a:pt x="615" y="1784"/>
                  </a:cubicBezTo>
                  <a:cubicBezTo>
                    <a:pt x="607" y="1790"/>
                    <a:pt x="598" y="1792"/>
                    <a:pt x="587" y="1792"/>
                  </a:cubicBezTo>
                  <a:cubicBezTo>
                    <a:pt x="554" y="1792"/>
                    <a:pt x="512" y="1770"/>
                    <a:pt x="475" y="1759"/>
                  </a:cubicBezTo>
                  <a:cubicBezTo>
                    <a:pt x="468" y="1757"/>
                    <a:pt x="460" y="1756"/>
                    <a:pt x="452" y="1756"/>
                  </a:cubicBezTo>
                  <a:cubicBezTo>
                    <a:pt x="414" y="1756"/>
                    <a:pt x="375" y="1775"/>
                    <a:pt x="336" y="1784"/>
                  </a:cubicBezTo>
                  <a:cubicBezTo>
                    <a:pt x="313" y="1784"/>
                    <a:pt x="280" y="1796"/>
                    <a:pt x="254" y="1796"/>
                  </a:cubicBezTo>
                  <a:cubicBezTo>
                    <a:pt x="266" y="1807"/>
                    <a:pt x="266" y="1818"/>
                    <a:pt x="266" y="1829"/>
                  </a:cubicBezTo>
                  <a:cubicBezTo>
                    <a:pt x="266" y="1854"/>
                    <a:pt x="266" y="1888"/>
                    <a:pt x="254" y="1924"/>
                  </a:cubicBezTo>
                  <a:cubicBezTo>
                    <a:pt x="254" y="1947"/>
                    <a:pt x="254" y="1969"/>
                    <a:pt x="243" y="1994"/>
                  </a:cubicBezTo>
                  <a:cubicBezTo>
                    <a:pt x="232" y="2016"/>
                    <a:pt x="210" y="2028"/>
                    <a:pt x="196" y="2039"/>
                  </a:cubicBezTo>
                  <a:cubicBezTo>
                    <a:pt x="162" y="2075"/>
                    <a:pt x="126" y="2098"/>
                    <a:pt x="92" y="2134"/>
                  </a:cubicBezTo>
                  <a:cubicBezTo>
                    <a:pt x="81" y="2145"/>
                    <a:pt x="56" y="2156"/>
                    <a:pt x="45" y="2167"/>
                  </a:cubicBezTo>
                  <a:cubicBezTo>
                    <a:pt x="34" y="2193"/>
                    <a:pt x="22" y="2215"/>
                    <a:pt x="11" y="2237"/>
                  </a:cubicBezTo>
                  <a:cubicBezTo>
                    <a:pt x="0" y="2285"/>
                    <a:pt x="11" y="2332"/>
                    <a:pt x="11" y="2377"/>
                  </a:cubicBezTo>
                  <a:lnTo>
                    <a:pt x="11" y="2436"/>
                  </a:lnTo>
                  <a:lnTo>
                    <a:pt x="11" y="2517"/>
                  </a:lnTo>
                  <a:cubicBezTo>
                    <a:pt x="22" y="2553"/>
                    <a:pt x="45" y="2587"/>
                    <a:pt x="70" y="2612"/>
                  </a:cubicBezTo>
                  <a:cubicBezTo>
                    <a:pt x="92" y="2634"/>
                    <a:pt x="115" y="2657"/>
                    <a:pt x="140" y="2693"/>
                  </a:cubicBezTo>
                  <a:cubicBezTo>
                    <a:pt x="151" y="2715"/>
                    <a:pt x="173" y="2752"/>
                    <a:pt x="185" y="2785"/>
                  </a:cubicBezTo>
                  <a:cubicBezTo>
                    <a:pt x="196" y="2808"/>
                    <a:pt x="196" y="2822"/>
                    <a:pt x="196" y="2844"/>
                  </a:cubicBezTo>
                  <a:cubicBezTo>
                    <a:pt x="196" y="2855"/>
                    <a:pt x="185" y="2878"/>
                    <a:pt x="173" y="2892"/>
                  </a:cubicBezTo>
                  <a:cubicBezTo>
                    <a:pt x="126" y="3006"/>
                    <a:pt x="221" y="3146"/>
                    <a:pt x="336" y="3146"/>
                  </a:cubicBezTo>
                  <a:lnTo>
                    <a:pt x="419" y="3146"/>
                  </a:lnTo>
                  <a:cubicBezTo>
                    <a:pt x="501" y="3171"/>
                    <a:pt x="501" y="3275"/>
                    <a:pt x="523" y="3345"/>
                  </a:cubicBezTo>
                  <a:cubicBezTo>
                    <a:pt x="534" y="3367"/>
                    <a:pt x="545" y="3381"/>
                    <a:pt x="559" y="3381"/>
                  </a:cubicBezTo>
                  <a:cubicBezTo>
                    <a:pt x="570" y="3381"/>
                    <a:pt x="582" y="3367"/>
                    <a:pt x="593" y="3356"/>
                  </a:cubicBezTo>
                  <a:cubicBezTo>
                    <a:pt x="615" y="3322"/>
                    <a:pt x="652" y="3286"/>
                    <a:pt x="674" y="3252"/>
                  </a:cubicBezTo>
                  <a:cubicBezTo>
                    <a:pt x="710" y="3227"/>
                    <a:pt x="733" y="3182"/>
                    <a:pt x="721" y="3146"/>
                  </a:cubicBezTo>
                  <a:cubicBezTo>
                    <a:pt x="721" y="3113"/>
                    <a:pt x="685" y="3076"/>
                    <a:pt x="674" y="3043"/>
                  </a:cubicBezTo>
                  <a:cubicBezTo>
                    <a:pt x="652" y="2973"/>
                    <a:pt x="721" y="2903"/>
                    <a:pt x="685" y="2833"/>
                  </a:cubicBezTo>
                  <a:cubicBezTo>
                    <a:pt x="674" y="2808"/>
                    <a:pt x="663" y="2797"/>
                    <a:pt x="652" y="2774"/>
                  </a:cubicBezTo>
                  <a:cubicBezTo>
                    <a:pt x="640" y="2715"/>
                    <a:pt x="710" y="2668"/>
                    <a:pt x="769" y="2657"/>
                  </a:cubicBezTo>
                  <a:cubicBezTo>
                    <a:pt x="850" y="2646"/>
                    <a:pt x="931" y="2646"/>
                    <a:pt x="1001" y="2646"/>
                  </a:cubicBezTo>
                  <a:cubicBezTo>
                    <a:pt x="1035" y="2646"/>
                    <a:pt x="1060" y="2646"/>
                    <a:pt x="1082" y="2668"/>
                  </a:cubicBezTo>
                  <a:cubicBezTo>
                    <a:pt x="1119" y="2704"/>
                    <a:pt x="1105" y="2763"/>
                    <a:pt x="1082" y="2808"/>
                  </a:cubicBezTo>
                  <a:cubicBezTo>
                    <a:pt x="1060" y="2855"/>
                    <a:pt x="1023" y="2892"/>
                    <a:pt x="1035" y="2948"/>
                  </a:cubicBezTo>
                  <a:cubicBezTo>
                    <a:pt x="1057" y="2935"/>
                    <a:pt x="1082" y="2928"/>
                    <a:pt x="1107" y="2928"/>
                  </a:cubicBezTo>
                  <a:cubicBezTo>
                    <a:pt x="1146" y="2928"/>
                    <a:pt x="1186" y="2944"/>
                    <a:pt x="1222" y="2973"/>
                  </a:cubicBezTo>
                  <a:cubicBezTo>
                    <a:pt x="1270" y="3006"/>
                    <a:pt x="1303" y="3065"/>
                    <a:pt x="1339" y="3124"/>
                  </a:cubicBezTo>
                  <a:cubicBezTo>
                    <a:pt x="1398" y="3227"/>
                    <a:pt x="1443" y="3333"/>
                    <a:pt x="1479" y="3437"/>
                  </a:cubicBezTo>
                  <a:cubicBezTo>
                    <a:pt x="1490" y="3507"/>
                    <a:pt x="1502" y="3577"/>
                    <a:pt x="1502" y="3647"/>
                  </a:cubicBezTo>
                  <a:cubicBezTo>
                    <a:pt x="1513" y="3705"/>
                    <a:pt x="1513" y="3775"/>
                    <a:pt x="1468" y="3823"/>
                  </a:cubicBezTo>
                  <a:cubicBezTo>
                    <a:pt x="1432" y="3856"/>
                    <a:pt x="1479" y="3926"/>
                    <a:pt x="1524" y="3951"/>
                  </a:cubicBezTo>
                  <a:cubicBezTo>
                    <a:pt x="1572" y="3974"/>
                    <a:pt x="1630" y="3996"/>
                    <a:pt x="1641" y="4055"/>
                  </a:cubicBezTo>
                  <a:cubicBezTo>
                    <a:pt x="1653" y="4091"/>
                    <a:pt x="1641" y="4136"/>
                    <a:pt x="1678" y="4161"/>
                  </a:cubicBezTo>
                  <a:cubicBezTo>
                    <a:pt x="1759" y="4102"/>
                    <a:pt x="1748" y="3985"/>
                    <a:pt x="1723" y="3893"/>
                  </a:cubicBezTo>
                  <a:cubicBezTo>
                    <a:pt x="1689" y="3800"/>
                    <a:pt x="1664" y="3694"/>
                    <a:pt x="1723" y="3613"/>
                  </a:cubicBezTo>
                  <a:lnTo>
                    <a:pt x="1792" y="3613"/>
                  </a:lnTo>
                  <a:lnTo>
                    <a:pt x="1792" y="3543"/>
                  </a:lnTo>
                  <a:cubicBezTo>
                    <a:pt x="1818" y="3543"/>
                    <a:pt x="1840" y="3532"/>
                    <a:pt x="1862" y="3532"/>
                  </a:cubicBezTo>
                  <a:cubicBezTo>
                    <a:pt x="1873" y="3484"/>
                    <a:pt x="1770" y="3451"/>
                    <a:pt x="1792" y="3403"/>
                  </a:cubicBezTo>
                  <a:cubicBezTo>
                    <a:pt x="1818" y="3356"/>
                    <a:pt x="1899" y="3392"/>
                    <a:pt x="1910" y="3345"/>
                  </a:cubicBezTo>
                  <a:cubicBezTo>
                    <a:pt x="1921" y="3322"/>
                    <a:pt x="1887" y="3297"/>
                    <a:pt x="1887" y="3275"/>
                  </a:cubicBezTo>
                  <a:cubicBezTo>
                    <a:pt x="1873" y="3227"/>
                    <a:pt x="1921" y="3205"/>
                    <a:pt x="1969" y="3194"/>
                  </a:cubicBezTo>
                  <a:cubicBezTo>
                    <a:pt x="2019" y="3177"/>
                    <a:pt x="2076" y="3166"/>
                    <a:pt x="2134" y="3166"/>
                  </a:cubicBezTo>
                  <a:cubicBezTo>
                    <a:pt x="2156" y="3166"/>
                    <a:pt x="2178" y="3167"/>
                    <a:pt x="2201" y="3171"/>
                  </a:cubicBezTo>
                  <a:cubicBezTo>
                    <a:pt x="2271" y="3194"/>
                    <a:pt x="2340" y="3264"/>
                    <a:pt x="2340" y="3333"/>
                  </a:cubicBezTo>
                  <a:cubicBezTo>
                    <a:pt x="2340" y="3367"/>
                    <a:pt x="2329" y="3392"/>
                    <a:pt x="2318" y="3426"/>
                  </a:cubicBezTo>
                  <a:cubicBezTo>
                    <a:pt x="2318" y="3451"/>
                    <a:pt x="2329" y="3484"/>
                    <a:pt x="2352" y="3496"/>
                  </a:cubicBezTo>
                  <a:cubicBezTo>
                    <a:pt x="2364" y="3501"/>
                    <a:pt x="2376" y="3501"/>
                    <a:pt x="2388" y="3501"/>
                  </a:cubicBezTo>
                  <a:cubicBezTo>
                    <a:pt x="2399" y="3501"/>
                    <a:pt x="2410" y="3501"/>
                    <a:pt x="2422" y="3507"/>
                  </a:cubicBezTo>
                  <a:cubicBezTo>
                    <a:pt x="2469" y="3543"/>
                    <a:pt x="2433" y="3602"/>
                    <a:pt x="2447" y="3647"/>
                  </a:cubicBezTo>
                  <a:cubicBezTo>
                    <a:pt x="2458" y="3683"/>
                    <a:pt x="2503" y="3694"/>
                    <a:pt x="2539" y="3717"/>
                  </a:cubicBezTo>
                  <a:cubicBezTo>
                    <a:pt x="2587" y="3731"/>
                    <a:pt x="2620" y="3775"/>
                    <a:pt x="2598" y="3812"/>
                  </a:cubicBezTo>
                  <a:cubicBezTo>
                    <a:pt x="2587" y="3823"/>
                    <a:pt x="2573" y="3834"/>
                    <a:pt x="2561" y="3845"/>
                  </a:cubicBezTo>
                  <a:cubicBezTo>
                    <a:pt x="2539" y="3870"/>
                    <a:pt x="2539" y="3904"/>
                    <a:pt x="2561" y="3926"/>
                  </a:cubicBezTo>
                  <a:cubicBezTo>
                    <a:pt x="2577" y="3942"/>
                    <a:pt x="2596" y="3952"/>
                    <a:pt x="2617" y="3952"/>
                  </a:cubicBezTo>
                  <a:cubicBezTo>
                    <a:pt x="2630" y="3952"/>
                    <a:pt x="2643" y="3949"/>
                    <a:pt x="2656" y="3940"/>
                  </a:cubicBezTo>
                  <a:lnTo>
                    <a:pt x="2656" y="3856"/>
                  </a:lnTo>
                  <a:cubicBezTo>
                    <a:pt x="2663" y="3852"/>
                    <a:pt x="2672" y="3850"/>
                    <a:pt x="2680" y="3850"/>
                  </a:cubicBezTo>
                  <a:cubicBezTo>
                    <a:pt x="2712" y="3850"/>
                    <a:pt x="2751" y="3880"/>
                    <a:pt x="2760" y="3915"/>
                  </a:cubicBezTo>
                  <a:cubicBezTo>
                    <a:pt x="2782" y="3963"/>
                    <a:pt x="2796" y="4010"/>
                    <a:pt x="2841" y="4033"/>
                  </a:cubicBezTo>
                  <a:cubicBezTo>
                    <a:pt x="2866" y="4044"/>
                    <a:pt x="2877" y="4044"/>
                    <a:pt x="2900" y="4044"/>
                  </a:cubicBezTo>
                  <a:cubicBezTo>
                    <a:pt x="2947" y="4055"/>
                    <a:pt x="2981" y="4080"/>
                    <a:pt x="3028" y="4080"/>
                  </a:cubicBezTo>
                  <a:cubicBezTo>
                    <a:pt x="3076" y="4066"/>
                    <a:pt x="3109" y="4010"/>
                    <a:pt x="3076" y="3985"/>
                  </a:cubicBezTo>
                  <a:cubicBezTo>
                    <a:pt x="3006" y="3985"/>
                    <a:pt x="2947" y="3915"/>
                    <a:pt x="2970" y="3856"/>
                  </a:cubicBezTo>
                  <a:lnTo>
                    <a:pt x="2970" y="3812"/>
                  </a:lnTo>
                  <a:cubicBezTo>
                    <a:pt x="2970" y="3800"/>
                    <a:pt x="2958" y="3786"/>
                    <a:pt x="2947" y="3786"/>
                  </a:cubicBezTo>
                  <a:cubicBezTo>
                    <a:pt x="2900" y="3753"/>
                    <a:pt x="2852" y="3731"/>
                    <a:pt x="2819" y="3694"/>
                  </a:cubicBezTo>
                  <a:cubicBezTo>
                    <a:pt x="2771" y="3647"/>
                    <a:pt x="2749" y="3602"/>
                    <a:pt x="2760" y="3543"/>
                  </a:cubicBezTo>
                  <a:cubicBezTo>
                    <a:pt x="2760" y="3507"/>
                    <a:pt x="2782" y="3484"/>
                    <a:pt x="2771" y="3451"/>
                  </a:cubicBezTo>
                  <a:cubicBezTo>
                    <a:pt x="2771" y="3437"/>
                    <a:pt x="2760" y="3437"/>
                    <a:pt x="2749" y="3426"/>
                  </a:cubicBezTo>
                  <a:cubicBezTo>
                    <a:pt x="2738" y="3381"/>
                    <a:pt x="2807" y="3367"/>
                    <a:pt x="2830" y="3367"/>
                  </a:cubicBezTo>
                  <a:cubicBezTo>
                    <a:pt x="2841" y="3356"/>
                    <a:pt x="2866" y="3356"/>
                    <a:pt x="2877" y="3345"/>
                  </a:cubicBezTo>
                  <a:lnTo>
                    <a:pt x="2877" y="3322"/>
                  </a:lnTo>
                  <a:cubicBezTo>
                    <a:pt x="2889" y="3286"/>
                    <a:pt x="2900" y="3241"/>
                    <a:pt x="2889" y="3205"/>
                  </a:cubicBezTo>
                  <a:cubicBezTo>
                    <a:pt x="2877" y="3171"/>
                    <a:pt x="2852" y="3146"/>
                    <a:pt x="2830" y="3124"/>
                  </a:cubicBezTo>
                  <a:cubicBezTo>
                    <a:pt x="2712" y="2984"/>
                    <a:pt x="2690" y="2785"/>
                    <a:pt x="2690" y="2612"/>
                  </a:cubicBezTo>
                  <a:cubicBezTo>
                    <a:pt x="2690" y="2553"/>
                    <a:pt x="2679" y="2495"/>
                    <a:pt x="2631" y="2483"/>
                  </a:cubicBezTo>
                  <a:cubicBezTo>
                    <a:pt x="2617" y="2476"/>
                    <a:pt x="2603" y="2474"/>
                    <a:pt x="2590" y="2474"/>
                  </a:cubicBezTo>
                  <a:cubicBezTo>
                    <a:pt x="2576" y="2474"/>
                    <a:pt x="2563" y="2476"/>
                    <a:pt x="2550" y="2476"/>
                  </a:cubicBezTo>
                  <a:cubicBezTo>
                    <a:pt x="2533" y="2476"/>
                    <a:pt x="2517" y="2472"/>
                    <a:pt x="2503" y="2458"/>
                  </a:cubicBezTo>
                  <a:cubicBezTo>
                    <a:pt x="2480" y="2436"/>
                    <a:pt x="2491" y="2402"/>
                    <a:pt x="2503" y="2377"/>
                  </a:cubicBezTo>
                  <a:cubicBezTo>
                    <a:pt x="2517" y="2355"/>
                    <a:pt x="2539" y="2332"/>
                    <a:pt x="2539" y="2296"/>
                  </a:cubicBezTo>
                  <a:cubicBezTo>
                    <a:pt x="2561" y="2237"/>
                    <a:pt x="2528" y="2193"/>
                    <a:pt x="2491" y="2145"/>
                  </a:cubicBezTo>
                  <a:cubicBezTo>
                    <a:pt x="2447" y="2075"/>
                    <a:pt x="2410" y="2016"/>
                    <a:pt x="2363" y="1947"/>
                  </a:cubicBezTo>
                  <a:cubicBezTo>
                    <a:pt x="2329" y="1899"/>
                    <a:pt x="2271" y="1843"/>
                    <a:pt x="2259" y="1784"/>
                  </a:cubicBezTo>
                  <a:cubicBezTo>
                    <a:pt x="2248" y="1748"/>
                    <a:pt x="2271" y="1726"/>
                    <a:pt x="2282" y="1703"/>
                  </a:cubicBezTo>
                  <a:cubicBezTo>
                    <a:pt x="2293" y="1656"/>
                    <a:pt x="2271" y="1597"/>
                    <a:pt x="2248" y="1563"/>
                  </a:cubicBezTo>
                  <a:cubicBezTo>
                    <a:pt x="2212" y="1505"/>
                    <a:pt x="2178" y="1457"/>
                    <a:pt x="2201" y="1387"/>
                  </a:cubicBezTo>
                  <a:cubicBezTo>
                    <a:pt x="2201" y="1354"/>
                    <a:pt x="2223" y="1329"/>
                    <a:pt x="2259" y="1329"/>
                  </a:cubicBezTo>
                  <a:cubicBezTo>
                    <a:pt x="2265" y="1327"/>
                    <a:pt x="2271" y="1327"/>
                    <a:pt x="2276" y="1327"/>
                  </a:cubicBezTo>
                  <a:cubicBezTo>
                    <a:pt x="2315" y="1327"/>
                    <a:pt x="2342" y="1359"/>
                    <a:pt x="2352" y="1398"/>
                  </a:cubicBezTo>
                  <a:cubicBezTo>
                    <a:pt x="2363" y="1424"/>
                    <a:pt x="2363" y="1457"/>
                    <a:pt x="2388" y="1480"/>
                  </a:cubicBezTo>
                  <a:cubicBezTo>
                    <a:pt x="2405" y="1507"/>
                    <a:pt x="2430" y="1520"/>
                    <a:pt x="2450" y="1520"/>
                  </a:cubicBezTo>
                  <a:cubicBezTo>
                    <a:pt x="2457" y="1520"/>
                    <a:pt x="2464" y="1519"/>
                    <a:pt x="2469" y="1516"/>
                  </a:cubicBezTo>
                  <a:cubicBezTo>
                    <a:pt x="2480" y="1505"/>
                    <a:pt x="2491" y="1494"/>
                    <a:pt x="2503" y="1480"/>
                  </a:cubicBezTo>
                  <a:cubicBezTo>
                    <a:pt x="2517" y="1467"/>
                    <a:pt x="2536" y="1460"/>
                    <a:pt x="2556" y="1460"/>
                  </a:cubicBezTo>
                  <a:cubicBezTo>
                    <a:pt x="2586" y="1460"/>
                    <a:pt x="2618" y="1476"/>
                    <a:pt x="2631" y="1505"/>
                  </a:cubicBezTo>
                  <a:cubicBezTo>
                    <a:pt x="2656" y="1538"/>
                    <a:pt x="2656" y="1597"/>
                    <a:pt x="2701" y="1608"/>
                  </a:cubicBezTo>
                  <a:lnTo>
                    <a:pt x="2726" y="1608"/>
                  </a:lnTo>
                  <a:cubicBezTo>
                    <a:pt x="2760" y="1608"/>
                    <a:pt x="2771" y="1645"/>
                    <a:pt x="2796" y="1656"/>
                  </a:cubicBezTo>
                  <a:cubicBezTo>
                    <a:pt x="2803" y="1658"/>
                    <a:pt x="2811" y="1659"/>
                    <a:pt x="2818" y="1659"/>
                  </a:cubicBezTo>
                  <a:cubicBezTo>
                    <a:pt x="2837" y="1659"/>
                    <a:pt x="2857" y="1653"/>
                    <a:pt x="2873" y="1653"/>
                  </a:cubicBezTo>
                  <a:cubicBezTo>
                    <a:pt x="2878" y="1653"/>
                    <a:pt x="2884" y="1653"/>
                    <a:pt x="2889" y="1656"/>
                  </a:cubicBezTo>
                  <a:cubicBezTo>
                    <a:pt x="2911" y="1667"/>
                    <a:pt x="2936" y="1678"/>
                    <a:pt x="2936" y="1714"/>
                  </a:cubicBezTo>
                  <a:cubicBezTo>
                    <a:pt x="2947" y="1737"/>
                    <a:pt x="2922" y="1759"/>
                    <a:pt x="2900" y="1773"/>
                  </a:cubicBezTo>
                  <a:cubicBezTo>
                    <a:pt x="2889" y="1773"/>
                    <a:pt x="2877" y="1784"/>
                    <a:pt x="2852" y="1784"/>
                  </a:cubicBezTo>
                  <a:cubicBezTo>
                    <a:pt x="2819" y="1796"/>
                    <a:pt x="2807" y="1865"/>
                    <a:pt x="2830" y="1899"/>
                  </a:cubicBezTo>
                  <a:cubicBezTo>
                    <a:pt x="2852" y="1913"/>
                    <a:pt x="2877" y="1924"/>
                    <a:pt x="2900" y="1935"/>
                  </a:cubicBezTo>
                  <a:cubicBezTo>
                    <a:pt x="2936" y="1958"/>
                    <a:pt x="2947" y="1994"/>
                    <a:pt x="2958" y="2028"/>
                  </a:cubicBezTo>
                  <a:cubicBezTo>
                    <a:pt x="2970" y="2064"/>
                    <a:pt x="3006" y="2098"/>
                    <a:pt x="3040" y="2098"/>
                  </a:cubicBezTo>
                  <a:cubicBezTo>
                    <a:pt x="3051" y="2098"/>
                    <a:pt x="3062" y="2086"/>
                    <a:pt x="3076" y="2075"/>
                  </a:cubicBezTo>
                  <a:cubicBezTo>
                    <a:pt x="3087" y="2064"/>
                    <a:pt x="3062" y="2039"/>
                    <a:pt x="3051" y="2016"/>
                  </a:cubicBezTo>
                  <a:cubicBezTo>
                    <a:pt x="3028" y="1983"/>
                    <a:pt x="3076" y="1935"/>
                    <a:pt x="3121" y="1924"/>
                  </a:cubicBezTo>
                  <a:cubicBezTo>
                    <a:pt x="3168" y="1924"/>
                    <a:pt x="3202" y="1947"/>
                    <a:pt x="3249" y="1958"/>
                  </a:cubicBezTo>
                  <a:cubicBezTo>
                    <a:pt x="3272" y="1965"/>
                    <a:pt x="3301" y="1977"/>
                    <a:pt x="3329" y="1977"/>
                  </a:cubicBezTo>
                  <a:cubicBezTo>
                    <a:pt x="3347" y="1977"/>
                    <a:pt x="3364" y="1972"/>
                    <a:pt x="3378" y="1958"/>
                  </a:cubicBezTo>
                  <a:cubicBezTo>
                    <a:pt x="3389" y="1958"/>
                    <a:pt x="3400" y="1947"/>
                    <a:pt x="3400" y="1924"/>
                  </a:cubicBezTo>
                  <a:cubicBezTo>
                    <a:pt x="3400" y="1913"/>
                    <a:pt x="3400" y="1899"/>
                    <a:pt x="3378" y="1899"/>
                  </a:cubicBezTo>
                  <a:lnTo>
                    <a:pt x="3249" y="1899"/>
                  </a:lnTo>
                  <a:cubicBezTo>
                    <a:pt x="3238" y="1899"/>
                    <a:pt x="3216" y="1899"/>
                    <a:pt x="3202" y="1888"/>
                  </a:cubicBezTo>
                  <a:cubicBezTo>
                    <a:pt x="3168" y="1865"/>
                    <a:pt x="3191" y="1818"/>
                    <a:pt x="3227" y="1807"/>
                  </a:cubicBezTo>
                  <a:cubicBezTo>
                    <a:pt x="3244" y="1796"/>
                    <a:pt x="3261" y="1793"/>
                    <a:pt x="3279" y="1793"/>
                  </a:cubicBezTo>
                  <a:cubicBezTo>
                    <a:pt x="3296" y="1793"/>
                    <a:pt x="3314" y="1796"/>
                    <a:pt x="3330" y="1796"/>
                  </a:cubicBezTo>
                  <a:cubicBezTo>
                    <a:pt x="3346" y="1799"/>
                    <a:pt x="3360" y="1801"/>
                    <a:pt x="3374" y="1801"/>
                  </a:cubicBezTo>
                  <a:cubicBezTo>
                    <a:pt x="3402" y="1801"/>
                    <a:pt x="3427" y="1796"/>
                    <a:pt x="3459" y="1796"/>
                  </a:cubicBezTo>
                  <a:cubicBezTo>
                    <a:pt x="3470" y="1796"/>
                    <a:pt x="3495" y="1784"/>
                    <a:pt x="3506" y="1773"/>
                  </a:cubicBezTo>
                  <a:lnTo>
                    <a:pt x="3518" y="1759"/>
                  </a:lnTo>
                  <a:lnTo>
                    <a:pt x="3518" y="1737"/>
                  </a:lnTo>
                  <a:cubicBezTo>
                    <a:pt x="3529" y="1714"/>
                    <a:pt x="3540" y="1703"/>
                    <a:pt x="3540" y="1678"/>
                  </a:cubicBezTo>
                  <a:cubicBezTo>
                    <a:pt x="3540" y="1667"/>
                    <a:pt x="3540" y="1645"/>
                    <a:pt x="3518" y="1645"/>
                  </a:cubicBezTo>
                  <a:cubicBezTo>
                    <a:pt x="3506" y="1645"/>
                    <a:pt x="3495" y="1667"/>
                    <a:pt x="3470" y="1667"/>
                  </a:cubicBezTo>
                  <a:cubicBezTo>
                    <a:pt x="3459" y="1656"/>
                    <a:pt x="3459" y="1645"/>
                    <a:pt x="3448" y="1645"/>
                  </a:cubicBezTo>
                  <a:cubicBezTo>
                    <a:pt x="3432" y="1628"/>
                    <a:pt x="3409" y="1625"/>
                    <a:pt x="3385" y="1625"/>
                  </a:cubicBezTo>
                  <a:cubicBezTo>
                    <a:pt x="3362" y="1625"/>
                    <a:pt x="3337" y="1628"/>
                    <a:pt x="3315" y="1628"/>
                  </a:cubicBezTo>
                  <a:cubicBezTo>
                    <a:pt x="3293" y="1628"/>
                    <a:pt x="3273" y="1624"/>
                    <a:pt x="3260" y="1608"/>
                  </a:cubicBezTo>
                  <a:cubicBezTo>
                    <a:pt x="3249" y="1597"/>
                    <a:pt x="3249" y="1586"/>
                    <a:pt x="3238" y="1575"/>
                  </a:cubicBezTo>
                  <a:cubicBezTo>
                    <a:pt x="3216" y="1538"/>
                    <a:pt x="3168" y="1538"/>
                    <a:pt x="3121" y="1538"/>
                  </a:cubicBezTo>
                  <a:cubicBezTo>
                    <a:pt x="3110" y="1541"/>
                    <a:pt x="3099" y="1542"/>
                    <a:pt x="3089" y="1542"/>
                  </a:cubicBezTo>
                  <a:cubicBezTo>
                    <a:pt x="3055" y="1542"/>
                    <a:pt x="3026" y="1528"/>
                    <a:pt x="3017" y="1494"/>
                  </a:cubicBezTo>
                  <a:cubicBezTo>
                    <a:pt x="3006" y="1480"/>
                    <a:pt x="3017" y="1457"/>
                    <a:pt x="3017" y="1446"/>
                  </a:cubicBezTo>
                  <a:cubicBezTo>
                    <a:pt x="3028" y="1398"/>
                    <a:pt x="3040" y="1354"/>
                    <a:pt x="3076" y="1317"/>
                  </a:cubicBezTo>
                  <a:cubicBezTo>
                    <a:pt x="3062" y="1317"/>
                    <a:pt x="3062" y="1306"/>
                    <a:pt x="3062" y="1306"/>
                  </a:cubicBezTo>
                  <a:lnTo>
                    <a:pt x="3062" y="1259"/>
                  </a:lnTo>
                  <a:cubicBezTo>
                    <a:pt x="3051" y="1225"/>
                    <a:pt x="2992" y="1214"/>
                    <a:pt x="3006" y="1178"/>
                  </a:cubicBezTo>
                  <a:cubicBezTo>
                    <a:pt x="3006" y="1166"/>
                    <a:pt x="3017" y="1155"/>
                    <a:pt x="3028" y="1144"/>
                  </a:cubicBezTo>
                  <a:cubicBezTo>
                    <a:pt x="3051" y="1119"/>
                    <a:pt x="3040" y="1060"/>
                    <a:pt x="3006" y="1038"/>
                  </a:cubicBezTo>
                  <a:cubicBezTo>
                    <a:pt x="2992" y="1027"/>
                    <a:pt x="2970" y="1027"/>
                    <a:pt x="2958" y="1004"/>
                  </a:cubicBezTo>
                  <a:cubicBezTo>
                    <a:pt x="2947" y="979"/>
                    <a:pt x="2970" y="957"/>
                    <a:pt x="3006" y="945"/>
                  </a:cubicBezTo>
                  <a:cubicBezTo>
                    <a:pt x="3028" y="945"/>
                    <a:pt x="3051" y="934"/>
                    <a:pt x="3062" y="909"/>
                  </a:cubicBezTo>
                  <a:cubicBezTo>
                    <a:pt x="3076" y="887"/>
                    <a:pt x="3062" y="864"/>
                    <a:pt x="3051" y="839"/>
                  </a:cubicBezTo>
                  <a:cubicBezTo>
                    <a:pt x="3040" y="817"/>
                    <a:pt x="3017" y="794"/>
                    <a:pt x="3006" y="769"/>
                  </a:cubicBezTo>
                  <a:cubicBezTo>
                    <a:pt x="2992" y="758"/>
                    <a:pt x="2992" y="736"/>
                    <a:pt x="2970" y="736"/>
                  </a:cubicBezTo>
                  <a:cubicBezTo>
                    <a:pt x="2957" y="726"/>
                    <a:pt x="2943" y="722"/>
                    <a:pt x="2927" y="722"/>
                  </a:cubicBezTo>
                  <a:cubicBezTo>
                    <a:pt x="2881" y="722"/>
                    <a:pt x="2824" y="754"/>
                    <a:pt x="2780" y="754"/>
                  </a:cubicBezTo>
                  <a:cubicBezTo>
                    <a:pt x="2769" y="754"/>
                    <a:pt x="2758" y="752"/>
                    <a:pt x="2749" y="747"/>
                  </a:cubicBezTo>
                  <a:cubicBezTo>
                    <a:pt x="2726" y="736"/>
                    <a:pt x="2712" y="711"/>
                    <a:pt x="2726" y="688"/>
                  </a:cubicBezTo>
                  <a:cubicBezTo>
                    <a:pt x="2738" y="688"/>
                    <a:pt x="2749" y="688"/>
                    <a:pt x="2760" y="677"/>
                  </a:cubicBezTo>
                  <a:cubicBezTo>
                    <a:pt x="2782" y="655"/>
                    <a:pt x="2749" y="607"/>
                    <a:pt x="2771" y="596"/>
                  </a:cubicBezTo>
                  <a:cubicBezTo>
                    <a:pt x="2782" y="585"/>
                    <a:pt x="2782" y="585"/>
                    <a:pt x="2796" y="585"/>
                  </a:cubicBezTo>
                  <a:lnTo>
                    <a:pt x="2922" y="585"/>
                  </a:lnTo>
                  <a:cubicBezTo>
                    <a:pt x="2958" y="585"/>
                    <a:pt x="2992" y="571"/>
                    <a:pt x="3017" y="560"/>
                  </a:cubicBezTo>
                  <a:cubicBezTo>
                    <a:pt x="3051" y="537"/>
                    <a:pt x="3040" y="526"/>
                    <a:pt x="3051" y="501"/>
                  </a:cubicBezTo>
                  <a:cubicBezTo>
                    <a:pt x="3040" y="479"/>
                    <a:pt x="3028" y="467"/>
                    <a:pt x="3006" y="456"/>
                  </a:cubicBezTo>
                  <a:cubicBezTo>
                    <a:pt x="2992" y="456"/>
                    <a:pt x="2970" y="445"/>
                    <a:pt x="2970" y="420"/>
                  </a:cubicBezTo>
                  <a:lnTo>
                    <a:pt x="2970" y="397"/>
                  </a:lnTo>
                  <a:cubicBezTo>
                    <a:pt x="2970" y="386"/>
                    <a:pt x="2958" y="375"/>
                    <a:pt x="2947" y="361"/>
                  </a:cubicBezTo>
                  <a:cubicBezTo>
                    <a:pt x="2936" y="361"/>
                    <a:pt x="2922" y="339"/>
                    <a:pt x="2922" y="328"/>
                  </a:cubicBezTo>
                  <a:cubicBezTo>
                    <a:pt x="2922" y="328"/>
                    <a:pt x="2922" y="316"/>
                    <a:pt x="2936" y="316"/>
                  </a:cubicBezTo>
                  <a:cubicBezTo>
                    <a:pt x="2947" y="280"/>
                    <a:pt x="2947" y="258"/>
                    <a:pt x="2947" y="221"/>
                  </a:cubicBezTo>
                  <a:lnTo>
                    <a:pt x="2947" y="221"/>
                  </a:lnTo>
                  <a:cubicBezTo>
                    <a:pt x="2911" y="235"/>
                    <a:pt x="2866" y="246"/>
                    <a:pt x="2819" y="246"/>
                  </a:cubicBezTo>
                  <a:cubicBezTo>
                    <a:pt x="2796" y="246"/>
                    <a:pt x="2771" y="246"/>
                    <a:pt x="2749" y="235"/>
                  </a:cubicBezTo>
                  <a:cubicBezTo>
                    <a:pt x="2712" y="221"/>
                    <a:pt x="2690" y="188"/>
                    <a:pt x="2668" y="177"/>
                  </a:cubicBezTo>
                  <a:cubicBezTo>
                    <a:pt x="2659" y="173"/>
                    <a:pt x="2650" y="172"/>
                    <a:pt x="2642" y="172"/>
                  </a:cubicBezTo>
                  <a:cubicBezTo>
                    <a:pt x="2586" y="172"/>
                    <a:pt x="2543" y="241"/>
                    <a:pt x="2491" y="280"/>
                  </a:cubicBezTo>
                  <a:cubicBezTo>
                    <a:pt x="2480" y="305"/>
                    <a:pt x="2480" y="339"/>
                    <a:pt x="2503" y="339"/>
                  </a:cubicBezTo>
                  <a:lnTo>
                    <a:pt x="2561" y="375"/>
                  </a:lnTo>
                  <a:cubicBezTo>
                    <a:pt x="2598" y="375"/>
                    <a:pt x="2620" y="397"/>
                    <a:pt x="2631" y="420"/>
                  </a:cubicBezTo>
                  <a:cubicBezTo>
                    <a:pt x="2642" y="467"/>
                    <a:pt x="2598" y="501"/>
                    <a:pt x="2550" y="515"/>
                  </a:cubicBezTo>
                  <a:cubicBezTo>
                    <a:pt x="2544" y="515"/>
                    <a:pt x="2539" y="516"/>
                    <a:pt x="2533" y="516"/>
                  </a:cubicBezTo>
                  <a:cubicBezTo>
                    <a:pt x="2403" y="516"/>
                    <a:pt x="2314" y="394"/>
                    <a:pt x="2223" y="305"/>
                  </a:cubicBezTo>
                  <a:cubicBezTo>
                    <a:pt x="2083" y="151"/>
                    <a:pt x="1899" y="59"/>
                    <a:pt x="1711" y="37"/>
                  </a:cubicBezTo>
                  <a:cubicBezTo>
                    <a:pt x="1664" y="37"/>
                    <a:pt x="1630" y="26"/>
                    <a:pt x="1594" y="12"/>
                  </a:cubicBezTo>
                  <a:cubicBezTo>
                    <a:pt x="1583" y="12"/>
                    <a:pt x="1583" y="0"/>
                    <a:pt x="157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90;p17">
              <a:extLst>
                <a:ext uri="{FF2B5EF4-FFF2-40B4-BE49-F238E27FC236}">
                  <a16:creationId xmlns:a16="http://schemas.microsoft.com/office/drawing/2014/main" xmlns="" id="{BA85BDB6-B620-EAAC-8089-E0DE8597A906}"/>
                </a:ext>
              </a:extLst>
            </p:cNvPr>
            <p:cNvSpPr/>
            <p:nvPr/>
          </p:nvSpPr>
          <p:spPr>
            <a:xfrm>
              <a:off x="1717519" y="2628351"/>
              <a:ext cx="825369" cy="972481"/>
            </a:xfrm>
            <a:custGeom>
              <a:avLst/>
              <a:gdLst/>
              <a:ahLst/>
              <a:cxnLst/>
              <a:rect l="l" t="t" r="r" b="b"/>
              <a:pathLst>
                <a:path w="3580" h="4218" extrusionOk="0">
                  <a:moveTo>
                    <a:pt x="3245" y="1958"/>
                  </a:moveTo>
                  <a:cubicBezTo>
                    <a:pt x="3248" y="1958"/>
                    <a:pt x="3250" y="1958"/>
                    <a:pt x="3252" y="1958"/>
                  </a:cubicBezTo>
                  <a:lnTo>
                    <a:pt x="3392" y="1958"/>
                  </a:lnTo>
                  <a:lnTo>
                    <a:pt x="3392" y="1969"/>
                  </a:lnTo>
                  <a:lnTo>
                    <a:pt x="3381" y="1981"/>
                  </a:lnTo>
                  <a:cubicBezTo>
                    <a:pt x="3370" y="1981"/>
                    <a:pt x="3356" y="1992"/>
                    <a:pt x="3344" y="1992"/>
                  </a:cubicBezTo>
                  <a:cubicBezTo>
                    <a:pt x="3322" y="1992"/>
                    <a:pt x="3300" y="1981"/>
                    <a:pt x="3274" y="1969"/>
                  </a:cubicBezTo>
                  <a:cubicBezTo>
                    <a:pt x="3265" y="1966"/>
                    <a:pt x="3255" y="1962"/>
                    <a:pt x="3245" y="1958"/>
                  </a:cubicBezTo>
                  <a:close/>
                  <a:moveTo>
                    <a:pt x="1597" y="71"/>
                  </a:moveTo>
                  <a:cubicBezTo>
                    <a:pt x="1633" y="82"/>
                    <a:pt x="1678" y="82"/>
                    <a:pt x="1714" y="93"/>
                  </a:cubicBezTo>
                  <a:cubicBezTo>
                    <a:pt x="1913" y="115"/>
                    <a:pt x="2086" y="211"/>
                    <a:pt x="2215" y="350"/>
                  </a:cubicBezTo>
                  <a:cubicBezTo>
                    <a:pt x="2262" y="395"/>
                    <a:pt x="2307" y="454"/>
                    <a:pt x="2354" y="490"/>
                  </a:cubicBezTo>
                  <a:cubicBezTo>
                    <a:pt x="2413" y="535"/>
                    <a:pt x="2472" y="571"/>
                    <a:pt x="2542" y="571"/>
                  </a:cubicBezTo>
                  <a:lnTo>
                    <a:pt x="2564" y="571"/>
                  </a:lnTo>
                  <a:cubicBezTo>
                    <a:pt x="2587" y="571"/>
                    <a:pt x="2612" y="560"/>
                    <a:pt x="2634" y="535"/>
                  </a:cubicBezTo>
                  <a:cubicBezTo>
                    <a:pt x="2656" y="524"/>
                    <a:pt x="2670" y="501"/>
                    <a:pt x="2670" y="465"/>
                  </a:cubicBezTo>
                  <a:lnTo>
                    <a:pt x="2670" y="443"/>
                  </a:lnTo>
                  <a:cubicBezTo>
                    <a:pt x="2656" y="431"/>
                    <a:pt x="2645" y="409"/>
                    <a:pt x="2634" y="409"/>
                  </a:cubicBezTo>
                  <a:cubicBezTo>
                    <a:pt x="2623" y="395"/>
                    <a:pt x="2601" y="384"/>
                    <a:pt x="2587" y="384"/>
                  </a:cubicBezTo>
                  <a:lnTo>
                    <a:pt x="2531" y="362"/>
                  </a:lnTo>
                  <a:cubicBezTo>
                    <a:pt x="2517" y="350"/>
                    <a:pt x="2517" y="350"/>
                    <a:pt x="2517" y="339"/>
                  </a:cubicBezTo>
                  <a:lnTo>
                    <a:pt x="2531" y="339"/>
                  </a:lnTo>
                  <a:cubicBezTo>
                    <a:pt x="2553" y="314"/>
                    <a:pt x="2575" y="280"/>
                    <a:pt x="2601" y="269"/>
                  </a:cubicBezTo>
                  <a:cubicBezTo>
                    <a:pt x="2612" y="255"/>
                    <a:pt x="2623" y="244"/>
                    <a:pt x="2623" y="233"/>
                  </a:cubicBezTo>
                  <a:lnTo>
                    <a:pt x="2670" y="233"/>
                  </a:lnTo>
                  <a:cubicBezTo>
                    <a:pt x="2682" y="233"/>
                    <a:pt x="2693" y="244"/>
                    <a:pt x="2704" y="255"/>
                  </a:cubicBezTo>
                  <a:cubicBezTo>
                    <a:pt x="2715" y="269"/>
                    <a:pt x="2726" y="280"/>
                    <a:pt x="2752" y="292"/>
                  </a:cubicBezTo>
                  <a:cubicBezTo>
                    <a:pt x="2774" y="303"/>
                    <a:pt x="2796" y="303"/>
                    <a:pt x="2810" y="303"/>
                  </a:cubicBezTo>
                  <a:lnTo>
                    <a:pt x="2844" y="303"/>
                  </a:lnTo>
                  <a:cubicBezTo>
                    <a:pt x="2871" y="303"/>
                    <a:pt x="2902" y="297"/>
                    <a:pt x="2936" y="289"/>
                  </a:cubicBezTo>
                  <a:lnTo>
                    <a:pt x="2936" y="289"/>
                  </a:lnTo>
                  <a:cubicBezTo>
                    <a:pt x="2936" y="306"/>
                    <a:pt x="2935" y="317"/>
                    <a:pt x="2925" y="339"/>
                  </a:cubicBezTo>
                  <a:cubicBezTo>
                    <a:pt x="2925" y="339"/>
                    <a:pt x="2914" y="350"/>
                    <a:pt x="2914" y="362"/>
                  </a:cubicBezTo>
                  <a:lnTo>
                    <a:pt x="2914" y="373"/>
                  </a:lnTo>
                  <a:cubicBezTo>
                    <a:pt x="2914" y="384"/>
                    <a:pt x="2914" y="395"/>
                    <a:pt x="2925" y="395"/>
                  </a:cubicBezTo>
                  <a:cubicBezTo>
                    <a:pt x="2925" y="409"/>
                    <a:pt x="2936" y="409"/>
                    <a:pt x="2936" y="420"/>
                  </a:cubicBezTo>
                  <a:cubicBezTo>
                    <a:pt x="2950" y="420"/>
                    <a:pt x="2950" y="431"/>
                    <a:pt x="2961" y="431"/>
                  </a:cubicBezTo>
                  <a:lnTo>
                    <a:pt x="2961" y="443"/>
                  </a:lnTo>
                  <a:lnTo>
                    <a:pt x="2961" y="454"/>
                  </a:lnTo>
                  <a:cubicBezTo>
                    <a:pt x="2961" y="479"/>
                    <a:pt x="2972" y="490"/>
                    <a:pt x="2984" y="490"/>
                  </a:cubicBezTo>
                  <a:cubicBezTo>
                    <a:pt x="2984" y="501"/>
                    <a:pt x="2995" y="513"/>
                    <a:pt x="3006" y="513"/>
                  </a:cubicBezTo>
                  <a:cubicBezTo>
                    <a:pt x="3031" y="524"/>
                    <a:pt x="3042" y="535"/>
                    <a:pt x="3042" y="549"/>
                  </a:cubicBezTo>
                  <a:lnTo>
                    <a:pt x="3042" y="560"/>
                  </a:lnTo>
                  <a:lnTo>
                    <a:pt x="3031" y="560"/>
                  </a:lnTo>
                  <a:cubicBezTo>
                    <a:pt x="3031" y="571"/>
                    <a:pt x="3031" y="571"/>
                    <a:pt x="3020" y="571"/>
                  </a:cubicBezTo>
                  <a:cubicBezTo>
                    <a:pt x="2995" y="582"/>
                    <a:pt x="2972" y="594"/>
                    <a:pt x="2936" y="594"/>
                  </a:cubicBezTo>
                  <a:lnTo>
                    <a:pt x="2810" y="594"/>
                  </a:lnTo>
                  <a:cubicBezTo>
                    <a:pt x="2796" y="594"/>
                    <a:pt x="2785" y="594"/>
                    <a:pt x="2774" y="605"/>
                  </a:cubicBezTo>
                  <a:cubicBezTo>
                    <a:pt x="2763" y="605"/>
                    <a:pt x="2763" y="619"/>
                    <a:pt x="2763" y="630"/>
                  </a:cubicBezTo>
                  <a:cubicBezTo>
                    <a:pt x="2752" y="630"/>
                    <a:pt x="2752" y="641"/>
                    <a:pt x="2752" y="652"/>
                  </a:cubicBezTo>
                  <a:lnTo>
                    <a:pt x="2752" y="689"/>
                  </a:lnTo>
                  <a:lnTo>
                    <a:pt x="2752" y="700"/>
                  </a:lnTo>
                  <a:lnTo>
                    <a:pt x="2740" y="700"/>
                  </a:lnTo>
                  <a:lnTo>
                    <a:pt x="2726" y="711"/>
                  </a:lnTo>
                  <a:cubicBezTo>
                    <a:pt x="2715" y="722"/>
                    <a:pt x="2715" y="733"/>
                    <a:pt x="2715" y="745"/>
                  </a:cubicBezTo>
                  <a:cubicBezTo>
                    <a:pt x="2715" y="759"/>
                    <a:pt x="2715" y="770"/>
                    <a:pt x="2726" y="770"/>
                  </a:cubicBezTo>
                  <a:cubicBezTo>
                    <a:pt x="2726" y="781"/>
                    <a:pt x="2740" y="792"/>
                    <a:pt x="2752" y="792"/>
                  </a:cubicBezTo>
                  <a:cubicBezTo>
                    <a:pt x="2763" y="803"/>
                    <a:pt x="2785" y="803"/>
                    <a:pt x="2796" y="803"/>
                  </a:cubicBezTo>
                  <a:cubicBezTo>
                    <a:pt x="2833" y="803"/>
                    <a:pt x="2855" y="803"/>
                    <a:pt x="2880" y="792"/>
                  </a:cubicBezTo>
                  <a:cubicBezTo>
                    <a:pt x="2903" y="781"/>
                    <a:pt x="2925" y="781"/>
                    <a:pt x="2950" y="781"/>
                  </a:cubicBezTo>
                  <a:lnTo>
                    <a:pt x="2972" y="781"/>
                  </a:lnTo>
                  <a:cubicBezTo>
                    <a:pt x="2984" y="792"/>
                    <a:pt x="2995" y="803"/>
                    <a:pt x="2995" y="815"/>
                  </a:cubicBezTo>
                  <a:lnTo>
                    <a:pt x="3006" y="815"/>
                  </a:lnTo>
                  <a:cubicBezTo>
                    <a:pt x="3020" y="840"/>
                    <a:pt x="3031" y="862"/>
                    <a:pt x="3042" y="884"/>
                  </a:cubicBezTo>
                  <a:cubicBezTo>
                    <a:pt x="3054" y="898"/>
                    <a:pt x="3065" y="921"/>
                    <a:pt x="3065" y="921"/>
                  </a:cubicBezTo>
                  <a:lnTo>
                    <a:pt x="3054" y="932"/>
                  </a:lnTo>
                  <a:cubicBezTo>
                    <a:pt x="3054" y="943"/>
                    <a:pt x="3054" y="943"/>
                    <a:pt x="3042" y="943"/>
                  </a:cubicBezTo>
                  <a:cubicBezTo>
                    <a:pt x="3031" y="954"/>
                    <a:pt x="3020" y="954"/>
                    <a:pt x="3006" y="954"/>
                  </a:cubicBezTo>
                  <a:cubicBezTo>
                    <a:pt x="2995" y="968"/>
                    <a:pt x="2984" y="979"/>
                    <a:pt x="2972" y="991"/>
                  </a:cubicBezTo>
                  <a:cubicBezTo>
                    <a:pt x="2961" y="991"/>
                    <a:pt x="2950" y="1013"/>
                    <a:pt x="2950" y="1024"/>
                  </a:cubicBezTo>
                  <a:lnTo>
                    <a:pt x="2950" y="1049"/>
                  </a:lnTo>
                  <a:cubicBezTo>
                    <a:pt x="2961" y="1061"/>
                    <a:pt x="2972" y="1072"/>
                    <a:pt x="2984" y="1083"/>
                  </a:cubicBezTo>
                  <a:cubicBezTo>
                    <a:pt x="2995" y="1083"/>
                    <a:pt x="2995" y="1094"/>
                    <a:pt x="3006" y="1094"/>
                  </a:cubicBezTo>
                  <a:cubicBezTo>
                    <a:pt x="3020" y="1108"/>
                    <a:pt x="3031" y="1119"/>
                    <a:pt x="3031" y="1142"/>
                  </a:cubicBezTo>
                  <a:cubicBezTo>
                    <a:pt x="3031" y="1153"/>
                    <a:pt x="3020" y="1153"/>
                    <a:pt x="3020" y="1164"/>
                  </a:cubicBezTo>
                  <a:lnTo>
                    <a:pt x="3006" y="1178"/>
                  </a:lnTo>
                  <a:cubicBezTo>
                    <a:pt x="3006" y="1189"/>
                    <a:pt x="2995" y="1200"/>
                    <a:pt x="2995" y="1200"/>
                  </a:cubicBezTo>
                  <a:lnTo>
                    <a:pt x="2995" y="1212"/>
                  </a:lnTo>
                  <a:cubicBezTo>
                    <a:pt x="2995" y="1234"/>
                    <a:pt x="2995" y="1248"/>
                    <a:pt x="3006" y="1248"/>
                  </a:cubicBezTo>
                  <a:cubicBezTo>
                    <a:pt x="3020" y="1259"/>
                    <a:pt x="3031" y="1270"/>
                    <a:pt x="3031" y="1281"/>
                  </a:cubicBezTo>
                  <a:cubicBezTo>
                    <a:pt x="3042" y="1293"/>
                    <a:pt x="3054" y="1293"/>
                    <a:pt x="3054" y="1293"/>
                  </a:cubicBezTo>
                  <a:lnTo>
                    <a:pt x="3054" y="1304"/>
                  </a:lnTo>
                  <a:lnTo>
                    <a:pt x="3054" y="1318"/>
                  </a:lnTo>
                  <a:lnTo>
                    <a:pt x="3054" y="1340"/>
                  </a:lnTo>
                  <a:cubicBezTo>
                    <a:pt x="3054" y="1344"/>
                    <a:pt x="3055" y="1348"/>
                    <a:pt x="3057" y="1352"/>
                  </a:cubicBezTo>
                  <a:lnTo>
                    <a:pt x="3057" y="1352"/>
                  </a:lnTo>
                  <a:cubicBezTo>
                    <a:pt x="3037" y="1386"/>
                    <a:pt x="3018" y="1436"/>
                    <a:pt x="3006" y="1469"/>
                  </a:cubicBezTo>
                  <a:lnTo>
                    <a:pt x="3006" y="1514"/>
                  </a:lnTo>
                  <a:lnTo>
                    <a:pt x="3006" y="1539"/>
                  </a:lnTo>
                  <a:cubicBezTo>
                    <a:pt x="3006" y="1561"/>
                    <a:pt x="3031" y="1583"/>
                    <a:pt x="3054" y="1583"/>
                  </a:cubicBezTo>
                  <a:cubicBezTo>
                    <a:pt x="3076" y="1597"/>
                    <a:pt x="3101" y="1597"/>
                    <a:pt x="3123" y="1597"/>
                  </a:cubicBezTo>
                  <a:lnTo>
                    <a:pt x="3171" y="1597"/>
                  </a:lnTo>
                  <a:cubicBezTo>
                    <a:pt x="3182" y="1597"/>
                    <a:pt x="3193" y="1597"/>
                    <a:pt x="3205" y="1609"/>
                  </a:cubicBezTo>
                  <a:cubicBezTo>
                    <a:pt x="3216" y="1609"/>
                    <a:pt x="3230" y="1609"/>
                    <a:pt x="3230" y="1620"/>
                  </a:cubicBezTo>
                  <a:cubicBezTo>
                    <a:pt x="3241" y="1620"/>
                    <a:pt x="3241" y="1642"/>
                    <a:pt x="3252" y="1653"/>
                  </a:cubicBezTo>
                  <a:cubicBezTo>
                    <a:pt x="3263" y="1667"/>
                    <a:pt x="3274" y="1679"/>
                    <a:pt x="3286" y="1679"/>
                  </a:cubicBezTo>
                  <a:cubicBezTo>
                    <a:pt x="3300" y="1690"/>
                    <a:pt x="3311" y="1690"/>
                    <a:pt x="3322" y="1690"/>
                  </a:cubicBezTo>
                  <a:cubicBezTo>
                    <a:pt x="3356" y="1690"/>
                    <a:pt x="3381" y="1679"/>
                    <a:pt x="3403" y="1679"/>
                  </a:cubicBezTo>
                  <a:lnTo>
                    <a:pt x="3425" y="1679"/>
                  </a:lnTo>
                  <a:cubicBezTo>
                    <a:pt x="3439" y="1690"/>
                    <a:pt x="3439" y="1690"/>
                    <a:pt x="3451" y="1690"/>
                  </a:cubicBezTo>
                  <a:cubicBezTo>
                    <a:pt x="3451" y="1690"/>
                    <a:pt x="3451" y="1701"/>
                    <a:pt x="3462" y="1701"/>
                  </a:cubicBezTo>
                  <a:cubicBezTo>
                    <a:pt x="3462" y="1712"/>
                    <a:pt x="3473" y="1712"/>
                    <a:pt x="3484" y="1723"/>
                  </a:cubicBezTo>
                  <a:cubicBezTo>
                    <a:pt x="3495" y="1723"/>
                    <a:pt x="3509" y="1712"/>
                    <a:pt x="3509" y="1712"/>
                  </a:cubicBezTo>
                  <a:cubicBezTo>
                    <a:pt x="3520" y="1712"/>
                    <a:pt x="3520" y="1701"/>
                    <a:pt x="3532" y="1701"/>
                  </a:cubicBezTo>
                  <a:lnTo>
                    <a:pt x="3532" y="1712"/>
                  </a:lnTo>
                  <a:cubicBezTo>
                    <a:pt x="3532" y="1712"/>
                    <a:pt x="3532" y="1723"/>
                    <a:pt x="3520" y="1723"/>
                  </a:cubicBezTo>
                  <a:cubicBezTo>
                    <a:pt x="3520" y="1737"/>
                    <a:pt x="3520" y="1748"/>
                    <a:pt x="3509" y="1760"/>
                  </a:cubicBezTo>
                  <a:lnTo>
                    <a:pt x="3509" y="1782"/>
                  </a:lnTo>
                  <a:lnTo>
                    <a:pt x="3509" y="1782"/>
                  </a:lnTo>
                  <a:cubicBezTo>
                    <a:pt x="3506" y="1785"/>
                    <a:pt x="3503" y="1787"/>
                    <a:pt x="3495" y="1793"/>
                  </a:cubicBezTo>
                  <a:cubicBezTo>
                    <a:pt x="3495" y="1793"/>
                    <a:pt x="3484" y="1807"/>
                    <a:pt x="3462" y="1807"/>
                  </a:cubicBezTo>
                  <a:lnTo>
                    <a:pt x="3286" y="1807"/>
                  </a:lnTo>
                  <a:cubicBezTo>
                    <a:pt x="3263" y="1807"/>
                    <a:pt x="3252" y="1807"/>
                    <a:pt x="3230" y="1818"/>
                  </a:cubicBezTo>
                  <a:cubicBezTo>
                    <a:pt x="3216" y="1818"/>
                    <a:pt x="3205" y="1841"/>
                    <a:pt x="3193" y="1852"/>
                  </a:cubicBezTo>
                  <a:cubicBezTo>
                    <a:pt x="3182" y="1863"/>
                    <a:pt x="3182" y="1877"/>
                    <a:pt x="3182" y="1899"/>
                  </a:cubicBezTo>
                  <a:cubicBezTo>
                    <a:pt x="3182" y="1909"/>
                    <a:pt x="3182" y="1927"/>
                    <a:pt x="3197" y="1941"/>
                  </a:cubicBezTo>
                  <a:lnTo>
                    <a:pt x="3197" y="1941"/>
                  </a:lnTo>
                  <a:cubicBezTo>
                    <a:pt x="3180" y="1936"/>
                    <a:pt x="3163" y="1933"/>
                    <a:pt x="3146" y="1933"/>
                  </a:cubicBezTo>
                  <a:lnTo>
                    <a:pt x="3135" y="1933"/>
                  </a:lnTo>
                  <a:cubicBezTo>
                    <a:pt x="3101" y="1947"/>
                    <a:pt x="3090" y="1958"/>
                    <a:pt x="3065" y="1969"/>
                  </a:cubicBezTo>
                  <a:cubicBezTo>
                    <a:pt x="3054" y="1981"/>
                    <a:pt x="3042" y="2003"/>
                    <a:pt x="3042" y="2039"/>
                  </a:cubicBezTo>
                  <a:lnTo>
                    <a:pt x="3042" y="2062"/>
                  </a:lnTo>
                  <a:cubicBezTo>
                    <a:pt x="3054" y="2073"/>
                    <a:pt x="3054" y="2087"/>
                    <a:pt x="3054" y="2098"/>
                  </a:cubicBezTo>
                  <a:cubicBezTo>
                    <a:pt x="3065" y="2098"/>
                    <a:pt x="3065" y="2109"/>
                    <a:pt x="3065" y="2109"/>
                  </a:cubicBezTo>
                  <a:lnTo>
                    <a:pt x="3054" y="2109"/>
                  </a:lnTo>
                  <a:cubicBezTo>
                    <a:pt x="3042" y="2109"/>
                    <a:pt x="3031" y="2109"/>
                    <a:pt x="3020" y="2098"/>
                  </a:cubicBezTo>
                  <a:cubicBezTo>
                    <a:pt x="3006" y="2087"/>
                    <a:pt x="2995" y="2073"/>
                    <a:pt x="2995" y="2050"/>
                  </a:cubicBezTo>
                  <a:cubicBezTo>
                    <a:pt x="2984" y="2039"/>
                    <a:pt x="2972" y="2028"/>
                    <a:pt x="2972" y="2003"/>
                  </a:cubicBezTo>
                  <a:cubicBezTo>
                    <a:pt x="2961" y="1981"/>
                    <a:pt x="2950" y="1969"/>
                    <a:pt x="2925" y="1958"/>
                  </a:cubicBezTo>
                  <a:cubicBezTo>
                    <a:pt x="2914" y="1947"/>
                    <a:pt x="2903" y="1933"/>
                    <a:pt x="2891" y="1933"/>
                  </a:cubicBezTo>
                  <a:cubicBezTo>
                    <a:pt x="2880" y="1922"/>
                    <a:pt x="2866" y="1922"/>
                    <a:pt x="2866" y="1911"/>
                  </a:cubicBezTo>
                  <a:cubicBezTo>
                    <a:pt x="2855" y="1911"/>
                    <a:pt x="2855" y="1899"/>
                    <a:pt x="2855" y="1888"/>
                  </a:cubicBezTo>
                  <a:cubicBezTo>
                    <a:pt x="2855" y="1877"/>
                    <a:pt x="2855" y="1863"/>
                    <a:pt x="2866" y="1852"/>
                  </a:cubicBezTo>
                  <a:lnTo>
                    <a:pt x="2880" y="1841"/>
                  </a:lnTo>
                  <a:cubicBezTo>
                    <a:pt x="2891" y="1841"/>
                    <a:pt x="2903" y="1830"/>
                    <a:pt x="2925" y="1830"/>
                  </a:cubicBezTo>
                  <a:cubicBezTo>
                    <a:pt x="2961" y="1818"/>
                    <a:pt x="2972" y="1782"/>
                    <a:pt x="2972" y="1748"/>
                  </a:cubicBezTo>
                  <a:lnTo>
                    <a:pt x="2972" y="1737"/>
                  </a:lnTo>
                  <a:cubicBezTo>
                    <a:pt x="2972" y="1701"/>
                    <a:pt x="2950" y="1679"/>
                    <a:pt x="2914" y="1667"/>
                  </a:cubicBezTo>
                  <a:lnTo>
                    <a:pt x="2821" y="1667"/>
                  </a:lnTo>
                  <a:cubicBezTo>
                    <a:pt x="2810" y="1667"/>
                    <a:pt x="2810" y="1653"/>
                    <a:pt x="2796" y="1642"/>
                  </a:cubicBezTo>
                  <a:cubicBezTo>
                    <a:pt x="2785" y="1642"/>
                    <a:pt x="2774" y="1620"/>
                    <a:pt x="2752" y="1620"/>
                  </a:cubicBezTo>
                  <a:lnTo>
                    <a:pt x="2715" y="1620"/>
                  </a:lnTo>
                  <a:cubicBezTo>
                    <a:pt x="2715" y="1620"/>
                    <a:pt x="2704" y="1620"/>
                    <a:pt x="2704" y="1609"/>
                  </a:cubicBezTo>
                  <a:cubicBezTo>
                    <a:pt x="2704" y="1609"/>
                    <a:pt x="2693" y="1597"/>
                    <a:pt x="2693" y="1572"/>
                  </a:cubicBezTo>
                  <a:cubicBezTo>
                    <a:pt x="2682" y="1561"/>
                    <a:pt x="2682" y="1539"/>
                    <a:pt x="2670" y="1528"/>
                  </a:cubicBezTo>
                  <a:cubicBezTo>
                    <a:pt x="2645" y="1491"/>
                    <a:pt x="2612" y="1480"/>
                    <a:pt x="2575" y="1480"/>
                  </a:cubicBezTo>
                  <a:cubicBezTo>
                    <a:pt x="2542" y="1480"/>
                    <a:pt x="2517" y="1480"/>
                    <a:pt x="2494" y="1502"/>
                  </a:cubicBezTo>
                  <a:cubicBezTo>
                    <a:pt x="2483" y="1514"/>
                    <a:pt x="2483" y="1528"/>
                    <a:pt x="2472" y="1528"/>
                  </a:cubicBezTo>
                  <a:lnTo>
                    <a:pt x="2461" y="1528"/>
                  </a:lnTo>
                  <a:cubicBezTo>
                    <a:pt x="2447" y="1528"/>
                    <a:pt x="2424" y="1514"/>
                    <a:pt x="2424" y="1502"/>
                  </a:cubicBezTo>
                  <a:cubicBezTo>
                    <a:pt x="2402" y="1480"/>
                    <a:pt x="2402" y="1458"/>
                    <a:pt x="2391" y="1421"/>
                  </a:cubicBezTo>
                  <a:cubicBezTo>
                    <a:pt x="2377" y="1399"/>
                    <a:pt x="2366" y="1388"/>
                    <a:pt x="2354" y="1363"/>
                  </a:cubicBezTo>
                  <a:cubicBezTo>
                    <a:pt x="2332" y="1351"/>
                    <a:pt x="2307" y="1340"/>
                    <a:pt x="2285" y="1340"/>
                  </a:cubicBezTo>
                  <a:lnTo>
                    <a:pt x="2273" y="1340"/>
                  </a:lnTo>
                  <a:cubicBezTo>
                    <a:pt x="2226" y="1340"/>
                    <a:pt x="2192" y="1374"/>
                    <a:pt x="2192" y="1421"/>
                  </a:cubicBezTo>
                  <a:cubicBezTo>
                    <a:pt x="2181" y="1432"/>
                    <a:pt x="2181" y="1444"/>
                    <a:pt x="2181" y="1458"/>
                  </a:cubicBezTo>
                  <a:cubicBezTo>
                    <a:pt x="2181" y="1514"/>
                    <a:pt x="2215" y="1561"/>
                    <a:pt x="2237" y="1609"/>
                  </a:cubicBezTo>
                  <a:cubicBezTo>
                    <a:pt x="2262" y="1631"/>
                    <a:pt x="2273" y="1667"/>
                    <a:pt x="2273" y="1701"/>
                  </a:cubicBezTo>
                  <a:lnTo>
                    <a:pt x="2273" y="1723"/>
                  </a:lnTo>
                  <a:cubicBezTo>
                    <a:pt x="2273" y="1737"/>
                    <a:pt x="2262" y="1748"/>
                    <a:pt x="2262" y="1760"/>
                  </a:cubicBezTo>
                  <a:cubicBezTo>
                    <a:pt x="2251" y="1771"/>
                    <a:pt x="2251" y="1782"/>
                    <a:pt x="2251" y="1807"/>
                  </a:cubicBezTo>
                  <a:lnTo>
                    <a:pt x="2251" y="1818"/>
                  </a:lnTo>
                  <a:cubicBezTo>
                    <a:pt x="2262" y="1852"/>
                    <a:pt x="2273" y="1888"/>
                    <a:pt x="2296" y="1911"/>
                  </a:cubicBezTo>
                  <a:cubicBezTo>
                    <a:pt x="2321" y="1947"/>
                    <a:pt x="2343" y="1969"/>
                    <a:pt x="2354" y="1992"/>
                  </a:cubicBezTo>
                  <a:cubicBezTo>
                    <a:pt x="2402" y="2062"/>
                    <a:pt x="2447" y="2120"/>
                    <a:pt x="2483" y="2190"/>
                  </a:cubicBezTo>
                  <a:cubicBezTo>
                    <a:pt x="2517" y="2227"/>
                    <a:pt x="2542" y="2271"/>
                    <a:pt x="2542" y="2308"/>
                  </a:cubicBezTo>
                  <a:cubicBezTo>
                    <a:pt x="2542" y="2308"/>
                    <a:pt x="2542" y="2319"/>
                    <a:pt x="2531" y="2330"/>
                  </a:cubicBezTo>
                  <a:cubicBezTo>
                    <a:pt x="2531" y="2352"/>
                    <a:pt x="2505" y="2378"/>
                    <a:pt x="2494" y="2400"/>
                  </a:cubicBezTo>
                  <a:cubicBezTo>
                    <a:pt x="2483" y="2422"/>
                    <a:pt x="2483" y="2436"/>
                    <a:pt x="2483" y="2459"/>
                  </a:cubicBezTo>
                  <a:cubicBezTo>
                    <a:pt x="2483" y="2470"/>
                    <a:pt x="2483" y="2492"/>
                    <a:pt x="2505" y="2517"/>
                  </a:cubicBezTo>
                  <a:cubicBezTo>
                    <a:pt x="2531" y="2529"/>
                    <a:pt x="2553" y="2529"/>
                    <a:pt x="2564" y="2529"/>
                  </a:cubicBezTo>
                  <a:lnTo>
                    <a:pt x="2612" y="2529"/>
                  </a:lnTo>
                  <a:cubicBezTo>
                    <a:pt x="2623" y="2529"/>
                    <a:pt x="2623" y="2529"/>
                    <a:pt x="2634" y="2540"/>
                  </a:cubicBezTo>
                  <a:cubicBezTo>
                    <a:pt x="2645" y="2540"/>
                    <a:pt x="2656" y="2551"/>
                    <a:pt x="2670" y="2576"/>
                  </a:cubicBezTo>
                  <a:cubicBezTo>
                    <a:pt x="2670" y="2587"/>
                    <a:pt x="2682" y="2621"/>
                    <a:pt x="2682" y="2646"/>
                  </a:cubicBezTo>
                  <a:cubicBezTo>
                    <a:pt x="2682" y="2738"/>
                    <a:pt x="2693" y="2831"/>
                    <a:pt x="2704" y="2926"/>
                  </a:cubicBezTo>
                  <a:cubicBezTo>
                    <a:pt x="2726" y="3018"/>
                    <a:pt x="2763" y="3099"/>
                    <a:pt x="2833" y="3180"/>
                  </a:cubicBezTo>
                  <a:cubicBezTo>
                    <a:pt x="2855" y="3205"/>
                    <a:pt x="2866" y="3228"/>
                    <a:pt x="2880" y="3250"/>
                  </a:cubicBezTo>
                  <a:lnTo>
                    <a:pt x="2880" y="3275"/>
                  </a:lnTo>
                  <a:lnTo>
                    <a:pt x="2880" y="3345"/>
                  </a:lnTo>
                  <a:cubicBezTo>
                    <a:pt x="2866" y="3356"/>
                    <a:pt x="2866" y="3367"/>
                    <a:pt x="2866" y="3367"/>
                  </a:cubicBezTo>
                  <a:cubicBezTo>
                    <a:pt x="2866" y="3367"/>
                    <a:pt x="2855" y="3367"/>
                    <a:pt x="2844" y="3379"/>
                  </a:cubicBezTo>
                  <a:cubicBezTo>
                    <a:pt x="2833" y="3379"/>
                    <a:pt x="2810" y="3379"/>
                    <a:pt x="2785" y="3390"/>
                  </a:cubicBezTo>
                  <a:cubicBezTo>
                    <a:pt x="2774" y="3390"/>
                    <a:pt x="2763" y="3401"/>
                    <a:pt x="2752" y="3401"/>
                  </a:cubicBezTo>
                  <a:cubicBezTo>
                    <a:pt x="2752" y="3415"/>
                    <a:pt x="2740" y="3426"/>
                    <a:pt x="2740" y="3449"/>
                  </a:cubicBezTo>
                  <a:lnTo>
                    <a:pt x="2740" y="3460"/>
                  </a:lnTo>
                  <a:cubicBezTo>
                    <a:pt x="2752" y="3471"/>
                    <a:pt x="2752" y="3485"/>
                    <a:pt x="2763" y="3485"/>
                  </a:cubicBezTo>
                  <a:lnTo>
                    <a:pt x="2763" y="3496"/>
                  </a:lnTo>
                  <a:lnTo>
                    <a:pt x="2763" y="3507"/>
                  </a:lnTo>
                  <a:lnTo>
                    <a:pt x="2763" y="3530"/>
                  </a:lnTo>
                  <a:cubicBezTo>
                    <a:pt x="2763" y="3541"/>
                    <a:pt x="2752" y="3555"/>
                    <a:pt x="2752" y="3577"/>
                  </a:cubicBezTo>
                  <a:cubicBezTo>
                    <a:pt x="2752" y="3588"/>
                    <a:pt x="2740" y="3588"/>
                    <a:pt x="2740" y="3600"/>
                  </a:cubicBezTo>
                  <a:cubicBezTo>
                    <a:pt x="2740" y="3658"/>
                    <a:pt x="2774" y="3706"/>
                    <a:pt x="2810" y="3739"/>
                  </a:cubicBezTo>
                  <a:cubicBezTo>
                    <a:pt x="2855" y="3776"/>
                    <a:pt x="2903" y="3798"/>
                    <a:pt x="2950" y="3834"/>
                  </a:cubicBezTo>
                  <a:lnTo>
                    <a:pt x="2961" y="3846"/>
                  </a:lnTo>
                  <a:lnTo>
                    <a:pt x="2961" y="3857"/>
                  </a:lnTo>
                  <a:lnTo>
                    <a:pt x="2961" y="3879"/>
                  </a:lnTo>
                  <a:cubicBezTo>
                    <a:pt x="2950" y="3890"/>
                    <a:pt x="2950" y="3904"/>
                    <a:pt x="2950" y="3904"/>
                  </a:cubicBezTo>
                  <a:cubicBezTo>
                    <a:pt x="2950" y="3938"/>
                    <a:pt x="2972" y="3974"/>
                    <a:pt x="2995" y="3997"/>
                  </a:cubicBezTo>
                  <a:cubicBezTo>
                    <a:pt x="3017" y="4017"/>
                    <a:pt x="3038" y="4039"/>
                    <a:pt x="3076" y="4043"/>
                  </a:cubicBezTo>
                  <a:lnTo>
                    <a:pt x="3076" y="4043"/>
                  </a:lnTo>
                  <a:lnTo>
                    <a:pt x="3076" y="4044"/>
                  </a:lnTo>
                  <a:cubicBezTo>
                    <a:pt x="3076" y="4055"/>
                    <a:pt x="3076" y="4067"/>
                    <a:pt x="3065" y="4067"/>
                  </a:cubicBezTo>
                  <a:cubicBezTo>
                    <a:pt x="3054" y="4078"/>
                    <a:pt x="3054" y="4089"/>
                    <a:pt x="3042" y="4089"/>
                  </a:cubicBezTo>
                  <a:lnTo>
                    <a:pt x="3031" y="4089"/>
                  </a:lnTo>
                  <a:cubicBezTo>
                    <a:pt x="3020" y="4089"/>
                    <a:pt x="3006" y="4078"/>
                    <a:pt x="2984" y="4078"/>
                  </a:cubicBezTo>
                  <a:cubicBezTo>
                    <a:pt x="2961" y="4067"/>
                    <a:pt x="2950" y="4055"/>
                    <a:pt x="2925" y="4055"/>
                  </a:cubicBezTo>
                  <a:cubicBezTo>
                    <a:pt x="2903" y="4055"/>
                    <a:pt x="2880" y="4055"/>
                    <a:pt x="2866" y="4044"/>
                  </a:cubicBezTo>
                  <a:cubicBezTo>
                    <a:pt x="2844" y="4030"/>
                    <a:pt x="2833" y="4019"/>
                    <a:pt x="2833" y="4008"/>
                  </a:cubicBezTo>
                  <a:cubicBezTo>
                    <a:pt x="2821" y="3985"/>
                    <a:pt x="2810" y="3960"/>
                    <a:pt x="2796" y="3938"/>
                  </a:cubicBezTo>
                  <a:cubicBezTo>
                    <a:pt x="2785" y="3916"/>
                    <a:pt x="2774" y="3904"/>
                    <a:pt x="2763" y="3879"/>
                  </a:cubicBezTo>
                  <a:cubicBezTo>
                    <a:pt x="2740" y="3868"/>
                    <a:pt x="2715" y="3857"/>
                    <a:pt x="2693" y="3857"/>
                  </a:cubicBezTo>
                  <a:cubicBezTo>
                    <a:pt x="2682" y="3857"/>
                    <a:pt x="2670" y="3868"/>
                    <a:pt x="2645" y="3879"/>
                  </a:cubicBezTo>
                  <a:lnTo>
                    <a:pt x="2645" y="3890"/>
                  </a:lnTo>
                  <a:lnTo>
                    <a:pt x="2645" y="3960"/>
                  </a:lnTo>
                  <a:lnTo>
                    <a:pt x="2634" y="3960"/>
                  </a:lnTo>
                  <a:cubicBezTo>
                    <a:pt x="2612" y="3960"/>
                    <a:pt x="2601" y="3960"/>
                    <a:pt x="2601" y="3949"/>
                  </a:cubicBezTo>
                  <a:cubicBezTo>
                    <a:pt x="2587" y="3938"/>
                    <a:pt x="2587" y="3927"/>
                    <a:pt x="2587" y="3916"/>
                  </a:cubicBezTo>
                  <a:cubicBezTo>
                    <a:pt x="2587" y="3904"/>
                    <a:pt x="2587" y="3904"/>
                    <a:pt x="2601" y="3890"/>
                  </a:cubicBezTo>
                  <a:cubicBezTo>
                    <a:pt x="2601" y="3890"/>
                    <a:pt x="2601" y="3879"/>
                    <a:pt x="2612" y="3879"/>
                  </a:cubicBezTo>
                  <a:cubicBezTo>
                    <a:pt x="2623" y="3868"/>
                    <a:pt x="2623" y="3857"/>
                    <a:pt x="2634" y="3857"/>
                  </a:cubicBezTo>
                  <a:lnTo>
                    <a:pt x="2634" y="3820"/>
                  </a:lnTo>
                  <a:cubicBezTo>
                    <a:pt x="2634" y="3798"/>
                    <a:pt x="2634" y="3776"/>
                    <a:pt x="2612" y="3765"/>
                  </a:cubicBezTo>
                  <a:cubicBezTo>
                    <a:pt x="2601" y="3751"/>
                    <a:pt x="2587" y="3739"/>
                    <a:pt x="2564" y="3728"/>
                  </a:cubicBezTo>
                  <a:cubicBezTo>
                    <a:pt x="2553" y="3717"/>
                    <a:pt x="2531" y="3706"/>
                    <a:pt x="2517" y="3706"/>
                  </a:cubicBezTo>
                  <a:cubicBezTo>
                    <a:pt x="2494" y="3695"/>
                    <a:pt x="2483" y="3681"/>
                    <a:pt x="2483" y="3669"/>
                  </a:cubicBezTo>
                  <a:lnTo>
                    <a:pt x="2483" y="3647"/>
                  </a:lnTo>
                  <a:lnTo>
                    <a:pt x="2483" y="3600"/>
                  </a:lnTo>
                  <a:cubicBezTo>
                    <a:pt x="2483" y="3588"/>
                    <a:pt x="2483" y="3577"/>
                    <a:pt x="2472" y="3555"/>
                  </a:cubicBezTo>
                  <a:cubicBezTo>
                    <a:pt x="2472" y="3541"/>
                    <a:pt x="2461" y="3530"/>
                    <a:pt x="2447" y="3530"/>
                  </a:cubicBezTo>
                  <a:cubicBezTo>
                    <a:pt x="2436" y="3518"/>
                    <a:pt x="2413" y="3518"/>
                    <a:pt x="2402" y="3518"/>
                  </a:cubicBezTo>
                  <a:cubicBezTo>
                    <a:pt x="2391" y="3518"/>
                    <a:pt x="2377" y="3507"/>
                    <a:pt x="2377" y="3507"/>
                  </a:cubicBezTo>
                  <a:cubicBezTo>
                    <a:pt x="2366" y="3507"/>
                    <a:pt x="2366" y="3507"/>
                    <a:pt x="2366" y="3496"/>
                  </a:cubicBezTo>
                  <a:cubicBezTo>
                    <a:pt x="2354" y="3485"/>
                    <a:pt x="2354" y="3485"/>
                    <a:pt x="2354" y="3471"/>
                  </a:cubicBezTo>
                  <a:lnTo>
                    <a:pt x="2354" y="3460"/>
                  </a:lnTo>
                  <a:cubicBezTo>
                    <a:pt x="2354" y="3437"/>
                    <a:pt x="2377" y="3401"/>
                    <a:pt x="2377" y="3367"/>
                  </a:cubicBezTo>
                  <a:lnTo>
                    <a:pt x="2377" y="3356"/>
                  </a:lnTo>
                  <a:cubicBezTo>
                    <a:pt x="2377" y="3320"/>
                    <a:pt x="2354" y="3275"/>
                    <a:pt x="2332" y="3250"/>
                  </a:cubicBezTo>
                  <a:cubicBezTo>
                    <a:pt x="2296" y="3216"/>
                    <a:pt x="2262" y="3191"/>
                    <a:pt x="2215" y="3180"/>
                  </a:cubicBezTo>
                  <a:lnTo>
                    <a:pt x="2145" y="3180"/>
                  </a:lnTo>
                  <a:cubicBezTo>
                    <a:pt x="2086" y="3180"/>
                    <a:pt x="2027" y="3191"/>
                    <a:pt x="1971" y="3205"/>
                  </a:cubicBezTo>
                  <a:cubicBezTo>
                    <a:pt x="1957" y="3216"/>
                    <a:pt x="1935" y="3216"/>
                    <a:pt x="1913" y="3239"/>
                  </a:cubicBezTo>
                  <a:cubicBezTo>
                    <a:pt x="1901" y="3239"/>
                    <a:pt x="1887" y="3250"/>
                    <a:pt x="1887" y="3261"/>
                  </a:cubicBezTo>
                  <a:cubicBezTo>
                    <a:pt x="1876" y="3275"/>
                    <a:pt x="1876" y="3286"/>
                    <a:pt x="1876" y="3298"/>
                  </a:cubicBezTo>
                  <a:lnTo>
                    <a:pt x="1876" y="3309"/>
                  </a:lnTo>
                  <a:cubicBezTo>
                    <a:pt x="1876" y="3331"/>
                    <a:pt x="1887" y="3345"/>
                    <a:pt x="1887" y="3356"/>
                  </a:cubicBezTo>
                  <a:cubicBezTo>
                    <a:pt x="1901" y="3356"/>
                    <a:pt x="1901" y="3367"/>
                    <a:pt x="1901" y="3367"/>
                  </a:cubicBezTo>
                  <a:lnTo>
                    <a:pt x="1901" y="3379"/>
                  </a:lnTo>
                  <a:cubicBezTo>
                    <a:pt x="1887" y="3379"/>
                    <a:pt x="1865" y="3379"/>
                    <a:pt x="1854" y="3390"/>
                  </a:cubicBezTo>
                  <a:cubicBezTo>
                    <a:pt x="1843" y="3390"/>
                    <a:pt x="1832" y="3390"/>
                    <a:pt x="1818" y="3401"/>
                  </a:cubicBezTo>
                  <a:cubicBezTo>
                    <a:pt x="1806" y="3401"/>
                    <a:pt x="1795" y="3415"/>
                    <a:pt x="1795" y="3426"/>
                  </a:cubicBezTo>
                  <a:cubicBezTo>
                    <a:pt x="1784" y="3426"/>
                    <a:pt x="1784" y="3437"/>
                    <a:pt x="1784" y="3449"/>
                  </a:cubicBezTo>
                  <a:cubicBezTo>
                    <a:pt x="1784" y="3460"/>
                    <a:pt x="1795" y="3485"/>
                    <a:pt x="1795" y="3485"/>
                  </a:cubicBezTo>
                  <a:cubicBezTo>
                    <a:pt x="1806" y="3507"/>
                    <a:pt x="1832" y="3518"/>
                    <a:pt x="1843" y="3530"/>
                  </a:cubicBezTo>
                  <a:cubicBezTo>
                    <a:pt x="1843" y="3541"/>
                    <a:pt x="1843" y="3541"/>
                    <a:pt x="1854" y="3541"/>
                  </a:cubicBezTo>
                  <a:lnTo>
                    <a:pt x="1854" y="3544"/>
                  </a:lnTo>
                  <a:lnTo>
                    <a:pt x="1854" y="3544"/>
                  </a:lnTo>
                  <a:cubicBezTo>
                    <a:pt x="1839" y="3549"/>
                    <a:pt x="1823" y="3555"/>
                    <a:pt x="1806" y="3555"/>
                  </a:cubicBezTo>
                  <a:lnTo>
                    <a:pt x="1795" y="3555"/>
                  </a:lnTo>
                  <a:lnTo>
                    <a:pt x="1784" y="3566"/>
                  </a:lnTo>
                  <a:lnTo>
                    <a:pt x="1784" y="3611"/>
                  </a:lnTo>
                  <a:lnTo>
                    <a:pt x="1784" y="3625"/>
                  </a:lnTo>
                  <a:lnTo>
                    <a:pt x="1725" y="3625"/>
                  </a:lnTo>
                  <a:lnTo>
                    <a:pt x="1714" y="3636"/>
                  </a:lnTo>
                  <a:cubicBezTo>
                    <a:pt x="1692" y="3669"/>
                    <a:pt x="1678" y="3717"/>
                    <a:pt x="1678" y="3765"/>
                  </a:cubicBezTo>
                  <a:cubicBezTo>
                    <a:pt x="1678" y="3820"/>
                    <a:pt x="1692" y="3879"/>
                    <a:pt x="1714" y="3938"/>
                  </a:cubicBezTo>
                  <a:cubicBezTo>
                    <a:pt x="1725" y="3974"/>
                    <a:pt x="1725" y="4008"/>
                    <a:pt x="1725" y="4044"/>
                  </a:cubicBezTo>
                  <a:cubicBezTo>
                    <a:pt x="1725" y="4078"/>
                    <a:pt x="1725" y="4100"/>
                    <a:pt x="1714" y="4125"/>
                  </a:cubicBezTo>
                  <a:cubicBezTo>
                    <a:pt x="1714" y="4133"/>
                    <a:pt x="1703" y="4146"/>
                    <a:pt x="1692" y="4158"/>
                  </a:cubicBezTo>
                  <a:lnTo>
                    <a:pt x="1692" y="4158"/>
                  </a:lnTo>
                  <a:lnTo>
                    <a:pt x="1692" y="4125"/>
                  </a:lnTo>
                  <a:cubicBezTo>
                    <a:pt x="1692" y="4114"/>
                    <a:pt x="1692" y="4100"/>
                    <a:pt x="1678" y="4078"/>
                  </a:cubicBezTo>
                  <a:cubicBezTo>
                    <a:pt x="1678" y="4044"/>
                    <a:pt x="1655" y="4019"/>
                    <a:pt x="1622" y="4008"/>
                  </a:cubicBezTo>
                  <a:cubicBezTo>
                    <a:pt x="1597" y="3985"/>
                    <a:pt x="1574" y="3974"/>
                    <a:pt x="1552" y="3960"/>
                  </a:cubicBezTo>
                  <a:cubicBezTo>
                    <a:pt x="1527" y="3949"/>
                    <a:pt x="1516" y="3938"/>
                    <a:pt x="1504" y="3927"/>
                  </a:cubicBezTo>
                  <a:cubicBezTo>
                    <a:pt x="1493" y="3916"/>
                    <a:pt x="1493" y="3904"/>
                    <a:pt x="1493" y="3890"/>
                  </a:cubicBezTo>
                  <a:lnTo>
                    <a:pt x="1493" y="3868"/>
                  </a:lnTo>
                  <a:cubicBezTo>
                    <a:pt x="1516" y="3857"/>
                    <a:pt x="1527" y="3834"/>
                    <a:pt x="1538" y="3809"/>
                  </a:cubicBezTo>
                  <a:cubicBezTo>
                    <a:pt x="1538" y="3787"/>
                    <a:pt x="1552" y="3765"/>
                    <a:pt x="1552" y="3739"/>
                  </a:cubicBezTo>
                  <a:cubicBezTo>
                    <a:pt x="1552" y="3717"/>
                    <a:pt x="1538" y="3695"/>
                    <a:pt x="1538" y="3681"/>
                  </a:cubicBezTo>
                  <a:cubicBezTo>
                    <a:pt x="1538" y="3611"/>
                    <a:pt x="1527" y="3541"/>
                    <a:pt x="1516" y="3471"/>
                  </a:cubicBezTo>
                  <a:cubicBezTo>
                    <a:pt x="1482" y="3356"/>
                    <a:pt x="1435" y="3250"/>
                    <a:pt x="1376" y="3147"/>
                  </a:cubicBezTo>
                  <a:cubicBezTo>
                    <a:pt x="1342" y="3088"/>
                    <a:pt x="1306" y="3029"/>
                    <a:pt x="1247" y="2982"/>
                  </a:cubicBezTo>
                  <a:cubicBezTo>
                    <a:pt x="1214" y="2959"/>
                    <a:pt x="1166" y="2937"/>
                    <a:pt x="1119" y="2937"/>
                  </a:cubicBezTo>
                  <a:cubicBezTo>
                    <a:pt x="1102" y="2937"/>
                    <a:pt x="1089" y="2939"/>
                    <a:pt x="1076" y="2943"/>
                  </a:cubicBezTo>
                  <a:lnTo>
                    <a:pt x="1076" y="2943"/>
                  </a:lnTo>
                  <a:cubicBezTo>
                    <a:pt x="1083" y="2919"/>
                    <a:pt x="1101" y="2883"/>
                    <a:pt x="1119" y="2856"/>
                  </a:cubicBezTo>
                  <a:cubicBezTo>
                    <a:pt x="1133" y="2831"/>
                    <a:pt x="1144" y="2797"/>
                    <a:pt x="1144" y="2761"/>
                  </a:cubicBezTo>
                  <a:cubicBezTo>
                    <a:pt x="1144" y="2738"/>
                    <a:pt x="1133" y="2702"/>
                    <a:pt x="1107" y="2691"/>
                  </a:cubicBezTo>
                  <a:cubicBezTo>
                    <a:pt x="1085" y="2657"/>
                    <a:pt x="1049" y="2657"/>
                    <a:pt x="1026" y="2657"/>
                  </a:cubicBezTo>
                  <a:lnTo>
                    <a:pt x="956" y="2657"/>
                  </a:lnTo>
                  <a:cubicBezTo>
                    <a:pt x="898" y="2657"/>
                    <a:pt x="839" y="2657"/>
                    <a:pt x="783" y="2668"/>
                  </a:cubicBezTo>
                  <a:cubicBezTo>
                    <a:pt x="747" y="2680"/>
                    <a:pt x="724" y="2691"/>
                    <a:pt x="688" y="2716"/>
                  </a:cubicBezTo>
                  <a:cubicBezTo>
                    <a:pt x="677" y="2716"/>
                    <a:pt x="666" y="2727"/>
                    <a:pt x="654" y="2738"/>
                  </a:cubicBezTo>
                  <a:cubicBezTo>
                    <a:pt x="654" y="2761"/>
                    <a:pt x="643" y="2772"/>
                    <a:pt x="643" y="2797"/>
                  </a:cubicBezTo>
                  <a:lnTo>
                    <a:pt x="643" y="2819"/>
                  </a:lnTo>
                  <a:cubicBezTo>
                    <a:pt x="654" y="2831"/>
                    <a:pt x="654" y="2842"/>
                    <a:pt x="666" y="2856"/>
                  </a:cubicBezTo>
                  <a:cubicBezTo>
                    <a:pt x="677" y="2856"/>
                    <a:pt x="677" y="2867"/>
                    <a:pt x="677" y="2878"/>
                  </a:cubicBezTo>
                  <a:cubicBezTo>
                    <a:pt x="688" y="2889"/>
                    <a:pt x="688" y="2889"/>
                    <a:pt x="688" y="2900"/>
                  </a:cubicBezTo>
                  <a:cubicBezTo>
                    <a:pt x="688" y="2926"/>
                    <a:pt x="677" y="2948"/>
                    <a:pt x="677" y="2970"/>
                  </a:cubicBezTo>
                  <a:cubicBezTo>
                    <a:pt x="666" y="2996"/>
                    <a:pt x="654" y="3018"/>
                    <a:pt x="654" y="3051"/>
                  </a:cubicBezTo>
                  <a:cubicBezTo>
                    <a:pt x="654" y="3065"/>
                    <a:pt x="654" y="3077"/>
                    <a:pt x="666" y="3088"/>
                  </a:cubicBezTo>
                  <a:cubicBezTo>
                    <a:pt x="666" y="3110"/>
                    <a:pt x="688" y="3121"/>
                    <a:pt x="699" y="3147"/>
                  </a:cubicBezTo>
                  <a:cubicBezTo>
                    <a:pt x="699" y="3158"/>
                    <a:pt x="713" y="3169"/>
                    <a:pt x="713" y="3180"/>
                  </a:cubicBezTo>
                  <a:lnTo>
                    <a:pt x="713" y="3191"/>
                  </a:lnTo>
                  <a:cubicBezTo>
                    <a:pt x="713" y="3205"/>
                    <a:pt x="713" y="3216"/>
                    <a:pt x="699" y="3228"/>
                  </a:cubicBezTo>
                  <a:cubicBezTo>
                    <a:pt x="699" y="3239"/>
                    <a:pt x="688" y="3261"/>
                    <a:pt x="677" y="3275"/>
                  </a:cubicBezTo>
                  <a:cubicBezTo>
                    <a:pt x="643" y="3309"/>
                    <a:pt x="618" y="3345"/>
                    <a:pt x="584" y="3379"/>
                  </a:cubicBezTo>
                  <a:lnTo>
                    <a:pt x="573" y="3390"/>
                  </a:lnTo>
                  <a:cubicBezTo>
                    <a:pt x="559" y="3379"/>
                    <a:pt x="559" y="3379"/>
                    <a:pt x="559" y="3367"/>
                  </a:cubicBezTo>
                  <a:cubicBezTo>
                    <a:pt x="548" y="3345"/>
                    <a:pt x="537" y="3298"/>
                    <a:pt x="526" y="3250"/>
                  </a:cubicBezTo>
                  <a:cubicBezTo>
                    <a:pt x="515" y="3239"/>
                    <a:pt x="515" y="3216"/>
                    <a:pt x="489" y="3205"/>
                  </a:cubicBezTo>
                  <a:cubicBezTo>
                    <a:pt x="478" y="3180"/>
                    <a:pt x="467" y="3169"/>
                    <a:pt x="445" y="3158"/>
                  </a:cubicBezTo>
                  <a:lnTo>
                    <a:pt x="350" y="3158"/>
                  </a:lnTo>
                  <a:cubicBezTo>
                    <a:pt x="316" y="3158"/>
                    <a:pt x="280" y="3135"/>
                    <a:pt x="246" y="3110"/>
                  </a:cubicBezTo>
                  <a:cubicBezTo>
                    <a:pt x="224" y="3077"/>
                    <a:pt x="199" y="3029"/>
                    <a:pt x="199" y="2996"/>
                  </a:cubicBezTo>
                  <a:cubicBezTo>
                    <a:pt x="199" y="2970"/>
                    <a:pt x="199" y="2948"/>
                    <a:pt x="210" y="2937"/>
                  </a:cubicBezTo>
                  <a:cubicBezTo>
                    <a:pt x="224" y="2926"/>
                    <a:pt x="235" y="2900"/>
                    <a:pt x="235" y="2878"/>
                  </a:cubicBezTo>
                  <a:lnTo>
                    <a:pt x="235" y="2867"/>
                  </a:lnTo>
                  <a:cubicBezTo>
                    <a:pt x="235" y="2842"/>
                    <a:pt x="224" y="2831"/>
                    <a:pt x="224" y="2808"/>
                  </a:cubicBezTo>
                  <a:cubicBezTo>
                    <a:pt x="199" y="2772"/>
                    <a:pt x="187" y="2749"/>
                    <a:pt x="165" y="2716"/>
                  </a:cubicBezTo>
                  <a:cubicBezTo>
                    <a:pt x="140" y="2680"/>
                    <a:pt x="117" y="2657"/>
                    <a:pt x="106" y="2632"/>
                  </a:cubicBezTo>
                  <a:cubicBezTo>
                    <a:pt x="84" y="2599"/>
                    <a:pt x="59" y="2576"/>
                    <a:pt x="48" y="2540"/>
                  </a:cubicBezTo>
                  <a:lnTo>
                    <a:pt x="48" y="2470"/>
                  </a:lnTo>
                  <a:lnTo>
                    <a:pt x="48" y="2436"/>
                  </a:lnTo>
                  <a:lnTo>
                    <a:pt x="48" y="2411"/>
                  </a:lnTo>
                  <a:lnTo>
                    <a:pt x="48" y="2378"/>
                  </a:lnTo>
                  <a:lnTo>
                    <a:pt x="48" y="2341"/>
                  </a:lnTo>
                  <a:lnTo>
                    <a:pt x="48" y="2283"/>
                  </a:lnTo>
                  <a:cubicBezTo>
                    <a:pt x="59" y="2260"/>
                    <a:pt x="70" y="2238"/>
                    <a:pt x="84" y="2227"/>
                  </a:cubicBezTo>
                  <a:cubicBezTo>
                    <a:pt x="95" y="2201"/>
                    <a:pt x="106" y="2190"/>
                    <a:pt x="117" y="2179"/>
                  </a:cubicBezTo>
                  <a:cubicBezTo>
                    <a:pt x="154" y="2157"/>
                    <a:pt x="187" y="2120"/>
                    <a:pt x="224" y="2098"/>
                  </a:cubicBezTo>
                  <a:cubicBezTo>
                    <a:pt x="246" y="2073"/>
                    <a:pt x="268" y="2062"/>
                    <a:pt x="280" y="2039"/>
                  </a:cubicBezTo>
                  <a:cubicBezTo>
                    <a:pt x="294" y="2003"/>
                    <a:pt x="294" y="1981"/>
                    <a:pt x="294" y="1958"/>
                  </a:cubicBezTo>
                  <a:cubicBezTo>
                    <a:pt x="294" y="1933"/>
                    <a:pt x="305" y="1911"/>
                    <a:pt x="305" y="1877"/>
                  </a:cubicBezTo>
                  <a:lnTo>
                    <a:pt x="305" y="1852"/>
                  </a:lnTo>
                  <a:cubicBezTo>
                    <a:pt x="305" y="1851"/>
                    <a:pt x="305" y="1850"/>
                    <a:pt x="304" y="1848"/>
                  </a:cubicBezTo>
                  <a:lnTo>
                    <a:pt x="304" y="1848"/>
                  </a:lnTo>
                  <a:cubicBezTo>
                    <a:pt x="322" y="1845"/>
                    <a:pt x="336" y="1841"/>
                    <a:pt x="350" y="1841"/>
                  </a:cubicBezTo>
                  <a:cubicBezTo>
                    <a:pt x="397" y="1830"/>
                    <a:pt x="433" y="1807"/>
                    <a:pt x="467" y="1807"/>
                  </a:cubicBezTo>
                  <a:cubicBezTo>
                    <a:pt x="478" y="1807"/>
                    <a:pt x="478" y="1818"/>
                    <a:pt x="489" y="1818"/>
                  </a:cubicBezTo>
                  <a:cubicBezTo>
                    <a:pt x="503" y="1818"/>
                    <a:pt x="526" y="1830"/>
                    <a:pt x="537" y="1830"/>
                  </a:cubicBezTo>
                  <a:cubicBezTo>
                    <a:pt x="559" y="1841"/>
                    <a:pt x="573" y="1852"/>
                    <a:pt x="596" y="1852"/>
                  </a:cubicBezTo>
                  <a:cubicBezTo>
                    <a:pt x="618" y="1852"/>
                    <a:pt x="629" y="1841"/>
                    <a:pt x="643" y="1830"/>
                  </a:cubicBezTo>
                  <a:cubicBezTo>
                    <a:pt x="654" y="1830"/>
                    <a:pt x="666" y="1818"/>
                    <a:pt x="666" y="1807"/>
                  </a:cubicBezTo>
                  <a:cubicBezTo>
                    <a:pt x="677" y="1793"/>
                    <a:pt x="677" y="1782"/>
                    <a:pt x="677" y="1771"/>
                  </a:cubicBezTo>
                  <a:cubicBezTo>
                    <a:pt x="677" y="1744"/>
                    <a:pt x="670" y="1723"/>
                    <a:pt x="661" y="1704"/>
                  </a:cubicBezTo>
                  <a:lnTo>
                    <a:pt x="661" y="1704"/>
                  </a:lnTo>
                  <a:cubicBezTo>
                    <a:pt x="695" y="1663"/>
                    <a:pt x="750" y="1630"/>
                    <a:pt x="805" y="1620"/>
                  </a:cubicBezTo>
                  <a:cubicBezTo>
                    <a:pt x="817" y="1609"/>
                    <a:pt x="839" y="1609"/>
                    <a:pt x="853" y="1583"/>
                  </a:cubicBezTo>
                  <a:cubicBezTo>
                    <a:pt x="864" y="1572"/>
                    <a:pt x="864" y="1561"/>
                    <a:pt x="864" y="1550"/>
                  </a:cubicBezTo>
                  <a:cubicBezTo>
                    <a:pt x="864" y="1528"/>
                    <a:pt x="864" y="1514"/>
                    <a:pt x="853" y="1502"/>
                  </a:cubicBezTo>
                  <a:cubicBezTo>
                    <a:pt x="839" y="1480"/>
                    <a:pt x="828" y="1469"/>
                    <a:pt x="817" y="1469"/>
                  </a:cubicBezTo>
                  <a:cubicBezTo>
                    <a:pt x="794" y="1458"/>
                    <a:pt x="783" y="1444"/>
                    <a:pt x="758" y="1444"/>
                  </a:cubicBezTo>
                  <a:cubicBezTo>
                    <a:pt x="747" y="1432"/>
                    <a:pt x="735" y="1432"/>
                    <a:pt x="724" y="1421"/>
                  </a:cubicBezTo>
                  <a:cubicBezTo>
                    <a:pt x="713" y="1410"/>
                    <a:pt x="713" y="1399"/>
                    <a:pt x="699" y="1374"/>
                  </a:cubicBezTo>
                  <a:cubicBezTo>
                    <a:pt x="699" y="1363"/>
                    <a:pt x="688" y="1340"/>
                    <a:pt x="677" y="1318"/>
                  </a:cubicBezTo>
                  <a:cubicBezTo>
                    <a:pt x="677" y="1304"/>
                    <a:pt x="666" y="1281"/>
                    <a:pt x="643" y="1270"/>
                  </a:cubicBezTo>
                  <a:cubicBezTo>
                    <a:pt x="629" y="1259"/>
                    <a:pt x="607" y="1259"/>
                    <a:pt x="596" y="1259"/>
                  </a:cubicBezTo>
                  <a:cubicBezTo>
                    <a:pt x="584" y="1259"/>
                    <a:pt x="559" y="1259"/>
                    <a:pt x="548" y="1270"/>
                  </a:cubicBezTo>
                  <a:cubicBezTo>
                    <a:pt x="537" y="1270"/>
                    <a:pt x="537" y="1281"/>
                    <a:pt x="526" y="1293"/>
                  </a:cubicBezTo>
                  <a:cubicBezTo>
                    <a:pt x="526" y="1293"/>
                    <a:pt x="526" y="1304"/>
                    <a:pt x="515" y="1304"/>
                  </a:cubicBezTo>
                  <a:cubicBezTo>
                    <a:pt x="503" y="1304"/>
                    <a:pt x="489" y="1304"/>
                    <a:pt x="489" y="1293"/>
                  </a:cubicBezTo>
                  <a:cubicBezTo>
                    <a:pt x="478" y="1293"/>
                    <a:pt x="478" y="1281"/>
                    <a:pt x="467" y="1281"/>
                  </a:cubicBezTo>
                  <a:lnTo>
                    <a:pt x="467" y="1259"/>
                  </a:lnTo>
                  <a:cubicBezTo>
                    <a:pt x="467" y="1234"/>
                    <a:pt x="478" y="1212"/>
                    <a:pt x="489" y="1189"/>
                  </a:cubicBezTo>
                  <a:cubicBezTo>
                    <a:pt x="515" y="1164"/>
                    <a:pt x="537" y="1130"/>
                    <a:pt x="537" y="1083"/>
                  </a:cubicBezTo>
                  <a:lnTo>
                    <a:pt x="537" y="1072"/>
                  </a:lnTo>
                  <a:cubicBezTo>
                    <a:pt x="537" y="1038"/>
                    <a:pt x="526" y="1002"/>
                    <a:pt x="515" y="979"/>
                  </a:cubicBezTo>
                  <a:cubicBezTo>
                    <a:pt x="503" y="943"/>
                    <a:pt x="503" y="921"/>
                    <a:pt x="503" y="898"/>
                  </a:cubicBezTo>
                  <a:cubicBezTo>
                    <a:pt x="503" y="862"/>
                    <a:pt x="515" y="828"/>
                    <a:pt x="537" y="803"/>
                  </a:cubicBezTo>
                  <a:cubicBezTo>
                    <a:pt x="548" y="781"/>
                    <a:pt x="573" y="770"/>
                    <a:pt x="584" y="759"/>
                  </a:cubicBezTo>
                  <a:cubicBezTo>
                    <a:pt x="607" y="745"/>
                    <a:pt x="618" y="733"/>
                    <a:pt x="643" y="733"/>
                  </a:cubicBezTo>
                  <a:cubicBezTo>
                    <a:pt x="654" y="733"/>
                    <a:pt x="677" y="745"/>
                    <a:pt x="688" y="759"/>
                  </a:cubicBezTo>
                  <a:cubicBezTo>
                    <a:pt x="699" y="770"/>
                    <a:pt x="699" y="781"/>
                    <a:pt x="699" y="792"/>
                  </a:cubicBezTo>
                  <a:lnTo>
                    <a:pt x="699" y="803"/>
                  </a:lnTo>
                  <a:lnTo>
                    <a:pt x="688" y="851"/>
                  </a:lnTo>
                  <a:lnTo>
                    <a:pt x="735" y="828"/>
                  </a:lnTo>
                  <a:lnTo>
                    <a:pt x="747" y="828"/>
                  </a:lnTo>
                  <a:cubicBezTo>
                    <a:pt x="758" y="828"/>
                    <a:pt x="769" y="828"/>
                    <a:pt x="794" y="840"/>
                  </a:cubicBezTo>
                  <a:cubicBezTo>
                    <a:pt x="805" y="851"/>
                    <a:pt x="817" y="862"/>
                    <a:pt x="839" y="873"/>
                  </a:cubicBezTo>
                  <a:cubicBezTo>
                    <a:pt x="864" y="898"/>
                    <a:pt x="898" y="921"/>
                    <a:pt x="934" y="921"/>
                  </a:cubicBezTo>
                  <a:cubicBezTo>
                    <a:pt x="956" y="921"/>
                    <a:pt x="979" y="921"/>
                    <a:pt x="993" y="898"/>
                  </a:cubicBezTo>
                  <a:cubicBezTo>
                    <a:pt x="1015" y="873"/>
                    <a:pt x="1026" y="851"/>
                    <a:pt x="1026" y="828"/>
                  </a:cubicBezTo>
                  <a:cubicBezTo>
                    <a:pt x="1037" y="815"/>
                    <a:pt x="1037" y="803"/>
                    <a:pt x="1037" y="803"/>
                  </a:cubicBezTo>
                  <a:lnTo>
                    <a:pt x="1049" y="792"/>
                  </a:lnTo>
                  <a:lnTo>
                    <a:pt x="1049" y="803"/>
                  </a:lnTo>
                  <a:lnTo>
                    <a:pt x="1063" y="803"/>
                  </a:lnTo>
                  <a:cubicBezTo>
                    <a:pt x="1063" y="803"/>
                    <a:pt x="1063" y="815"/>
                    <a:pt x="1074" y="815"/>
                  </a:cubicBezTo>
                  <a:cubicBezTo>
                    <a:pt x="1074" y="828"/>
                    <a:pt x="1085" y="840"/>
                    <a:pt x="1096" y="851"/>
                  </a:cubicBezTo>
                  <a:cubicBezTo>
                    <a:pt x="1107" y="862"/>
                    <a:pt x="1133" y="873"/>
                    <a:pt x="1155" y="873"/>
                  </a:cubicBezTo>
                  <a:cubicBezTo>
                    <a:pt x="1177" y="873"/>
                    <a:pt x="1202" y="862"/>
                    <a:pt x="1225" y="840"/>
                  </a:cubicBezTo>
                  <a:cubicBezTo>
                    <a:pt x="1247" y="828"/>
                    <a:pt x="1258" y="803"/>
                    <a:pt x="1272" y="781"/>
                  </a:cubicBezTo>
                  <a:cubicBezTo>
                    <a:pt x="1272" y="759"/>
                    <a:pt x="1284" y="745"/>
                    <a:pt x="1284" y="722"/>
                  </a:cubicBezTo>
                  <a:cubicBezTo>
                    <a:pt x="1284" y="675"/>
                    <a:pt x="1258" y="630"/>
                    <a:pt x="1258" y="594"/>
                  </a:cubicBezTo>
                  <a:lnTo>
                    <a:pt x="1258" y="582"/>
                  </a:lnTo>
                  <a:lnTo>
                    <a:pt x="1258" y="571"/>
                  </a:lnTo>
                  <a:lnTo>
                    <a:pt x="1272" y="560"/>
                  </a:lnTo>
                  <a:cubicBezTo>
                    <a:pt x="1328" y="535"/>
                    <a:pt x="1376" y="524"/>
                    <a:pt x="1423" y="501"/>
                  </a:cubicBezTo>
                  <a:cubicBezTo>
                    <a:pt x="1446" y="490"/>
                    <a:pt x="1457" y="479"/>
                    <a:pt x="1482" y="465"/>
                  </a:cubicBezTo>
                  <a:cubicBezTo>
                    <a:pt x="1493" y="443"/>
                    <a:pt x="1504" y="420"/>
                    <a:pt x="1504" y="409"/>
                  </a:cubicBezTo>
                  <a:cubicBezTo>
                    <a:pt x="1516" y="395"/>
                    <a:pt x="1527" y="384"/>
                    <a:pt x="1538" y="373"/>
                  </a:cubicBezTo>
                  <a:cubicBezTo>
                    <a:pt x="1552" y="362"/>
                    <a:pt x="1574" y="350"/>
                    <a:pt x="1586" y="325"/>
                  </a:cubicBezTo>
                  <a:cubicBezTo>
                    <a:pt x="1608" y="303"/>
                    <a:pt x="1608" y="269"/>
                    <a:pt x="1608" y="233"/>
                  </a:cubicBezTo>
                  <a:cubicBezTo>
                    <a:pt x="1608" y="185"/>
                    <a:pt x="1608" y="152"/>
                    <a:pt x="1597" y="115"/>
                  </a:cubicBezTo>
                  <a:lnTo>
                    <a:pt x="1597" y="82"/>
                  </a:lnTo>
                  <a:cubicBezTo>
                    <a:pt x="1597" y="78"/>
                    <a:pt x="1597" y="75"/>
                    <a:pt x="1597" y="71"/>
                  </a:cubicBezTo>
                  <a:close/>
                  <a:moveTo>
                    <a:pt x="1574" y="1"/>
                  </a:moveTo>
                  <a:lnTo>
                    <a:pt x="1563" y="23"/>
                  </a:lnTo>
                  <a:cubicBezTo>
                    <a:pt x="1552" y="46"/>
                    <a:pt x="1552" y="60"/>
                    <a:pt x="1552" y="82"/>
                  </a:cubicBezTo>
                  <a:lnTo>
                    <a:pt x="1552" y="129"/>
                  </a:lnTo>
                  <a:cubicBezTo>
                    <a:pt x="1563" y="163"/>
                    <a:pt x="1563" y="199"/>
                    <a:pt x="1563" y="233"/>
                  </a:cubicBezTo>
                  <a:cubicBezTo>
                    <a:pt x="1563" y="255"/>
                    <a:pt x="1563" y="280"/>
                    <a:pt x="1552" y="303"/>
                  </a:cubicBezTo>
                  <a:cubicBezTo>
                    <a:pt x="1538" y="314"/>
                    <a:pt x="1527" y="325"/>
                    <a:pt x="1504" y="339"/>
                  </a:cubicBezTo>
                  <a:cubicBezTo>
                    <a:pt x="1493" y="350"/>
                    <a:pt x="1482" y="362"/>
                    <a:pt x="1468" y="384"/>
                  </a:cubicBezTo>
                  <a:cubicBezTo>
                    <a:pt x="1457" y="409"/>
                    <a:pt x="1446" y="420"/>
                    <a:pt x="1446" y="431"/>
                  </a:cubicBezTo>
                  <a:cubicBezTo>
                    <a:pt x="1435" y="443"/>
                    <a:pt x="1423" y="443"/>
                    <a:pt x="1398" y="454"/>
                  </a:cubicBezTo>
                  <a:cubicBezTo>
                    <a:pt x="1353" y="479"/>
                    <a:pt x="1306" y="501"/>
                    <a:pt x="1258" y="524"/>
                  </a:cubicBezTo>
                  <a:cubicBezTo>
                    <a:pt x="1247" y="524"/>
                    <a:pt x="1225" y="524"/>
                    <a:pt x="1214" y="549"/>
                  </a:cubicBezTo>
                  <a:lnTo>
                    <a:pt x="1214" y="582"/>
                  </a:lnTo>
                  <a:lnTo>
                    <a:pt x="1214" y="594"/>
                  </a:lnTo>
                  <a:cubicBezTo>
                    <a:pt x="1214" y="641"/>
                    <a:pt x="1236" y="689"/>
                    <a:pt x="1236" y="722"/>
                  </a:cubicBezTo>
                  <a:cubicBezTo>
                    <a:pt x="1236" y="733"/>
                    <a:pt x="1225" y="759"/>
                    <a:pt x="1225" y="770"/>
                  </a:cubicBezTo>
                  <a:cubicBezTo>
                    <a:pt x="1225" y="781"/>
                    <a:pt x="1214" y="792"/>
                    <a:pt x="1202" y="803"/>
                  </a:cubicBezTo>
                  <a:cubicBezTo>
                    <a:pt x="1177" y="815"/>
                    <a:pt x="1166" y="828"/>
                    <a:pt x="1155" y="828"/>
                  </a:cubicBezTo>
                  <a:cubicBezTo>
                    <a:pt x="1144" y="828"/>
                    <a:pt x="1133" y="828"/>
                    <a:pt x="1133" y="815"/>
                  </a:cubicBezTo>
                  <a:cubicBezTo>
                    <a:pt x="1119" y="803"/>
                    <a:pt x="1107" y="792"/>
                    <a:pt x="1107" y="781"/>
                  </a:cubicBezTo>
                  <a:cubicBezTo>
                    <a:pt x="1096" y="781"/>
                    <a:pt x="1096" y="770"/>
                    <a:pt x="1085" y="759"/>
                  </a:cubicBezTo>
                  <a:lnTo>
                    <a:pt x="1049" y="759"/>
                  </a:lnTo>
                  <a:lnTo>
                    <a:pt x="1049" y="745"/>
                  </a:lnTo>
                  <a:cubicBezTo>
                    <a:pt x="1026" y="745"/>
                    <a:pt x="1015" y="759"/>
                    <a:pt x="1004" y="770"/>
                  </a:cubicBezTo>
                  <a:cubicBezTo>
                    <a:pt x="993" y="792"/>
                    <a:pt x="993" y="803"/>
                    <a:pt x="979" y="828"/>
                  </a:cubicBezTo>
                  <a:cubicBezTo>
                    <a:pt x="968" y="851"/>
                    <a:pt x="968" y="862"/>
                    <a:pt x="956" y="862"/>
                  </a:cubicBezTo>
                  <a:cubicBezTo>
                    <a:pt x="956" y="873"/>
                    <a:pt x="945" y="873"/>
                    <a:pt x="934" y="873"/>
                  </a:cubicBezTo>
                  <a:cubicBezTo>
                    <a:pt x="923" y="873"/>
                    <a:pt x="886" y="862"/>
                    <a:pt x="864" y="840"/>
                  </a:cubicBezTo>
                  <a:cubicBezTo>
                    <a:pt x="853" y="828"/>
                    <a:pt x="828" y="815"/>
                    <a:pt x="817" y="803"/>
                  </a:cubicBezTo>
                  <a:cubicBezTo>
                    <a:pt x="794" y="792"/>
                    <a:pt x="769" y="781"/>
                    <a:pt x="747" y="781"/>
                  </a:cubicBezTo>
                  <a:cubicBezTo>
                    <a:pt x="746" y="781"/>
                    <a:pt x="746" y="781"/>
                    <a:pt x="746" y="781"/>
                  </a:cubicBezTo>
                  <a:lnTo>
                    <a:pt x="746" y="781"/>
                  </a:lnTo>
                  <a:cubicBezTo>
                    <a:pt x="744" y="753"/>
                    <a:pt x="734" y="732"/>
                    <a:pt x="724" y="722"/>
                  </a:cubicBezTo>
                  <a:cubicBezTo>
                    <a:pt x="699" y="700"/>
                    <a:pt x="677" y="689"/>
                    <a:pt x="643" y="689"/>
                  </a:cubicBezTo>
                  <a:cubicBezTo>
                    <a:pt x="607" y="689"/>
                    <a:pt x="584" y="700"/>
                    <a:pt x="559" y="722"/>
                  </a:cubicBezTo>
                  <a:cubicBezTo>
                    <a:pt x="537" y="733"/>
                    <a:pt x="515" y="759"/>
                    <a:pt x="503" y="770"/>
                  </a:cubicBezTo>
                  <a:cubicBezTo>
                    <a:pt x="478" y="803"/>
                    <a:pt x="456" y="851"/>
                    <a:pt x="456" y="898"/>
                  </a:cubicBezTo>
                  <a:cubicBezTo>
                    <a:pt x="456" y="932"/>
                    <a:pt x="467" y="968"/>
                    <a:pt x="467" y="991"/>
                  </a:cubicBezTo>
                  <a:cubicBezTo>
                    <a:pt x="478" y="1024"/>
                    <a:pt x="489" y="1049"/>
                    <a:pt x="489" y="1072"/>
                  </a:cubicBezTo>
                  <a:lnTo>
                    <a:pt x="489" y="1083"/>
                  </a:lnTo>
                  <a:cubicBezTo>
                    <a:pt x="489" y="1108"/>
                    <a:pt x="467" y="1142"/>
                    <a:pt x="456" y="1164"/>
                  </a:cubicBezTo>
                  <a:cubicBezTo>
                    <a:pt x="433" y="1200"/>
                    <a:pt x="419" y="1223"/>
                    <a:pt x="419" y="1259"/>
                  </a:cubicBezTo>
                  <a:cubicBezTo>
                    <a:pt x="419" y="1270"/>
                    <a:pt x="419" y="1281"/>
                    <a:pt x="433" y="1293"/>
                  </a:cubicBezTo>
                  <a:cubicBezTo>
                    <a:pt x="433" y="1304"/>
                    <a:pt x="445" y="1329"/>
                    <a:pt x="456" y="1329"/>
                  </a:cubicBezTo>
                  <a:cubicBezTo>
                    <a:pt x="467" y="1340"/>
                    <a:pt x="489" y="1351"/>
                    <a:pt x="515" y="1351"/>
                  </a:cubicBezTo>
                  <a:cubicBezTo>
                    <a:pt x="526" y="1351"/>
                    <a:pt x="537" y="1351"/>
                    <a:pt x="548" y="1340"/>
                  </a:cubicBezTo>
                  <a:cubicBezTo>
                    <a:pt x="559" y="1329"/>
                    <a:pt x="559" y="1329"/>
                    <a:pt x="573" y="1318"/>
                  </a:cubicBezTo>
                  <a:cubicBezTo>
                    <a:pt x="573" y="1304"/>
                    <a:pt x="573" y="1304"/>
                    <a:pt x="584" y="1304"/>
                  </a:cubicBezTo>
                  <a:lnTo>
                    <a:pt x="596" y="1304"/>
                  </a:lnTo>
                  <a:cubicBezTo>
                    <a:pt x="596" y="1300"/>
                    <a:pt x="597" y="1299"/>
                    <a:pt x="599" y="1299"/>
                  </a:cubicBezTo>
                  <a:cubicBezTo>
                    <a:pt x="603" y="1299"/>
                    <a:pt x="611" y="1304"/>
                    <a:pt x="618" y="1304"/>
                  </a:cubicBezTo>
                  <a:cubicBezTo>
                    <a:pt x="629" y="1318"/>
                    <a:pt x="629" y="1329"/>
                    <a:pt x="643" y="1340"/>
                  </a:cubicBezTo>
                  <a:cubicBezTo>
                    <a:pt x="643" y="1351"/>
                    <a:pt x="654" y="1374"/>
                    <a:pt x="654" y="1399"/>
                  </a:cubicBezTo>
                  <a:cubicBezTo>
                    <a:pt x="666" y="1410"/>
                    <a:pt x="677" y="1432"/>
                    <a:pt x="688" y="1458"/>
                  </a:cubicBezTo>
                  <a:cubicBezTo>
                    <a:pt x="713" y="1469"/>
                    <a:pt x="724" y="1480"/>
                    <a:pt x="747" y="1480"/>
                  </a:cubicBezTo>
                  <a:cubicBezTo>
                    <a:pt x="758" y="1491"/>
                    <a:pt x="783" y="1502"/>
                    <a:pt x="794" y="1502"/>
                  </a:cubicBezTo>
                  <a:cubicBezTo>
                    <a:pt x="805" y="1502"/>
                    <a:pt x="805" y="1514"/>
                    <a:pt x="817" y="1528"/>
                  </a:cubicBezTo>
                  <a:lnTo>
                    <a:pt x="817" y="1550"/>
                  </a:lnTo>
                  <a:lnTo>
                    <a:pt x="817" y="1561"/>
                  </a:lnTo>
                  <a:cubicBezTo>
                    <a:pt x="817" y="1561"/>
                    <a:pt x="805" y="1561"/>
                    <a:pt x="794" y="1572"/>
                  </a:cubicBezTo>
                  <a:cubicBezTo>
                    <a:pt x="724" y="1597"/>
                    <a:pt x="666" y="1631"/>
                    <a:pt x="618" y="1679"/>
                  </a:cubicBezTo>
                  <a:lnTo>
                    <a:pt x="607" y="1690"/>
                  </a:lnTo>
                  <a:lnTo>
                    <a:pt x="607" y="1701"/>
                  </a:lnTo>
                  <a:cubicBezTo>
                    <a:pt x="618" y="1723"/>
                    <a:pt x="629" y="1748"/>
                    <a:pt x="629" y="1771"/>
                  </a:cubicBezTo>
                  <a:lnTo>
                    <a:pt x="629" y="1782"/>
                  </a:lnTo>
                  <a:lnTo>
                    <a:pt x="618" y="1793"/>
                  </a:lnTo>
                  <a:cubicBezTo>
                    <a:pt x="607" y="1807"/>
                    <a:pt x="607" y="1807"/>
                    <a:pt x="596" y="1807"/>
                  </a:cubicBezTo>
                  <a:cubicBezTo>
                    <a:pt x="584" y="1807"/>
                    <a:pt x="573" y="1793"/>
                    <a:pt x="559" y="1793"/>
                  </a:cubicBezTo>
                  <a:cubicBezTo>
                    <a:pt x="537" y="1782"/>
                    <a:pt x="526" y="1771"/>
                    <a:pt x="503" y="1771"/>
                  </a:cubicBezTo>
                  <a:cubicBezTo>
                    <a:pt x="489" y="1771"/>
                    <a:pt x="478" y="1760"/>
                    <a:pt x="467" y="1760"/>
                  </a:cubicBezTo>
                  <a:cubicBezTo>
                    <a:pt x="419" y="1771"/>
                    <a:pt x="386" y="1782"/>
                    <a:pt x="338" y="1793"/>
                  </a:cubicBezTo>
                  <a:cubicBezTo>
                    <a:pt x="316" y="1793"/>
                    <a:pt x="294" y="1807"/>
                    <a:pt x="268" y="1807"/>
                  </a:cubicBezTo>
                  <a:lnTo>
                    <a:pt x="235" y="1807"/>
                  </a:lnTo>
                  <a:lnTo>
                    <a:pt x="246" y="1830"/>
                  </a:lnTo>
                  <a:cubicBezTo>
                    <a:pt x="257" y="1841"/>
                    <a:pt x="257" y="1852"/>
                    <a:pt x="257" y="1863"/>
                  </a:cubicBezTo>
                  <a:lnTo>
                    <a:pt x="257" y="1877"/>
                  </a:lnTo>
                  <a:cubicBezTo>
                    <a:pt x="257" y="1899"/>
                    <a:pt x="257" y="1922"/>
                    <a:pt x="246" y="1958"/>
                  </a:cubicBezTo>
                  <a:cubicBezTo>
                    <a:pt x="246" y="1981"/>
                    <a:pt x="246" y="1992"/>
                    <a:pt x="235" y="2017"/>
                  </a:cubicBezTo>
                  <a:cubicBezTo>
                    <a:pt x="224" y="2028"/>
                    <a:pt x="210" y="2039"/>
                    <a:pt x="187" y="2062"/>
                  </a:cubicBezTo>
                  <a:cubicBezTo>
                    <a:pt x="165" y="2087"/>
                    <a:pt x="129" y="2120"/>
                    <a:pt x="95" y="2143"/>
                  </a:cubicBezTo>
                  <a:cubicBezTo>
                    <a:pt x="70" y="2157"/>
                    <a:pt x="59" y="2179"/>
                    <a:pt x="48" y="2190"/>
                  </a:cubicBezTo>
                  <a:cubicBezTo>
                    <a:pt x="25" y="2213"/>
                    <a:pt x="14" y="2238"/>
                    <a:pt x="14" y="2271"/>
                  </a:cubicBezTo>
                  <a:cubicBezTo>
                    <a:pt x="0" y="2297"/>
                    <a:pt x="0" y="2319"/>
                    <a:pt x="0" y="2341"/>
                  </a:cubicBezTo>
                  <a:lnTo>
                    <a:pt x="0" y="2378"/>
                  </a:lnTo>
                  <a:lnTo>
                    <a:pt x="0" y="2411"/>
                  </a:lnTo>
                  <a:lnTo>
                    <a:pt x="0" y="2436"/>
                  </a:lnTo>
                  <a:lnTo>
                    <a:pt x="0" y="2470"/>
                  </a:lnTo>
                  <a:lnTo>
                    <a:pt x="0" y="2551"/>
                  </a:lnTo>
                  <a:cubicBezTo>
                    <a:pt x="14" y="2599"/>
                    <a:pt x="36" y="2632"/>
                    <a:pt x="59" y="2657"/>
                  </a:cubicBezTo>
                  <a:cubicBezTo>
                    <a:pt x="84" y="2691"/>
                    <a:pt x="106" y="2716"/>
                    <a:pt x="129" y="2738"/>
                  </a:cubicBezTo>
                  <a:cubicBezTo>
                    <a:pt x="140" y="2761"/>
                    <a:pt x="165" y="2797"/>
                    <a:pt x="176" y="2831"/>
                  </a:cubicBezTo>
                  <a:cubicBezTo>
                    <a:pt x="187" y="2842"/>
                    <a:pt x="187" y="2856"/>
                    <a:pt x="187" y="2867"/>
                  </a:cubicBezTo>
                  <a:lnTo>
                    <a:pt x="187" y="2878"/>
                  </a:lnTo>
                  <a:cubicBezTo>
                    <a:pt x="187" y="2878"/>
                    <a:pt x="176" y="2900"/>
                    <a:pt x="176" y="2912"/>
                  </a:cubicBezTo>
                  <a:cubicBezTo>
                    <a:pt x="165" y="2937"/>
                    <a:pt x="154" y="2970"/>
                    <a:pt x="154" y="2996"/>
                  </a:cubicBezTo>
                  <a:cubicBezTo>
                    <a:pt x="154" y="3040"/>
                    <a:pt x="176" y="3099"/>
                    <a:pt x="210" y="3135"/>
                  </a:cubicBezTo>
                  <a:cubicBezTo>
                    <a:pt x="246" y="3180"/>
                    <a:pt x="305" y="3205"/>
                    <a:pt x="350" y="3205"/>
                  </a:cubicBezTo>
                  <a:lnTo>
                    <a:pt x="433" y="3205"/>
                  </a:lnTo>
                  <a:cubicBezTo>
                    <a:pt x="445" y="3216"/>
                    <a:pt x="456" y="3216"/>
                    <a:pt x="456" y="3228"/>
                  </a:cubicBezTo>
                  <a:cubicBezTo>
                    <a:pt x="467" y="3239"/>
                    <a:pt x="478" y="3275"/>
                    <a:pt x="489" y="3298"/>
                  </a:cubicBezTo>
                  <a:cubicBezTo>
                    <a:pt x="503" y="3331"/>
                    <a:pt x="503" y="3356"/>
                    <a:pt x="515" y="3390"/>
                  </a:cubicBezTo>
                  <a:cubicBezTo>
                    <a:pt x="526" y="3401"/>
                    <a:pt x="526" y="3415"/>
                    <a:pt x="537" y="3415"/>
                  </a:cubicBezTo>
                  <a:cubicBezTo>
                    <a:pt x="548" y="3426"/>
                    <a:pt x="559" y="3437"/>
                    <a:pt x="573" y="3437"/>
                  </a:cubicBezTo>
                  <a:lnTo>
                    <a:pt x="584" y="3437"/>
                  </a:lnTo>
                  <a:cubicBezTo>
                    <a:pt x="596" y="3437"/>
                    <a:pt x="596" y="3426"/>
                    <a:pt x="607" y="3426"/>
                  </a:cubicBezTo>
                  <a:lnTo>
                    <a:pt x="618" y="3415"/>
                  </a:lnTo>
                  <a:cubicBezTo>
                    <a:pt x="654" y="3379"/>
                    <a:pt x="677" y="3345"/>
                    <a:pt x="713" y="3298"/>
                  </a:cubicBezTo>
                  <a:cubicBezTo>
                    <a:pt x="724" y="3286"/>
                    <a:pt x="735" y="3275"/>
                    <a:pt x="747" y="3250"/>
                  </a:cubicBezTo>
                  <a:cubicBezTo>
                    <a:pt x="758" y="3239"/>
                    <a:pt x="758" y="3216"/>
                    <a:pt x="758" y="3191"/>
                  </a:cubicBezTo>
                  <a:lnTo>
                    <a:pt x="758" y="3180"/>
                  </a:lnTo>
                  <a:cubicBezTo>
                    <a:pt x="758" y="3158"/>
                    <a:pt x="747" y="3135"/>
                    <a:pt x="735" y="3110"/>
                  </a:cubicBezTo>
                  <a:cubicBezTo>
                    <a:pt x="724" y="3099"/>
                    <a:pt x="713" y="3088"/>
                    <a:pt x="713" y="3065"/>
                  </a:cubicBezTo>
                  <a:cubicBezTo>
                    <a:pt x="699" y="3065"/>
                    <a:pt x="699" y="3051"/>
                    <a:pt x="699" y="3051"/>
                  </a:cubicBezTo>
                  <a:cubicBezTo>
                    <a:pt x="699" y="3029"/>
                    <a:pt x="713" y="3007"/>
                    <a:pt x="713" y="2982"/>
                  </a:cubicBezTo>
                  <a:cubicBezTo>
                    <a:pt x="724" y="2959"/>
                    <a:pt x="735" y="2937"/>
                    <a:pt x="735" y="2900"/>
                  </a:cubicBezTo>
                  <a:cubicBezTo>
                    <a:pt x="735" y="2889"/>
                    <a:pt x="724" y="2867"/>
                    <a:pt x="724" y="2856"/>
                  </a:cubicBezTo>
                  <a:cubicBezTo>
                    <a:pt x="713" y="2842"/>
                    <a:pt x="713" y="2831"/>
                    <a:pt x="699" y="2819"/>
                  </a:cubicBezTo>
                  <a:cubicBezTo>
                    <a:pt x="699" y="2819"/>
                    <a:pt x="688" y="2808"/>
                    <a:pt x="688" y="2797"/>
                  </a:cubicBezTo>
                  <a:cubicBezTo>
                    <a:pt x="688" y="2786"/>
                    <a:pt x="688" y="2772"/>
                    <a:pt x="699" y="2772"/>
                  </a:cubicBezTo>
                  <a:cubicBezTo>
                    <a:pt x="699" y="2761"/>
                    <a:pt x="724" y="2749"/>
                    <a:pt x="735" y="2738"/>
                  </a:cubicBezTo>
                  <a:cubicBezTo>
                    <a:pt x="747" y="2727"/>
                    <a:pt x="769" y="2727"/>
                    <a:pt x="794" y="2716"/>
                  </a:cubicBezTo>
                  <a:cubicBezTo>
                    <a:pt x="853" y="2702"/>
                    <a:pt x="898" y="2702"/>
                    <a:pt x="956" y="2702"/>
                  </a:cubicBezTo>
                  <a:lnTo>
                    <a:pt x="1015" y="2702"/>
                  </a:lnTo>
                  <a:cubicBezTo>
                    <a:pt x="1049" y="2702"/>
                    <a:pt x="1074" y="2716"/>
                    <a:pt x="1085" y="2727"/>
                  </a:cubicBezTo>
                  <a:cubicBezTo>
                    <a:pt x="1096" y="2727"/>
                    <a:pt x="1096" y="2749"/>
                    <a:pt x="1096" y="2761"/>
                  </a:cubicBezTo>
                  <a:cubicBezTo>
                    <a:pt x="1096" y="2786"/>
                    <a:pt x="1085" y="2808"/>
                    <a:pt x="1074" y="2831"/>
                  </a:cubicBezTo>
                  <a:cubicBezTo>
                    <a:pt x="1063" y="2867"/>
                    <a:pt x="1026" y="2912"/>
                    <a:pt x="1026" y="2959"/>
                  </a:cubicBezTo>
                  <a:lnTo>
                    <a:pt x="1026" y="2982"/>
                  </a:lnTo>
                  <a:lnTo>
                    <a:pt x="1026" y="3018"/>
                  </a:lnTo>
                  <a:lnTo>
                    <a:pt x="1063" y="2996"/>
                  </a:lnTo>
                  <a:cubicBezTo>
                    <a:pt x="1074" y="2996"/>
                    <a:pt x="1096" y="2982"/>
                    <a:pt x="1119" y="2982"/>
                  </a:cubicBezTo>
                  <a:cubicBezTo>
                    <a:pt x="1155" y="2982"/>
                    <a:pt x="1188" y="2996"/>
                    <a:pt x="1225" y="3018"/>
                  </a:cubicBezTo>
                  <a:cubicBezTo>
                    <a:pt x="1272" y="3051"/>
                    <a:pt x="1306" y="3110"/>
                    <a:pt x="1328" y="3169"/>
                  </a:cubicBezTo>
                  <a:cubicBezTo>
                    <a:pt x="1387" y="3261"/>
                    <a:pt x="1446" y="3367"/>
                    <a:pt x="1468" y="3485"/>
                  </a:cubicBezTo>
                  <a:cubicBezTo>
                    <a:pt x="1482" y="3541"/>
                    <a:pt x="1493" y="3611"/>
                    <a:pt x="1493" y="3681"/>
                  </a:cubicBezTo>
                  <a:cubicBezTo>
                    <a:pt x="1493" y="3706"/>
                    <a:pt x="1504" y="3717"/>
                    <a:pt x="1504" y="3739"/>
                  </a:cubicBezTo>
                  <a:cubicBezTo>
                    <a:pt x="1504" y="3751"/>
                    <a:pt x="1493" y="3776"/>
                    <a:pt x="1493" y="3798"/>
                  </a:cubicBezTo>
                  <a:cubicBezTo>
                    <a:pt x="1482" y="3809"/>
                    <a:pt x="1482" y="3820"/>
                    <a:pt x="1468" y="3834"/>
                  </a:cubicBezTo>
                  <a:lnTo>
                    <a:pt x="1457" y="3834"/>
                  </a:lnTo>
                  <a:cubicBezTo>
                    <a:pt x="1446" y="3857"/>
                    <a:pt x="1446" y="3868"/>
                    <a:pt x="1446" y="3890"/>
                  </a:cubicBezTo>
                  <a:cubicBezTo>
                    <a:pt x="1446" y="3916"/>
                    <a:pt x="1457" y="3938"/>
                    <a:pt x="1468" y="3960"/>
                  </a:cubicBezTo>
                  <a:cubicBezTo>
                    <a:pt x="1482" y="3974"/>
                    <a:pt x="1504" y="3997"/>
                    <a:pt x="1527" y="4008"/>
                  </a:cubicBezTo>
                  <a:cubicBezTo>
                    <a:pt x="1552" y="4019"/>
                    <a:pt x="1574" y="4030"/>
                    <a:pt x="1597" y="4044"/>
                  </a:cubicBezTo>
                  <a:cubicBezTo>
                    <a:pt x="1622" y="4055"/>
                    <a:pt x="1633" y="4067"/>
                    <a:pt x="1633" y="4089"/>
                  </a:cubicBezTo>
                  <a:cubicBezTo>
                    <a:pt x="1644" y="4100"/>
                    <a:pt x="1644" y="4125"/>
                    <a:pt x="1644" y="4148"/>
                  </a:cubicBezTo>
                  <a:cubicBezTo>
                    <a:pt x="1644" y="4159"/>
                    <a:pt x="1644" y="4170"/>
                    <a:pt x="1655" y="4184"/>
                  </a:cubicBezTo>
                  <a:cubicBezTo>
                    <a:pt x="1655" y="4195"/>
                    <a:pt x="1667" y="4206"/>
                    <a:pt x="1678" y="4206"/>
                  </a:cubicBezTo>
                  <a:lnTo>
                    <a:pt x="1692" y="4218"/>
                  </a:lnTo>
                  <a:lnTo>
                    <a:pt x="1703" y="4206"/>
                  </a:lnTo>
                  <a:cubicBezTo>
                    <a:pt x="1725" y="4195"/>
                    <a:pt x="1748" y="4170"/>
                    <a:pt x="1762" y="4136"/>
                  </a:cubicBezTo>
                  <a:cubicBezTo>
                    <a:pt x="1773" y="4114"/>
                    <a:pt x="1773" y="4078"/>
                    <a:pt x="1773" y="4044"/>
                  </a:cubicBezTo>
                  <a:cubicBezTo>
                    <a:pt x="1773" y="4008"/>
                    <a:pt x="1773" y="3960"/>
                    <a:pt x="1762" y="3916"/>
                  </a:cubicBezTo>
                  <a:cubicBezTo>
                    <a:pt x="1737" y="3868"/>
                    <a:pt x="1725" y="3809"/>
                    <a:pt x="1725" y="3765"/>
                  </a:cubicBezTo>
                  <a:cubicBezTo>
                    <a:pt x="1725" y="3717"/>
                    <a:pt x="1725" y="3695"/>
                    <a:pt x="1748" y="3669"/>
                  </a:cubicBezTo>
                  <a:lnTo>
                    <a:pt x="1843" y="3669"/>
                  </a:lnTo>
                  <a:lnTo>
                    <a:pt x="1832" y="3636"/>
                  </a:lnTo>
                  <a:lnTo>
                    <a:pt x="1832" y="3611"/>
                  </a:lnTo>
                  <a:lnTo>
                    <a:pt x="1832" y="3596"/>
                  </a:lnTo>
                  <a:lnTo>
                    <a:pt x="1832" y="3596"/>
                  </a:lnTo>
                  <a:cubicBezTo>
                    <a:pt x="1847" y="3593"/>
                    <a:pt x="1862" y="3588"/>
                    <a:pt x="1876" y="3588"/>
                  </a:cubicBezTo>
                  <a:lnTo>
                    <a:pt x="1887" y="3588"/>
                  </a:lnTo>
                  <a:lnTo>
                    <a:pt x="1901" y="3577"/>
                  </a:lnTo>
                  <a:lnTo>
                    <a:pt x="1901" y="3555"/>
                  </a:lnTo>
                  <a:cubicBezTo>
                    <a:pt x="1901" y="3541"/>
                    <a:pt x="1887" y="3530"/>
                    <a:pt x="1887" y="3518"/>
                  </a:cubicBezTo>
                  <a:cubicBezTo>
                    <a:pt x="1876" y="3496"/>
                    <a:pt x="1854" y="3485"/>
                    <a:pt x="1843" y="3471"/>
                  </a:cubicBezTo>
                  <a:cubicBezTo>
                    <a:pt x="1843" y="3471"/>
                    <a:pt x="1843" y="3460"/>
                    <a:pt x="1832" y="3460"/>
                  </a:cubicBezTo>
                  <a:lnTo>
                    <a:pt x="1832" y="3449"/>
                  </a:lnTo>
                  <a:cubicBezTo>
                    <a:pt x="1832" y="3437"/>
                    <a:pt x="1843" y="3437"/>
                    <a:pt x="1843" y="3437"/>
                  </a:cubicBezTo>
                  <a:cubicBezTo>
                    <a:pt x="1854" y="3437"/>
                    <a:pt x="1876" y="3426"/>
                    <a:pt x="1887" y="3426"/>
                  </a:cubicBezTo>
                  <a:cubicBezTo>
                    <a:pt x="1901" y="3426"/>
                    <a:pt x="1913" y="3426"/>
                    <a:pt x="1924" y="3415"/>
                  </a:cubicBezTo>
                  <a:cubicBezTo>
                    <a:pt x="1935" y="3415"/>
                    <a:pt x="1946" y="3401"/>
                    <a:pt x="1946" y="3379"/>
                  </a:cubicBezTo>
                  <a:lnTo>
                    <a:pt x="1946" y="3367"/>
                  </a:lnTo>
                  <a:cubicBezTo>
                    <a:pt x="1946" y="3356"/>
                    <a:pt x="1935" y="3331"/>
                    <a:pt x="1935" y="3331"/>
                  </a:cubicBezTo>
                  <a:cubicBezTo>
                    <a:pt x="1924" y="3320"/>
                    <a:pt x="1924" y="3309"/>
                    <a:pt x="1924" y="3298"/>
                  </a:cubicBezTo>
                  <a:lnTo>
                    <a:pt x="1924" y="3286"/>
                  </a:lnTo>
                  <a:lnTo>
                    <a:pt x="1946" y="3261"/>
                  </a:lnTo>
                  <a:cubicBezTo>
                    <a:pt x="1957" y="3261"/>
                    <a:pt x="1971" y="3250"/>
                    <a:pt x="1983" y="3250"/>
                  </a:cubicBezTo>
                  <a:cubicBezTo>
                    <a:pt x="2041" y="3239"/>
                    <a:pt x="2097" y="3228"/>
                    <a:pt x="2145" y="3228"/>
                  </a:cubicBezTo>
                  <a:lnTo>
                    <a:pt x="2203" y="3228"/>
                  </a:lnTo>
                  <a:cubicBezTo>
                    <a:pt x="2237" y="3239"/>
                    <a:pt x="2273" y="3250"/>
                    <a:pt x="2296" y="3275"/>
                  </a:cubicBezTo>
                  <a:cubicBezTo>
                    <a:pt x="2321" y="3298"/>
                    <a:pt x="2332" y="3331"/>
                    <a:pt x="2332" y="3356"/>
                  </a:cubicBezTo>
                  <a:lnTo>
                    <a:pt x="2332" y="3367"/>
                  </a:lnTo>
                  <a:cubicBezTo>
                    <a:pt x="2332" y="3390"/>
                    <a:pt x="2321" y="3415"/>
                    <a:pt x="2307" y="3449"/>
                  </a:cubicBezTo>
                  <a:lnTo>
                    <a:pt x="2307" y="3471"/>
                  </a:lnTo>
                  <a:cubicBezTo>
                    <a:pt x="2307" y="3485"/>
                    <a:pt x="2307" y="3496"/>
                    <a:pt x="2321" y="3518"/>
                  </a:cubicBezTo>
                  <a:cubicBezTo>
                    <a:pt x="2332" y="3530"/>
                    <a:pt x="2343" y="3541"/>
                    <a:pt x="2354" y="3555"/>
                  </a:cubicBezTo>
                  <a:cubicBezTo>
                    <a:pt x="2366" y="3566"/>
                    <a:pt x="2391" y="3566"/>
                    <a:pt x="2402" y="3566"/>
                  </a:cubicBezTo>
                  <a:lnTo>
                    <a:pt x="2424" y="3566"/>
                  </a:lnTo>
                  <a:cubicBezTo>
                    <a:pt x="2424" y="3566"/>
                    <a:pt x="2436" y="3566"/>
                    <a:pt x="2436" y="3577"/>
                  </a:cubicBezTo>
                  <a:lnTo>
                    <a:pt x="2436" y="3600"/>
                  </a:lnTo>
                  <a:lnTo>
                    <a:pt x="2436" y="3647"/>
                  </a:lnTo>
                  <a:lnTo>
                    <a:pt x="2436" y="3695"/>
                  </a:lnTo>
                  <a:cubicBezTo>
                    <a:pt x="2447" y="3717"/>
                    <a:pt x="2472" y="3728"/>
                    <a:pt x="2494" y="3739"/>
                  </a:cubicBezTo>
                  <a:cubicBezTo>
                    <a:pt x="2505" y="3751"/>
                    <a:pt x="2531" y="3765"/>
                    <a:pt x="2553" y="3765"/>
                  </a:cubicBezTo>
                  <a:cubicBezTo>
                    <a:pt x="2564" y="3776"/>
                    <a:pt x="2575" y="3787"/>
                    <a:pt x="2575" y="3798"/>
                  </a:cubicBezTo>
                  <a:cubicBezTo>
                    <a:pt x="2587" y="3798"/>
                    <a:pt x="2587" y="3809"/>
                    <a:pt x="2587" y="3820"/>
                  </a:cubicBezTo>
                  <a:lnTo>
                    <a:pt x="2587" y="3834"/>
                  </a:lnTo>
                  <a:lnTo>
                    <a:pt x="2575" y="3846"/>
                  </a:lnTo>
                  <a:lnTo>
                    <a:pt x="2564" y="3857"/>
                  </a:lnTo>
                  <a:cubicBezTo>
                    <a:pt x="2542" y="3879"/>
                    <a:pt x="2542" y="3904"/>
                    <a:pt x="2542" y="3916"/>
                  </a:cubicBezTo>
                  <a:cubicBezTo>
                    <a:pt x="2542" y="3938"/>
                    <a:pt x="2542" y="3960"/>
                    <a:pt x="2564" y="3985"/>
                  </a:cubicBezTo>
                  <a:cubicBezTo>
                    <a:pt x="2575" y="3997"/>
                    <a:pt x="2601" y="4008"/>
                    <a:pt x="2634" y="4008"/>
                  </a:cubicBezTo>
                  <a:cubicBezTo>
                    <a:pt x="2645" y="4008"/>
                    <a:pt x="2670" y="4008"/>
                    <a:pt x="2682" y="3997"/>
                  </a:cubicBezTo>
                  <a:lnTo>
                    <a:pt x="2693" y="3985"/>
                  </a:lnTo>
                  <a:lnTo>
                    <a:pt x="2693" y="3974"/>
                  </a:lnTo>
                  <a:lnTo>
                    <a:pt x="2693" y="3904"/>
                  </a:lnTo>
                  <a:cubicBezTo>
                    <a:pt x="2704" y="3904"/>
                    <a:pt x="2715" y="3916"/>
                    <a:pt x="2726" y="3927"/>
                  </a:cubicBezTo>
                  <a:cubicBezTo>
                    <a:pt x="2740" y="3927"/>
                    <a:pt x="2752" y="3949"/>
                    <a:pt x="2752" y="3960"/>
                  </a:cubicBezTo>
                  <a:cubicBezTo>
                    <a:pt x="2763" y="3974"/>
                    <a:pt x="2774" y="4008"/>
                    <a:pt x="2785" y="4030"/>
                  </a:cubicBezTo>
                  <a:cubicBezTo>
                    <a:pt x="2796" y="4055"/>
                    <a:pt x="2821" y="4078"/>
                    <a:pt x="2844" y="4089"/>
                  </a:cubicBezTo>
                  <a:cubicBezTo>
                    <a:pt x="2866" y="4100"/>
                    <a:pt x="2891" y="4100"/>
                    <a:pt x="2914" y="4100"/>
                  </a:cubicBezTo>
                  <a:cubicBezTo>
                    <a:pt x="2925" y="4100"/>
                    <a:pt x="2950" y="4114"/>
                    <a:pt x="2972" y="4114"/>
                  </a:cubicBezTo>
                  <a:cubicBezTo>
                    <a:pt x="2984" y="4125"/>
                    <a:pt x="3006" y="4136"/>
                    <a:pt x="3031" y="4136"/>
                  </a:cubicBezTo>
                  <a:lnTo>
                    <a:pt x="3042" y="4136"/>
                  </a:lnTo>
                  <a:cubicBezTo>
                    <a:pt x="3065" y="4125"/>
                    <a:pt x="3090" y="4114"/>
                    <a:pt x="3101" y="4100"/>
                  </a:cubicBezTo>
                  <a:cubicBezTo>
                    <a:pt x="3112" y="4089"/>
                    <a:pt x="3123" y="4067"/>
                    <a:pt x="3123" y="4044"/>
                  </a:cubicBezTo>
                  <a:cubicBezTo>
                    <a:pt x="3123" y="4030"/>
                    <a:pt x="3112" y="4008"/>
                    <a:pt x="3101" y="3997"/>
                  </a:cubicBezTo>
                  <a:lnTo>
                    <a:pt x="3090" y="3997"/>
                  </a:lnTo>
                  <a:cubicBezTo>
                    <a:pt x="3065" y="3997"/>
                    <a:pt x="3042" y="3985"/>
                    <a:pt x="3031" y="3974"/>
                  </a:cubicBezTo>
                  <a:cubicBezTo>
                    <a:pt x="3006" y="3949"/>
                    <a:pt x="2995" y="3927"/>
                    <a:pt x="2995" y="3904"/>
                  </a:cubicBezTo>
                  <a:lnTo>
                    <a:pt x="3006" y="3890"/>
                  </a:lnTo>
                  <a:lnTo>
                    <a:pt x="3006" y="3857"/>
                  </a:lnTo>
                  <a:lnTo>
                    <a:pt x="3006" y="3834"/>
                  </a:lnTo>
                  <a:cubicBezTo>
                    <a:pt x="2995" y="3809"/>
                    <a:pt x="2984" y="3809"/>
                    <a:pt x="2972" y="3798"/>
                  </a:cubicBezTo>
                  <a:cubicBezTo>
                    <a:pt x="2925" y="3765"/>
                    <a:pt x="2880" y="3739"/>
                    <a:pt x="2844" y="3706"/>
                  </a:cubicBezTo>
                  <a:cubicBezTo>
                    <a:pt x="2810" y="3681"/>
                    <a:pt x="2785" y="3636"/>
                    <a:pt x="2785" y="3600"/>
                  </a:cubicBezTo>
                  <a:cubicBezTo>
                    <a:pt x="2785" y="3600"/>
                    <a:pt x="2785" y="3588"/>
                    <a:pt x="2796" y="3588"/>
                  </a:cubicBezTo>
                  <a:cubicBezTo>
                    <a:pt x="2796" y="3577"/>
                    <a:pt x="2796" y="3566"/>
                    <a:pt x="2810" y="3555"/>
                  </a:cubicBezTo>
                  <a:lnTo>
                    <a:pt x="2810" y="3507"/>
                  </a:lnTo>
                  <a:lnTo>
                    <a:pt x="2810" y="3485"/>
                  </a:lnTo>
                  <a:cubicBezTo>
                    <a:pt x="2796" y="3471"/>
                    <a:pt x="2796" y="3460"/>
                    <a:pt x="2796" y="3460"/>
                  </a:cubicBezTo>
                  <a:lnTo>
                    <a:pt x="2785" y="3449"/>
                  </a:lnTo>
                  <a:lnTo>
                    <a:pt x="2785" y="3437"/>
                  </a:lnTo>
                  <a:cubicBezTo>
                    <a:pt x="2796" y="3437"/>
                    <a:pt x="2796" y="3426"/>
                    <a:pt x="2810" y="3426"/>
                  </a:cubicBezTo>
                  <a:lnTo>
                    <a:pt x="2844" y="3426"/>
                  </a:lnTo>
                  <a:cubicBezTo>
                    <a:pt x="2866" y="3415"/>
                    <a:pt x="2891" y="3415"/>
                    <a:pt x="2903" y="3390"/>
                  </a:cubicBezTo>
                  <a:cubicBezTo>
                    <a:pt x="2914" y="3379"/>
                    <a:pt x="2914" y="3367"/>
                    <a:pt x="2914" y="3356"/>
                  </a:cubicBezTo>
                  <a:cubicBezTo>
                    <a:pt x="2925" y="3331"/>
                    <a:pt x="2925" y="3309"/>
                    <a:pt x="2925" y="3275"/>
                  </a:cubicBezTo>
                  <a:lnTo>
                    <a:pt x="2925" y="3239"/>
                  </a:lnTo>
                  <a:cubicBezTo>
                    <a:pt x="2914" y="3191"/>
                    <a:pt x="2880" y="3169"/>
                    <a:pt x="2866" y="3147"/>
                  </a:cubicBezTo>
                  <a:cubicBezTo>
                    <a:pt x="2810" y="3077"/>
                    <a:pt x="2774" y="3007"/>
                    <a:pt x="2752" y="2912"/>
                  </a:cubicBezTo>
                  <a:cubicBezTo>
                    <a:pt x="2740" y="2831"/>
                    <a:pt x="2726" y="2727"/>
                    <a:pt x="2726" y="2646"/>
                  </a:cubicBezTo>
                  <a:cubicBezTo>
                    <a:pt x="2726" y="2610"/>
                    <a:pt x="2715" y="2587"/>
                    <a:pt x="2704" y="2551"/>
                  </a:cubicBezTo>
                  <a:cubicBezTo>
                    <a:pt x="2704" y="2529"/>
                    <a:pt x="2682" y="2506"/>
                    <a:pt x="2645" y="2492"/>
                  </a:cubicBezTo>
                  <a:cubicBezTo>
                    <a:pt x="2634" y="2481"/>
                    <a:pt x="2623" y="2481"/>
                    <a:pt x="2612" y="2481"/>
                  </a:cubicBezTo>
                  <a:lnTo>
                    <a:pt x="2542" y="2481"/>
                  </a:lnTo>
                  <a:cubicBezTo>
                    <a:pt x="2531" y="2470"/>
                    <a:pt x="2531" y="2470"/>
                    <a:pt x="2531" y="2459"/>
                  </a:cubicBezTo>
                  <a:cubicBezTo>
                    <a:pt x="2531" y="2448"/>
                    <a:pt x="2531" y="2436"/>
                    <a:pt x="2542" y="2422"/>
                  </a:cubicBezTo>
                  <a:cubicBezTo>
                    <a:pt x="2542" y="2400"/>
                    <a:pt x="2564" y="2378"/>
                    <a:pt x="2575" y="2341"/>
                  </a:cubicBezTo>
                  <a:cubicBezTo>
                    <a:pt x="2587" y="2330"/>
                    <a:pt x="2587" y="2319"/>
                    <a:pt x="2587" y="2308"/>
                  </a:cubicBezTo>
                  <a:cubicBezTo>
                    <a:pt x="2587" y="2249"/>
                    <a:pt x="2553" y="2201"/>
                    <a:pt x="2531" y="2157"/>
                  </a:cubicBezTo>
                  <a:cubicBezTo>
                    <a:pt x="2483" y="2098"/>
                    <a:pt x="2436" y="2028"/>
                    <a:pt x="2391" y="1969"/>
                  </a:cubicBezTo>
                  <a:cubicBezTo>
                    <a:pt x="2377" y="1947"/>
                    <a:pt x="2354" y="1922"/>
                    <a:pt x="2332" y="1888"/>
                  </a:cubicBezTo>
                  <a:cubicBezTo>
                    <a:pt x="2321" y="1863"/>
                    <a:pt x="2296" y="1830"/>
                    <a:pt x="2296" y="1807"/>
                  </a:cubicBezTo>
                  <a:lnTo>
                    <a:pt x="2296" y="1771"/>
                  </a:lnTo>
                  <a:cubicBezTo>
                    <a:pt x="2307" y="1771"/>
                    <a:pt x="2307" y="1748"/>
                    <a:pt x="2321" y="1737"/>
                  </a:cubicBezTo>
                  <a:lnTo>
                    <a:pt x="2321" y="1701"/>
                  </a:lnTo>
                  <a:cubicBezTo>
                    <a:pt x="2321" y="1653"/>
                    <a:pt x="2296" y="1620"/>
                    <a:pt x="2285" y="1583"/>
                  </a:cubicBezTo>
                  <a:cubicBezTo>
                    <a:pt x="2251" y="1539"/>
                    <a:pt x="2226" y="1491"/>
                    <a:pt x="2226" y="1458"/>
                  </a:cubicBezTo>
                  <a:cubicBezTo>
                    <a:pt x="2226" y="1444"/>
                    <a:pt x="2226" y="1432"/>
                    <a:pt x="2237" y="1432"/>
                  </a:cubicBezTo>
                  <a:cubicBezTo>
                    <a:pt x="2237" y="1410"/>
                    <a:pt x="2262" y="1388"/>
                    <a:pt x="2273" y="1388"/>
                  </a:cubicBezTo>
                  <a:lnTo>
                    <a:pt x="2285" y="1388"/>
                  </a:lnTo>
                  <a:cubicBezTo>
                    <a:pt x="2296" y="1388"/>
                    <a:pt x="2307" y="1388"/>
                    <a:pt x="2321" y="1399"/>
                  </a:cubicBezTo>
                  <a:cubicBezTo>
                    <a:pt x="2332" y="1410"/>
                    <a:pt x="2332" y="1421"/>
                    <a:pt x="2343" y="1432"/>
                  </a:cubicBezTo>
                  <a:cubicBezTo>
                    <a:pt x="2354" y="1469"/>
                    <a:pt x="2354" y="1502"/>
                    <a:pt x="2377" y="1539"/>
                  </a:cubicBezTo>
                  <a:cubicBezTo>
                    <a:pt x="2402" y="1561"/>
                    <a:pt x="2424" y="1572"/>
                    <a:pt x="2461" y="1572"/>
                  </a:cubicBezTo>
                  <a:cubicBezTo>
                    <a:pt x="2472" y="1572"/>
                    <a:pt x="2483" y="1572"/>
                    <a:pt x="2494" y="1561"/>
                  </a:cubicBezTo>
                  <a:cubicBezTo>
                    <a:pt x="2517" y="1550"/>
                    <a:pt x="2517" y="1539"/>
                    <a:pt x="2531" y="1539"/>
                  </a:cubicBezTo>
                  <a:cubicBezTo>
                    <a:pt x="2542" y="1528"/>
                    <a:pt x="2553" y="1528"/>
                    <a:pt x="2575" y="1528"/>
                  </a:cubicBezTo>
                  <a:cubicBezTo>
                    <a:pt x="2587" y="1528"/>
                    <a:pt x="2612" y="1528"/>
                    <a:pt x="2623" y="1550"/>
                  </a:cubicBezTo>
                  <a:cubicBezTo>
                    <a:pt x="2634" y="1561"/>
                    <a:pt x="2645" y="1583"/>
                    <a:pt x="2645" y="1609"/>
                  </a:cubicBezTo>
                  <a:cubicBezTo>
                    <a:pt x="2656" y="1620"/>
                    <a:pt x="2656" y="1631"/>
                    <a:pt x="2670" y="1642"/>
                  </a:cubicBezTo>
                  <a:cubicBezTo>
                    <a:pt x="2682" y="1653"/>
                    <a:pt x="2693" y="1667"/>
                    <a:pt x="2704" y="1667"/>
                  </a:cubicBezTo>
                  <a:lnTo>
                    <a:pt x="2740" y="1667"/>
                  </a:lnTo>
                  <a:cubicBezTo>
                    <a:pt x="2752" y="1667"/>
                    <a:pt x="2752" y="1679"/>
                    <a:pt x="2763" y="1679"/>
                  </a:cubicBezTo>
                  <a:cubicBezTo>
                    <a:pt x="2774" y="1690"/>
                    <a:pt x="2785" y="1701"/>
                    <a:pt x="2796" y="1712"/>
                  </a:cubicBezTo>
                  <a:lnTo>
                    <a:pt x="2903" y="1712"/>
                  </a:lnTo>
                  <a:cubicBezTo>
                    <a:pt x="2914" y="1712"/>
                    <a:pt x="2925" y="1737"/>
                    <a:pt x="2925" y="1748"/>
                  </a:cubicBezTo>
                  <a:cubicBezTo>
                    <a:pt x="2925" y="1760"/>
                    <a:pt x="2925" y="1782"/>
                    <a:pt x="2903" y="1782"/>
                  </a:cubicBezTo>
                  <a:cubicBezTo>
                    <a:pt x="2903" y="1782"/>
                    <a:pt x="2880" y="1793"/>
                    <a:pt x="2866" y="1793"/>
                  </a:cubicBezTo>
                  <a:cubicBezTo>
                    <a:pt x="2844" y="1807"/>
                    <a:pt x="2833" y="1818"/>
                    <a:pt x="2821" y="1830"/>
                  </a:cubicBezTo>
                  <a:cubicBezTo>
                    <a:pt x="2810" y="1852"/>
                    <a:pt x="2810" y="1863"/>
                    <a:pt x="2810" y="1888"/>
                  </a:cubicBezTo>
                  <a:cubicBezTo>
                    <a:pt x="2810" y="1911"/>
                    <a:pt x="2821" y="1933"/>
                    <a:pt x="2833" y="1947"/>
                  </a:cubicBezTo>
                  <a:cubicBezTo>
                    <a:pt x="2844" y="1958"/>
                    <a:pt x="2855" y="1969"/>
                    <a:pt x="2866" y="1969"/>
                  </a:cubicBezTo>
                  <a:cubicBezTo>
                    <a:pt x="2880" y="1981"/>
                    <a:pt x="2891" y="1981"/>
                    <a:pt x="2903" y="1992"/>
                  </a:cubicBezTo>
                  <a:cubicBezTo>
                    <a:pt x="2914" y="2003"/>
                    <a:pt x="2914" y="2017"/>
                    <a:pt x="2925" y="2028"/>
                  </a:cubicBezTo>
                  <a:cubicBezTo>
                    <a:pt x="2936" y="2039"/>
                    <a:pt x="2936" y="2062"/>
                    <a:pt x="2950" y="2073"/>
                  </a:cubicBezTo>
                  <a:cubicBezTo>
                    <a:pt x="2961" y="2098"/>
                    <a:pt x="2972" y="2109"/>
                    <a:pt x="2995" y="2132"/>
                  </a:cubicBezTo>
                  <a:cubicBezTo>
                    <a:pt x="3006" y="2143"/>
                    <a:pt x="3031" y="2157"/>
                    <a:pt x="3054" y="2157"/>
                  </a:cubicBezTo>
                  <a:cubicBezTo>
                    <a:pt x="3065" y="2157"/>
                    <a:pt x="3076" y="2157"/>
                    <a:pt x="3090" y="2143"/>
                  </a:cubicBezTo>
                  <a:cubicBezTo>
                    <a:pt x="3090" y="2143"/>
                    <a:pt x="3101" y="2132"/>
                    <a:pt x="3112" y="2120"/>
                  </a:cubicBezTo>
                  <a:lnTo>
                    <a:pt x="3112" y="2109"/>
                  </a:lnTo>
                  <a:cubicBezTo>
                    <a:pt x="3112" y="2087"/>
                    <a:pt x="3101" y="2073"/>
                    <a:pt x="3101" y="2062"/>
                  </a:cubicBezTo>
                  <a:cubicBezTo>
                    <a:pt x="3090" y="2062"/>
                    <a:pt x="3090" y="2050"/>
                    <a:pt x="3090" y="2050"/>
                  </a:cubicBezTo>
                  <a:lnTo>
                    <a:pt x="3090" y="2039"/>
                  </a:lnTo>
                  <a:cubicBezTo>
                    <a:pt x="3090" y="2028"/>
                    <a:pt x="3090" y="2017"/>
                    <a:pt x="3101" y="2003"/>
                  </a:cubicBezTo>
                  <a:cubicBezTo>
                    <a:pt x="3112" y="1992"/>
                    <a:pt x="3123" y="1981"/>
                    <a:pt x="3135" y="1981"/>
                  </a:cubicBezTo>
                  <a:lnTo>
                    <a:pt x="3146" y="1981"/>
                  </a:lnTo>
                  <a:cubicBezTo>
                    <a:pt x="3182" y="1981"/>
                    <a:pt x="3216" y="2003"/>
                    <a:pt x="3252" y="2017"/>
                  </a:cubicBezTo>
                  <a:cubicBezTo>
                    <a:pt x="3274" y="2028"/>
                    <a:pt x="3311" y="2039"/>
                    <a:pt x="3344" y="2039"/>
                  </a:cubicBezTo>
                  <a:cubicBezTo>
                    <a:pt x="3370" y="2039"/>
                    <a:pt x="3392" y="2028"/>
                    <a:pt x="3403" y="2017"/>
                  </a:cubicBezTo>
                  <a:cubicBezTo>
                    <a:pt x="3414" y="2017"/>
                    <a:pt x="3425" y="2003"/>
                    <a:pt x="3425" y="1992"/>
                  </a:cubicBezTo>
                  <a:cubicBezTo>
                    <a:pt x="3439" y="1981"/>
                    <a:pt x="3439" y="1969"/>
                    <a:pt x="3439" y="1958"/>
                  </a:cubicBezTo>
                  <a:cubicBezTo>
                    <a:pt x="3439" y="1947"/>
                    <a:pt x="3439" y="1933"/>
                    <a:pt x="3425" y="1933"/>
                  </a:cubicBezTo>
                  <a:cubicBezTo>
                    <a:pt x="3425" y="1922"/>
                    <a:pt x="3414" y="1911"/>
                    <a:pt x="3403" y="1911"/>
                  </a:cubicBezTo>
                  <a:lnTo>
                    <a:pt x="3230" y="1911"/>
                  </a:lnTo>
                  <a:lnTo>
                    <a:pt x="3230" y="1899"/>
                  </a:lnTo>
                  <a:lnTo>
                    <a:pt x="3230" y="1877"/>
                  </a:lnTo>
                  <a:cubicBezTo>
                    <a:pt x="3241" y="1863"/>
                    <a:pt x="3241" y="1863"/>
                    <a:pt x="3252" y="1852"/>
                  </a:cubicBezTo>
                  <a:lnTo>
                    <a:pt x="3473" y="1852"/>
                  </a:lnTo>
                  <a:cubicBezTo>
                    <a:pt x="3495" y="1841"/>
                    <a:pt x="3509" y="1841"/>
                    <a:pt x="3532" y="1830"/>
                  </a:cubicBezTo>
                  <a:cubicBezTo>
                    <a:pt x="3543" y="1818"/>
                    <a:pt x="3543" y="1807"/>
                    <a:pt x="3554" y="1807"/>
                  </a:cubicBezTo>
                  <a:lnTo>
                    <a:pt x="3554" y="1793"/>
                  </a:lnTo>
                  <a:lnTo>
                    <a:pt x="3554" y="1782"/>
                  </a:lnTo>
                  <a:lnTo>
                    <a:pt x="3554" y="1771"/>
                  </a:lnTo>
                  <a:cubicBezTo>
                    <a:pt x="3554" y="1771"/>
                    <a:pt x="3565" y="1760"/>
                    <a:pt x="3565" y="1748"/>
                  </a:cubicBezTo>
                  <a:cubicBezTo>
                    <a:pt x="3565" y="1748"/>
                    <a:pt x="3579" y="1737"/>
                    <a:pt x="3579" y="1723"/>
                  </a:cubicBezTo>
                  <a:lnTo>
                    <a:pt x="3579" y="1712"/>
                  </a:lnTo>
                  <a:cubicBezTo>
                    <a:pt x="3579" y="1690"/>
                    <a:pt x="3579" y="1679"/>
                    <a:pt x="3565" y="1679"/>
                  </a:cubicBezTo>
                  <a:cubicBezTo>
                    <a:pt x="3565" y="1667"/>
                    <a:pt x="3554" y="1653"/>
                    <a:pt x="3532" y="1653"/>
                  </a:cubicBezTo>
                  <a:cubicBezTo>
                    <a:pt x="3509" y="1653"/>
                    <a:pt x="3495" y="1667"/>
                    <a:pt x="3495" y="1667"/>
                  </a:cubicBezTo>
                  <a:lnTo>
                    <a:pt x="3490" y="1673"/>
                  </a:lnTo>
                  <a:lnTo>
                    <a:pt x="3484" y="1667"/>
                  </a:lnTo>
                  <a:lnTo>
                    <a:pt x="3473" y="1653"/>
                  </a:lnTo>
                  <a:cubicBezTo>
                    <a:pt x="3473" y="1642"/>
                    <a:pt x="3462" y="1642"/>
                    <a:pt x="3439" y="1642"/>
                  </a:cubicBezTo>
                  <a:cubicBezTo>
                    <a:pt x="3425" y="1631"/>
                    <a:pt x="3414" y="1631"/>
                    <a:pt x="3403" y="1631"/>
                  </a:cubicBezTo>
                  <a:cubicBezTo>
                    <a:pt x="3381" y="1631"/>
                    <a:pt x="3344" y="1642"/>
                    <a:pt x="3322" y="1642"/>
                  </a:cubicBezTo>
                  <a:cubicBezTo>
                    <a:pt x="3322" y="1642"/>
                    <a:pt x="3311" y="1642"/>
                    <a:pt x="3300" y="1631"/>
                  </a:cubicBezTo>
                  <a:cubicBezTo>
                    <a:pt x="3300" y="1631"/>
                    <a:pt x="3286" y="1631"/>
                    <a:pt x="3286" y="1620"/>
                  </a:cubicBezTo>
                  <a:cubicBezTo>
                    <a:pt x="3286" y="1620"/>
                    <a:pt x="3274" y="1609"/>
                    <a:pt x="3274" y="1597"/>
                  </a:cubicBezTo>
                  <a:cubicBezTo>
                    <a:pt x="3263" y="1572"/>
                    <a:pt x="3241" y="1561"/>
                    <a:pt x="3216" y="1561"/>
                  </a:cubicBezTo>
                  <a:cubicBezTo>
                    <a:pt x="3205" y="1550"/>
                    <a:pt x="3182" y="1550"/>
                    <a:pt x="3171" y="1550"/>
                  </a:cubicBezTo>
                  <a:lnTo>
                    <a:pt x="3076" y="1550"/>
                  </a:lnTo>
                  <a:cubicBezTo>
                    <a:pt x="3054" y="1539"/>
                    <a:pt x="3054" y="1539"/>
                    <a:pt x="3054" y="1528"/>
                  </a:cubicBezTo>
                  <a:lnTo>
                    <a:pt x="3054" y="1514"/>
                  </a:lnTo>
                  <a:lnTo>
                    <a:pt x="3054" y="1480"/>
                  </a:lnTo>
                  <a:cubicBezTo>
                    <a:pt x="3065" y="1444"/>
                    <a:pt x="3076" y="1399"/>
                    <a:pt x="3101" y="1374"/>
                  </a:cubicBezTo>
                  <a:lnTo>
                    <a:pt x="3123" y="1351"/>
                  </a:lnTo>
                  <a:lnTo>
                    <a:pt x="3101" y="1340"/>
                  </a:lnTo>
                  <a:lnTo>
                    <a:pt x="3101" y="1329"/>
                  </a:lnTo>
                  <a:lnTo>
                    <a:pt x="3101" y="1318"/>
                  </a:lnTo>
                  <a:lnTo>
                    <a:pt x="3101" y="1304"/>
                  </a:lnTo>
                  <a:lnTo>
                    <a:pt x="3101" y="1281"/>
                  </a:lnTo>
                  <a:cubicBezTo>
                    <a:pt x="3090" y="1259"/>
                    <a:pt x="3065" y="1248"/>
                    <a:pt x="3054" y="1234"/>
                  </a:cubicBezTo>
                  <a:lnTo>
                    <a:pt x="3042" y="1223"/>
                  </a:lnTo>
                  <a:lnTo>
                    <a:pt x="3042" y="1212"/>
                  </a:lnTo>
                  <a:cubicBezTo>
                    <a:pt x="3042" y="1200"/>
                    <a:pt x="3054" y="1200"/>
                    <a:pt x="3054" y="1200"/>
                  </a:cubicBezTo>
                  <a:lnTo>
                    <a:pt x="3054" y="1189"/>
                  </a:lnTo>
                  <a:cubicBezTo>
                    <a:pt x="3065" y="1178"/>
                    <a:pt x="3076" y="1153"/>
                    <a:pt x="3076" y="1142"/>
                  </a:cubicBezTo>
                  <a:cubicBezTo>
                    <a:pt x="3076" y="1108"/>
                    <a:pt x="3065" y="1072"/>
                    <a:pt x="3031" y="1061"/>
                  </a:cubicBezTo>
                  <a:cubicBezTo>
                    <a:pt x="3020" y="1049"/>
                    <a:pt x="3006" y="1049"/>
                    <a:pt x="3006" y="1038"/>
                  </a:cubicBezTo>
                  <a:lnTo>
                    <a:pt x="2995" y="1038"/>
                  </a:lnTo>
                  <a:lnTo>
                    <a:pt x="2995" y="1024"/>
                  </a:lnTo>
                  <a:lnTo>
                    <a:pt x="2995" y="1013"/>
                  </a:lnTo>
                  <a:cubicBezTo>
                    <a:pt x="3006" y="1013"/>
                    <a:pt x="3020" y="1002"/>
                    <a:pt x="3020" y="1002"/>
                  </a:cubicBezTo>
                  <a:cubicBezTo>
                    <a:pt x="3031" y="1002"/>
                    <a:pt x="3042" y="1002"/>
                    <a:pt x="3065" y="991"/>
                  </a:cubicBezTo>
                  <a:cubicBezTo>
                    <a:pt x="3076" y="979"/>
                    <a:pt x="3090" y="968"/>
                    <a:pt x="3101" y="954"/>
                  </a:cubicBezTo>
                  <a:cubicBezTo>
                    <a:pt x="3101" y="943"/>
                    <a:pt x="3112" y="932"/>
                    <a:pt x="3112" y="921"/>
                  </a:cubicBezTo>
                  <a:cubicBezTo>
                    <a:pt x="3101" y="898"/>
                    <a:pt x="3090" y="873"/>
                    <a:pt x="3076" y="862"/>
                  </a:cubicBezTo>
                  <a:cubicBezTo>
                    <a:pt x="3065" y="840"/>
                    <a:pt x="3054" y="815"/>
                    <a:pt x="3042" y="792"/>
                  </a:cubicBezTo>
                  <a:cubicBezTo>
                    <a:pt x="3031" y="781"/>
                    <a:pt x="3020" y="759"/>
                    <a:pt x="2995" y="745"/>
                  </a:cubicBezTo>
                  <a:cubicBezTo>
                    <a:pt x="2984" y="733"/>
                    <a:pt x="2961" y="733"/>
                    <a:pt x="2950" y="733"/>
                  </a:cubicBezTo>
                  <a:cubicBezTo>
                    <a:pt x="2914" y="733"/>
                    <a:pt x="2891" y="733"/>
                    <a:pt x="2866" y="745"/>
                  </a:cubicBezTo>
                  <a:cubicBezTo>
                    <a:pt x="2844" y="759"/>
                    <a:pt x="2821" y="759"/>
                    <a:pt x="2796" y="759"/>
                  </a:cubicBezTo>
                  <a:lnTo>
                    <a:pt x="2774" y="759"/>
                  </a:lnTo>
                  <a:lnTo>
                    <a:pt x="2763" y="745"/>
                  </a:lnTo>
                  <a:lnTo>
                    <a:pt x="2774" y="733"/>
                  </a:lnTo>
                  <a:cubicBezTo>
                    <a:pt x="2774" y="733"/>
                    <a:pt x="2785" y="733"/>
                    <a:pt x="2785" y="722"/>
                  </a:cubicBezTo>
                  <a:cubicBezTo>
                    <a:pt x="2796" y="711"/>
                    <a:pt x="2796" y="700"/>
                    <a:pt x="2796" y="689"/>
                  </a:cubicBezTo>
                  <a:lnTo>
                    <a:pt x="2796" y="652"/>
                  </a:lnTo>
                  <a:lnTo>
                    <a:pt x="2796" y="641"/>
                  </a:lnTo>
                  <a:lnTo>
                    <a:pt x="2950" y="641"/>
                  </a:lnTo>
                  <a:cubicBezTo>
                    <a:pt x="2972" y="641"/>
                    <a:pt x="3006" y="630"/>
                    <a:pt x="3042" y="619"/>
                  </a:cubicBezTo>
                  <a:cubicBezTo>
                    <a:pt x="3054" y="605"/>
                    <a:pt x="3065" y="605"/>
                    <a:pt x="3065" y="594"/>
                  </a:cubicBezTo>
                  <a:cubicBezTo>
                    <a:pt x="3076" y="582"/>
                    <a:pt x="3076" y="571"/>
                    <a:pt x="3090" y="560"/>
                  </a:cubicBezTo>
                  <a:lnTo>
                    <a:pt x="3090" y="535"/>
                  </a:lnTo>
                  <a:lnTo>
                    <a:pt x="3090" y="524"/>
                  </a:lnTo>
                  <a:lnTo>
                    <a:pt x="3090" y="513"/>
                  </a:lnTo>
                  <a:cubicBezTo>
                    <a:pt x="3065" y="501"/>
                    <a:pt x="3054" y="490"/>
                    <a:pt x="3031" y="479"/>
                  </a:cubicBezTo>
                  <a:lnTo>
                    <a:pt x="3020" y="465"/>
                  </a:lnTo>
                  <a:lnTo>
                    <a:pt x="3006" y="454"/>
                  </a:lnTo>
                  <a:lnTo>
                    <a:pt x="3006" y="443"/>
                  </a:lnTo>
                  <a:lnTo>
                    <a:pt x="3006" y="420"/>
                  </a:lnTo>
                  <a:cubicBezTo>
                    <a:pt x="3006" y="409"/>
                    <a:pt x="2995" y="395"/>
                    <a:pt x="2995" y="395"/>
                  </a:cubicBezTo>
                  <a:cubicBezTo>
                    <a:pt x="2984" y="384"/>
                    <a:pt x="2972" y="384"/>
                    <a:pt x="2972" y="384"/>
                  </a:cubicBezTo>
                  <a:lnTo>
                    <a:pt x="2961" y="373"/>
                  </a:lnTo>
                  <a:lnTo>
                    <a:pt x="2961" y="362"/>
                  </a:lnTo>
                  <a:cubicBezTo>
                    <a:pt x="2984" y="339"/>
                    <a:pt x="2984" y="303"/>
                    <a:pt x="2984" y="280"/>
                  </a:cubicBezTo>
                  <a:lnTo>
                    <a:pt x="2984" y="255"/>
                  </a:lnTo>
                  <a:lnTo>
                    <a:pt x="2984" y="233"/>
                  </a:lnTo>
                  <a:lnTo>
                    <a:pt x="2961" y="233"/>
                  </a:lnTo>
                  <a:cubicBezTo>
                    <a:pt x="2914" y="244"/>
                    <a:pt x="2880" y="255"/>
                    <a:pt x="2833" y="255"/>
                  </a:cubicBezTo>
                  <a:lnTo>
                    <a:pt x="2810" y="255"/>
                  </a:lnTo>
                  <a:cubicBezTo>
                    <a:pt x="2796" y="255"/>
                    <a:pt x="2785" y="255"/>
                    <a:pt x="2774" y="244"/>
                  </a:cubicBezTo>
                  <a:cubicBezTo>
                    <a:pt x="2763" y="244"/>
                    <a:pt x="2752" y="233"/>
                    <a:pt x="2740" y="222"/>
                  </a:cubicBezTo>
                  <a:cubicBezTo>
                    <a:pt x="2715" y="211"/>
                    <a:pt x="2704" y="199"/>
                    <a:pt x="2682" y="185"/>
                  </a:cubicBezTo>
                  <a:lnTo>
                    <a:pt x="2656" y="185"/>
                  </a:lnTo>
                  <a:cubicBezTo>
                    <a:pt x="2634" y="185"/>
                    <a:pt x="2623" y="185"/>
                    <a:pt x="2601" y="199"/>
                  </a:cubicBezTo>
                  <a:cubicBezTo>
                    <a:pt x="2575" y="211"/>
                    <a:pt x="2564" y="233"/>
                    <a:pt x="2542" y="244"/>
                  </a:cubicBezTo>
                  <a:cubicBezTo>
                    <a:pt x="2531" y="269"/>
                    <a:pt x="2505" y="280"/>
                    <a:pt x="2494" y="303"/>
                  </a:cubicBezTo>
                  <a:cubicBezTo>
                    <a:pt x="2483" y="314"/>
                    <a:pt x="2472" y="325"/>
                    <a:pt x="2472" y="339"/>
                  </a:cubicBezTo>
                  <a:cubicBezTo>
                    <a:pt x="2472" y="362"/>
                    <a:pt x="2483" y="384"/>
                    <a:pt x="2505" y="395"/>
                  </a:cubicBezTo>
                  <a:lnTo>
                    <a:pt x="2575" y="420"/>
                  </a:lnTo>
                  <a:cubicBezTo>
                    <a:pt x="2587" y="431"/>
                    <a:pt x="2601" y="431"/>
                    <a:pt x="2612" y="443"/>
                  </a:cubicBezTo>
                  <a:cubicBezTo>
                    <a:pt x="2612" y="443"/>
                    <a:pt x="2623" y="454"/>
                    <a:pt x="2623" y="465"/>
                  </a:cubicBezTo>
                  <a:cubicBezTo>
                    <a:pt x="2623" y="479"/>
                    <a:pt x="2623" y="490"/>
                    <a:pt x="2612" y="501"/>
                  </a:cubicBezTo>
                  <a:cubicBezTo>
                    <a:pt x="2587" y="513"/>
                    <a:pt x="2575" y="524"/>
                    <a:pt x="2564" y="524"/>
                  </a:cubicBezTo>
                  <a:lnTo>
                    <a:pt x="2542" y="524"/>
                  </a:lnTo>
                  <a:cubicBezTo>
                    <a:pt x="2483" y="524"/>
                    <a:pt x="2436" y="501"/>
                    <a:pt x="2391" y="454"/>
                  </a:cubicBezTo>
                  <a:cubicBezTo>
                    <a:pt x="2343" y="420"/>
                    <a:pt x="2296" y="362"/>
                    <a:pt x="2251" y="314"/>
                  </a:cubicBezTo>
                  <a:cubicBezTo>
                    <a:pt x="2111" y="174"/>
                    <a:pt x="1924" y="71"/>
                    <a:pt x="1725" y="46"/>
                  </a:cubicBezTo>
                  <a:cubicBezTo>
                    <a:pt x="1678" y="46"/>
                    <a:pt x="1644" y="34"/>
                    <a:pt x="1622" y="23"/>
                  </a:cubicBezTo>
                  <a:cubicBezTo>
                    <a:pt x="1608" y="23"/>
                    <a:pt x="1608" y="12"/>
                    <a:pt x="1597" y="12"/>
                  </a:cubicBezTo>
                  <a:lnTo>
                    <a:pt x="1574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91;p17">
              <a:extLst>
                <a:ext uri="{FF2B5EF4-FFF2-40B4-BE49-F238E27FC236}">
                  <a16:creationId xmlns:a16="http://schemas.microsoft.com/office/drawing/2014/main" xmlns="" id="{463388B2-E434-4A50-25AE-776815B95CA3}"/>
                </a:ext>
              </a:extLst>
            </p:cNvPr>
            <p:cNvSpPr/>
            <p:nvPr/>
          </p:nvSpPr>
          <p:spPr>
            <a:xfrm>
              <a:off x="911512" y="1782680"/>
              <a:ext cx="223403" cy="254072"/>
            </a:xfrm>
            <a:custGeom>
              <a:avLst/>
              <a:gdLst/>
              <a:ahLst/>
              <a:cxnLst/>
              <a:rect l="l" t="t" r="r" b="b"/>
              <a:pathLst>
                <a:path w="969" h="1102" extrusionOk="0">
                  <a:moveTo>
                    <a:pt x="404" y="0"/>
                  </a:moveTo>
                  <a:cubicBezTo>
                    <a:pt x="389" y="0"/>
                    <a:pt x="375" y="3"/>
                    <a:pt x="364" y="9"/>
                  </a:cubicBezTo>
                  <a:cubicBezTo>
                    <a:pt x="350" y="23"/>
                    <a:pt x="339" y="34"/>
                    <a:pt x="328" y="45"/>
                  </a:cubicBezTo>
                  <a:cubicBezTo>
                    <a:pt x="317" y="56"/>
                    <a:pt x="294" y="56"/>
                    <a:pt x="269" y="56"/>
                  </a:cubicBezTo>
                  <a:cubicBezTo>
                    <a:pt x="239" y="56"/>
                    <a:pt x="208" y="51"/>
                    <a:pt x="177" y="51"/>
                  </a:cubicBezTo>
                  <a:cubicBezTo>
                    <a:pt x="161" y="51"/>
                    <a:pt x="145" y="52"/>
                    <a:pt x="129" y="56"/>
                  </a:cubicBezTo>
                  <a:cubicBezTo>
                    <a:pt x="85" y="56"/>
                    <a:pt x="37" y="92"/>
                    <a:pt x="15" y="126"/>
                  </a:cubicBezTo>
                  <a:cubicBezTo>
                    <a:pt x="1" y="174"/>
                    <a:pt x="1" y="218"/>
                    <a:pt x="15" y="266"/>
                  </a:cubicBezTo>
                  <a:cubicBezTo>
                    <a:pt x="26" y="288"/>
                    <a:pt x="37" y="325"/>
                    <a:pt x="48" y="336"/>
                  </a:cubicBezTo>
                  <a:cubicBezTo>
                    <a:pt x="71" y="358"/>
                    <a:pt x="107" y="358"/>
                    <a:pt x="129" y="372"/>
                  </a:cubicBezTo>
                  <a:cubicBezTo>
                    <a:pt x="188" y="406"/>
                    <a:pt x="188" y="498"/>
                    <a:pt x="247" y="534"/>
                  </a:cubicBezTo>
                  <a:cubicBezTo>
                    <a:pt x="269" y="545"/>
                    <a:pt x="294" y="557"/>
                    <a:pt x="317" y="557"/>
                  </a:cubicBezTo>
                  <a:cubicBezTo>
                    <a:pt x="328" y="568"/>
                    <a:pt x="350" y="593"/>
                    <a:pt x="364" y="604"/>
                  </a:cubicBezTo>
                  <a:cubicBezTo>
                    <a:pt x="387" y="652"/>
                    <a:pt x="387" y="696"/>
                    <a:pt x="387" y="755"/>
                  </a:cubicBezTo>
                  <a:cubicBezTo>
                    <a:pt x="398" y="803"/>
                    <a:pt x="409" y="847"/>
                    <a:pt x="457" y="873"/>
                  </a:cubicBezTo>
                  <a:cubicBezTo>
                    <a:pt x="479" y="873"/>
                    <a:pt x="504" y="873"/>
                    <a:pt x="526" y="884"/>
                  </a:cubicBezTo>
                  <a:cubicBezTo>
                    <a:pt x="560" y="895"/>
                    <a:pt x="574" y="931"/>
                    <a:pt x="608" y="954"/>
                  </a:cubicBezTo>
                  <a:cubicBezTo>
                    <a:pt x="644" y="976"/>
                    <a:pt x="700" y="965"/>
                    <a:pt x="736" y="987"/>
                  </a:cubicBezTo>
                  <a:cubicBezTo>
                    <a:pt x="784" y="1012"/>
                    <a:pt x="806" y="1071"/>
                    <a:pt x="854" y="1093"/>
                  </a:cubicBezTo>
                  <a:cubicBezTo>
                    <a:pt x="870" y="1099"/>
                    <a:pt x="888" y="1102"/>
                    <a:pt x="904" y="1102"/>
                  </a:cubicBezTo>
                  <a:cubicBezTo>
                    <a:pt x="920" y="1102"/>
                    <a:pt x="935" y="1099"/>
                    <a:pt x="946" y="1093"/>
                  </a:cubicBezTo>
                  <a:cubicBezTo>
                    <a:pt x="946" y="1082"/>
                    <a:pt x="957" y="1082"/>
                    <a:pt x="957" y="1071"/>
                  </a:cubicBezTo>
                  <a:cubicBezTo>
                    <a:pt x="968" y="1057"/>
                    <a:pt x="957" y="1046"/>
                    <a:pt x="957" y="1046"/>
                  </a:cubicBezTo>
                  <a:cubicBezTo>
                    <a:pt x="935" y="1001"/>
                    <a:pt x="887" y="965"/>
                    <a:pt x="876" y="917"/>
                  </a:cubicBezTo>
                  <a:cubicBezTo>
                    <a:pt x="876" y="895"/>
                    <a:pt x="887" y="861"/>
                    <a:pt x="887" y="825"/>
                  </a:cubicBezTo>
                  <a:cubicBezTo>
                    <a:pt x="876" y="803"/>
                    <a:pt x="865" y="766"/>
                    <a:pt x="828" y="766"/>
                  </a:cubicBezTo>
                  <a:cubicBezTo>
                    <a:pt x="806" y="766"/>
                    <a:pt x="795" y="803"/>
                    <a:pt x="806" y="825"/>
                  </a:cubicBezTo>
                  <a:cubicBezTo>
                    <a:pt x="777" y="814"/>
                    <a:pt x="745" y="814"/>
                    <a:pt x="712" y="814"/>
                  </a:cubicBezTo>
                  <a:cubicBezTo>
                    <a:pt x="680" y="814"/>
                    <a:pt x="648" y="814"/>
                    <a:pt x="619" y="803"/>
                  </a:cubicBezTo>
                  <a:cubicBezTo>
                    <a:pt x="585" y="792"/>
                    <a:pt x="549" y="744"/>
                    <a:pt x="538" y="696"/>
                  </a:cubicBezTo>
                  <a:cubicBezTo>
                    <a:pt x="515" y="627"/>
                    <a:pt x="560" y="545"/>
                    <a:pt x="526" y="476"/>
                  </a:cubicBezTo>
                  <a:cubicBezTo>
                    <a:pt x="504" y="417"/>
                    <a:pt x="434" y="394"/>
                    <a:pt x="420" y="347"/>
                  </a:cubicBezTo>
                  <a:cubicBezTo>
                    <a:pt x="409" y="336"/>
                    <a:pt x="409" y="336"/>
                    <a:pt x="409" y="325"/>
                  </a:cubicBezTo>
                  <a:cubicBezTo>
                    <a:pt x="409" y="313"/>
                    <a:pt x="420" y="302"/>
                    <a:pt x="434" y="302"/>
                  </a:cubicBezTo>
                  <a:cubicBezTo>
                    <a:pt x="490" y="266"/>
                    <a:pt x="560" y="266"/>
                    <a:pt x="596" y="207"/>
                  </a:cubicBezTo>
                  <a:cubicBezTo>
                    <a:pt x="608" y="185"/>
                    <a:pt x="608" y="148"/>
                    <a:pt x="608" y="115"/>
                  </a:cubicBezTo>
                  <a:cubicBezTo>
                    <a:pt x="608" y="104"/>
                    <a:pt x="608" y="92"/>
                    <a:pt x="596" y="78"/>
                  </a:cubicBezTo>
                  <a:cubicBezTo>
                    <a:pt x="585" y="56"/>
                    <a:pt x="560" y="56"/>
                    <a:pt x="526" y="45"/>
                  </a:cubicBezTo>
                  <a:cubicBezTo>
                    <a:pt x="504" y="34"/>
                    <a:pt x="479" y="23"/>
                    <a:pt x="445" y="9"/>
                  </a:cubicBezTo>
                  <a:cubicBezTo>
                    <a:pt x="433" y="3"/>
                    <a:pt x="418" y="0"/>
                    <a:pt x="404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92;p17">
              <a:extLst>
                <a:ext uri="{FF2B5EF4-FFF2-40B4-BE49-F238E27FC236}">
                  <a16:creationId xmlns:a16="http://schemas.microsoft.com/office/drawing/2014/main" xmlns="" id="{54992B54-F651-B355-4AFF-950C5B96D1D6}"/>
                </a:ext>
              </a:extLst>
            </p:cNvPr>
            <p:cNvSpPr/>
            <p:nvPr/>
          </p:nvSpPr>
          <p:spPr>
            <a:xfrm>
              <a:off x="906440" y="1776916"/>
              <a:ext cx="234239" cy="265830"/>
            </a:xfrm>
            <a:custGeom>
              <a:avLst/>
              <a:gdLst/>
              <a:ahLst/>
              <a:cxnLst/>
              <a:rect l="l" t="t" r="r" b="b"/>
              <a:pathLst>
                <a:path w="1016" h="1153" extrusionOk="0">
                  <a:moveTo>
                    <a:pt x="456" y="48"/>
                  </a:moveTo>
                  <a:cubicBezTo>
                    <a:pt x="490" y="59"/>
                    <a:pt x="512" y="81"/>
                    <a:pt x="548" y="92"/>
                  </a:cubicBezTo>
                  <a:cubicBezTo>
                    <a:pt x="560" y="92"/>
                    <a:pt x="571" y="103"/>
                    <a:pt x="582" y="103"/>
                  </a:cubicBezTo>
                  <a:cubicBezTo>
                    <a:pt x="596" y="117"/>
                    <a:pt x="596" y="117"/>
                    <a:pt x="607" y="117"/>
                  </a:cubicBezTo>
                  <a:lnTo>
                    <a:pt x="607" y="140"/>
                  </a:lnTo>
                  <a:lnTo>
                    <a:pt x="607" y="162"/>
                  </a:lnTo>
                  <a:cubicBezTo>
                    <a:pt x="607" y="187"/>
                    <a:pt x="607" y="210"/>
                    <a:pt x="596" y="221"/>
                  </a:cubicBezTo>
                  <a:cubicBezTo>
                    <a:pt x="582" y="243"/>
                    <a:pt x="560" y="257"/>
                    <a:pt x="537" y="268"/>
                  </a:cubicBezTo>
                  <a:cubicBezTo>
                    <a:pt x="501" y="280"/>
                    <a:pt x="479" y="291"/>
                    <a:pt x="442" y="302"/>
                  </a:cubicBezTo>
                  <a:cubicBezTo>
                    <a:pt x="442" y="302"/>
                    <a:pt x="431" y="313"/>
                    <a:pt x="420" y="327"/>
                  </a:cubicBezTo>
                  <a:cubicBezTo>
                    <a:pt x="420" y="327"/>
                    <a:pt x="409" y="338"/>
                    <a:pt x="409" y="350"/>
                  </a:cubicBezTo>
                  <a:cubicBezTo>
                    <a:pt x="409" y="361"/>
                    <a:pt x="420" y="372"/>
                    <a:pt x="420" y="372"/>
                  </a:cubicBezTo>
                  <a:cubicBezTo>
                    <a:pt x="431" y="408"/>
                    <a:pt x="456" y="431"/>
                    <a:pt x="479" y="453"/>
                  </a:cubicBezTo>
                  <a:cubicBezTo>
                    <a:pt x="501" y="467"/>
                    <a:pt x="512" y="489"/>
                    <a:pt x="526" y="512"/>
                  </a:cubicBezTo>
                  <a:cubicBezTo>
                    <a:pt x="537" y="523"/>
                    <a:pt x="537" y="548"/>
                    <a:pt x="537" y="559"/>
                  </a:cubicBezTo>
                  <a:cubicBezTo>
                    <a:pt x="537" y="607"/>
                    <a:pt x="526" y="640"/>
                    <a:pt x="526" y="688"/>
                  </a:cubicBezTo>
                  <a:cubicBezTo>
                    <a:pt x="526" y="699"/>
                    <a:pt x="526" y="721"/>
                    <a:pt x="537" y="733"/>
                  </a:cubicBezTo>
                  <a:cubicBezTo>
                    <a:pt x="548" y="791"/>
                    <a:pt x="582" y="828"/>
                    <a:pt x="641" y="850"/>
                  </a:cubicBezTo>
                  <a:cubicBezTo>
                    <a:pt x="677" y="861"/>
                    <a:pt x="699" y="861"/>
                    <a:pt x="736" y="861"/>
                  </a:cubicBezTo>
                  <a:cubicBezTo>
                    <a:pt x="769" y="861"/>
                    <a:pt x="792" y="861"/>
                    <a:pt x="817" y="872"/>
                  </a:cubicBezTo>
                  <a:lnTo>
                    <a:pt x="876" y="886"/>
                  </a:lnTo>
                  <a:lnTo>
                    <a:pt x="839" y="839"/>
                  </a:lnTo>
                  <a:lnTo>
                    <a:pt x="839" y="828"/>
                  </a:lnTo>
                  <a:lnTo>
                    <a:pt x="850" y="828"/>
                  </a:lnTo>
                  <a:lnTo>
                    <a:pt x="850" y="817"/>
                  </a:lnTo>
                  <a:cubicBezTo>
                    <a:pt x="862" y="817"/>
                    <a:pt x="862" y="817"/>
                    <a:pt x="876" y="828"/>
                  </a:cubicBezTo>
                  <a:cubicBezTo>
                    <a:pt x="876" y="839"/>
                    <a:pt x="887" y="850"/>
                    <a:pt x="887" y="861"/>
                  </a:cubicBezTo>
                  <a:cubicBezTo>
                    <a:pt x="887" y="886"/>
                    <a:pt x="876" y="898"/>
                    <a:pt x="876" y="920"/>
                  </a:cubicBezTo>
                  <a:cubicBezTo>
                    <a:pt x="876" y="931"/>
                    <a:pt x="876" y="942"/>
                    <a:pt x="887" y="942"/>
                  </a:cubicBezTo>
                  <a:cubicBezTo>
                    <a:pt x="887" y="979"/>
                    <a:pt x="898" y="1001"/>
                    <a:pt x="920" y="1026"/>
                  </a:cubicBezTo>
                  <a:cubicBezTo>
                    <a:pt x="932" y="1049"/>
                    <a:pt x="946" y="1060"/>
                    <a:pt x="957" y="1082"/>
                  </a:cubicBezTo>
                  <a:lnTo>
                    <a:pt x="968" y="1096"/>
                  </a:lnTo>
                  <a:lnTo>
                    <a:pt x="957" y="1096"/>
                  </a:lnTo>
                  <a:cubicBezTo>
                    <a:pt x="946" y="1096"/>
                    <a:pt x="932" y="1107"/>
                    <a:pt x="920" y="1107"/>
                  </a:cubicBezTo>
                  <a:cubicBezTo>
                    <a:pt x="909" y="1107"/>
                    <a:pt x="898" y="1096"/>
                    <a:pt x="887" y="1096"/>
                  </a:cubicBezTo>
                  <a:cubicBezTo>
                    <a:pt x="876" y="1082"/>
                    <a:pt x="850" y="1071"/>
                    <a:pt x="839" y="1049"/>
                  </a:cubicBezTo>
                  <a:cubicBezTo>
                    <a:pt x="817" y="1026"/>
                    <a:pt x="806" y="1001"/>
                    <a:pt x="769" y="990"/>
                  </a:cubicBezTo>
                  <a:cubicBezTo>
                    <a:pt x="747" y="979"/>
                    <a:pt x="722" y="979"/>
                    <a:pt x="699" y="979"/>
                  </a:cubicBezTo>
                  <a:cubicBezTo>
                    <a:pt x="677" y="967"/>
                    <a:pt x="652" y="967"/>
                    <a:pt x="641" y="956"/>
                  </a:cubicBezTo>
                  <a:cubicBezTo>
                    <a:pt x="630" y="956"/>
                    <a:pt x="618" y="942"/>
                    <a:pt x="607" y="920"/>
                  </a:cubicBezTo>
                  <a:cubicBezTo>
                    <a:pt x="596" y="909"/>
                    <a:pt x="582" y="898"/>
                    <a:pt x="560" y="886"/>
                  </a:cubicBezTo>
                  <a:cubicBezTo>
                    <a:pt x="537" y="872"/>
                    <a:pt x="526" y="872"/>
                    <a:pt x="512" y="872"/>
                  </a:cubicBezTo>
                  <a:lnTo>
                    <a:pt x="490" y="872"/>
                  </a:lnTo>
                  <a:cubicBezTo>
                    <a:pt x="479" y="861"/>
                    <a:pt x="467" y="850"/>
                    <a:pt x="456" y="839"/>
                  </a:cubicBezTo>
                  <a:cubicBezTo>
                    <a:pt x="442" y="817"/>
                    <a:pt x="431" y="791"/>
                    <a:pt x="431" y="769"/>
                  </a:cubicBezTo>
                  <a:lnTo>
                    <a:pt x="431" y="699"/>
                  </a:lnTo>
                  <a:cubicBezTo>
                    <a:pt x="431" y="677"/>
                    <a:pt x="420" y="652"/>
                    <a:pt x="409" y="618"/>
                  </a:cubicBezTo>
                  <a:cubicBezTo>
                    <a:pt x="397" y="593"/>
                    <a:pt x="372" y="582"/>
                    <a:pt x="339" y="570"/>
                  </a:cubicBezTo>
                  <a:cubicBezTo>
                    <a:pt x="316" y="559"/>
                    <a:pt x="291" y="548"/>
                    <a:pt x="280" y="548"/>
                  </a:cubicBezTo>
                  <a:cubicBezTo>
                    <a:pt x="269" y="537"/>
                    <a:pt x="258" y="523"/>
                    <a:pt x="246" y="512"/>
                  </a:cubicBezTo>
                  <a:cubicBezTo>
                    <a:pt x="232" y="501"/>
                    <a:pt x="232" y="478"/>
                    <a:pt x="221" y="442"/>
                  </a:cubicBezTo>
                  <a:cubicBezTo>
                    <a:pt x="199" y="419"/>
                    <a:pt x="188" y="397"/>
                    <a:pt x="163" y="372"/>
                  </a:cubicBezTo>
                  <a:cubicBezTo>
                    <a:pt x="151" y="372"/>
                    <a:pt x="129" y="361"/>
                    <a:pt x="118" y="361"/>
                  </a:cubicBezTo>
                  <a:cubicBezTo>
                    <a:pt x="107" y="350"/>
                    <a:pt x="93" y="350"/>
                    <a:pt x="93" y="350"/>
                  </a:cubicBezTo>
                  <a:cubicBezTo>
                    <a:pt x="81" y="338"/>
                    <a:pt x="70" y="313"/>
                    <a:pt x="59" y="291"/>
                  </a:cubicBezTo>
                  <a:cubicBezTo>
                    <a:pt x="59" y="257"/>
                    <a:pt x="48" y="232"/>
                    <a:pt x="48" y="210"/>
                  </a:cubicBezTo>
                  <a:cubicBezTo>
                    <a:pt x="48" y="199"/>
                    <a:pt x="48" y="173"/>
                    <a:pt x="59" y="162"/>
                  </a:cubicBezTo>
                  <a:cubicBezTo>
                    <a:pt x="70" y="129"/>
                    <a:pt x="118" y="103"/>
                    <a:pt x="151" y="103"/>
                  </a:cubicBezTo>
                  <a:cubicBezTo>
                    <a:pt x="177" y="92"/>
                    <a:pt x="188" y="92"/>
                    <a:pt x="199" y="92"/>
                  </a:cubicBezTo>
                  <a:cubicBezTo>
                    <a:pt x="232" y="92"/>
                    <a:pt x="258" y="103"/>
                    <a:pt x="291" y="103"/>
                  </a:cubicBezTo>
                  <a:lnTo>
                    <a:pt x="316" y="103"/>
                  </a:lnTo>
                  <a:cubicBezTo>
                    <a:pt x="328" y="103"/>
                    <a:pt x="350" y="103"/>
                    <a:pt x="361" y="92"/>
                  </a:cubicBezTo>
                  <a:cubicBezTo>
                    <a:pt x="372" y="81"/>
                    <a:pt x="386" y="81"/>
                    <a:pt x="386" y="70"/>
                  </a:cubicBezTo>
                  <a:cubicBezTo>
                    <a:pt x="386" y="59"/>
                    <a:pt x="397" y="59"/>
                    <a:pt x="397" y="59"/>
                  </a:cubicBezTo>
                  <a:cubicBezTo>
                    <a:pt x="409" y="48"/>
                    <a:pt x="409" y="48"/>
                    <a:pt x="431" y="48"/>
                  </a:cubicBezTo>
                  <a:close/>
                  <a:moveTo>
                    <a:pt x="431" y="0"/>
                  </a:moveTo>
                  <a:cubicBezTo>
                    <a:pt x="409" y="0"/>
                    <a:pt x="386" y="0"/>
                    <a:pt x="361" y="22"/>
                  </a:cubicBezTo>
                  <a:cubicBezTo>
                    <a:pt x="361" y="22"/>
                    <a:pt x="350" y="34"/>
                    <a:pt x="350" y="48"/>
                  </a:cubicBezTo>
                  <a:cubicBezTo>
                    <a:pt x="339" y="48"/>
                    <a:pt x="339" y="48"/>
                    <a:pt x="339" y="59"/>
                  </a:cubicBezTo>
                  <a:lnTo>
                    <a:pt x="291" y="59"/>
                  </a:lnTo>
                  <a:cubicBezTo>
                    <a:pt x="269" y="59"/>
                    <a:pt x="232" y="48"/>
                    <a:pt x="199" y="48"/>
                  </a:cubicBezTo>
                  <a:cubicBezTo>
                    <a:pt x="188" y="48"/>
                    <a:pt x="163" y="48"/>
                    <a:pt x="151" y="59"/>
                  </a:cubicBezTo>
                  <a:cubicBezTo>
                    <a:pt x="93" y="70"/>
                    <a:pt x="48" y="92"/>
                    <a:pt x="12" y="151"/>
                  </a:cubicBezTo>
                  <a:cubicBezTo>
                    <a:pt x="12" y="162"/>
                    <a:pt x="0" y="187"/>
                    <a:pt x="0" y="210"/>
                  </a:cubicBezTo>
                  <a:cubicBezTo>
                    <a:pt x="0" y="243"/>
                    <a:pt x="12" y="268"/>
                    <a:pt x="12" y="302"/>
                  </a:cubicBezTo>
                  <a:cubicBezTo>
                    <a:pt x="23" y="327"/>
                    <a:pt x="37" y="361"/>
                    <a:pt x="59" y="383"/>
                  </a:cubicBezTo>
                  <a:cubicBezTo>
                    <a:pt x="70" y="397"/>
                    <a:pt x="93" y="397"/>
                    <a:pt x="107" y="408"/>
                  </a:cubicBezTo>
                  <a:cubicBezTo>
                    <a:pt x="118" y="408"/>
                    <a:pt x="129" y="408"/>
                    <a:pt x="140" y="419"/>
                  </a:cubicBezTo>
                  <a:cubicBezTo>
                    <a:pt x="151" y="431"/>
                    <a:pt x="177" y="453"/>
                    <a:pt x="188" y="489"/>
                  </a:cubicBezTo>
                  <a:cubicBezTo>
                    <a:pt x="188" y="512"/>
                    <a:pt x="199" y="523"/>
                    <a:pt x="210" y="537"/>
                  </a:cubicBezTo>
                  <a:cubicBezTo>
                    <a:pt x="221" y="559"/>
                    <a:pt x="232" y="570"/>
                    <a:pt x="258" y="582"/>
                  </a:cubicBezTo>
                  <a:cubicBezTo>
                    <a:pt x="280" y="593"/>
                    <a:pt x="302" y="607"/>
                    <a:pt x="328" y="607"/>
                  </a:cubicBezTo>
                  <a:cubicBezTo>
                    <a:pt x="339" y="618"/>
                    <a:pt x="361" y="629"/>
                    <a:pt x="361" y="640"/>
                  </a:cubicBezTo>
                  <a:cubicBezTo>
                    <a:pt x="372" y="663"/>
                    <a:pt x="386" y="688"/>
                    <a:pt x="386" y="710"/>
                  </a:cubicBezTo>
                  <a:lnTo>
                    <a:pt x="386" y="780"/>
                  </a:lnTo>
                  <a:cubicBezTo>
                    <a:pt x="397" y="803"/>
                    <a:pt x="397" y="828"/>
                    <a:pt x="409" y="861"/>
                  </a:cubicBezTo>
                  <a:cubicBezTo>
                    <a:pt x="420" y="886"/>
                    <a:pt x="442" y="909"/>
                    <a:pt x="479" y="920"/>
                  </a:cubicBezTo>
                  <a:lnTo>
                    <a:pt x="537" y="920"/>
                  </a:lnTo>
                  <a:cubicBezTo>
                    <a:pt x="548" y="931"/>
                    <a:pt x="560" y="942"/>
                    <a:pt x="571" y="956"/>
                  </a:cubicBezTo>
                  <a:cubicBezTo>
                    <a:pt x="582" y="967"/>
                    <a:pt x="596" y="990"/>
                    <a:pt x="607" y="1001"/>
                  </a:cubicBezTo>
                  <a:cubicBezTo>
                    <a:pt x="641" y="1012"/>
                    <a:pt x="666" y="1012"/>
                    <a:pt x="688" y="1026"/>
                  </a:cubicBezTo>
                  <a:cubicBezTo>
                    <a:pt x="711" y="1026"/>
                    <a:pt x="736" y="1026"/>
                    <a:pt x="758" y="1037"/>
                  </a:cubicBezTo>
                  <a:cubicBezTo>
                    <a:pt x="769" y="1037"/>
                    <a:pt x="781" y="1060"/>
                    <a:pt x="806" y="1071"/>
                  </a:cubicBezTo>
                  <a:cubicBezTo>
                    <a:pt x="817" y="1096"/>
                    <a:pt x="839" y="1118"/>
                    <a:pt x="862" y="1130"/>
                  </a:cubicBezTo>
                  <a:cubicBezTo>
                    <a:pt x="887" y="1141"/>
                    <a:pt x="909" y="1152"/>
                    <a:pt x="920" y="1152"/>
                  </a:cubicBezTo>
                  <a:cubicBezTo>
                    <a:pt x="946" y="1152"/>
                    <a:pt x="957" y="1141"/>
                    <a:pt x="979" y="1141"/>
                  </a:cubicBezTo>
                  <a:cubicBezTo>
                    <a:pt x="990" y="1130"/>
                    <a:pt x="1001" y="1130"/>
                    <a:pt x="1001" y="1107"/>
                  </a:cubicBezTo>
                  <a:lnTo>
                    <a:pt x="1015" y="1096"/>
                  </a:lnTo>
                  <a:cubicBezTo>
                    <a:pt x="1001" y="1071"/>
                    <a:pt x="1001" y="1060"/>
                    <a:pt x="1001" y="1060"/>
                  </a:cubicBezTo>
                  <a:cubicBezTo>
                    <a:pt x="979" y="1037"/>
                    <a:pt x="968" y="1012"/>
                    <a:pt x="957" y="990"/>
                  </a:cubicBezTo>
                  <a:cubicBezTo>
                    <a:pt x="946" y="979"/>
                    <a:pt x="932" y="956"/>
                    <a:pt x="920" y="942"/>
                  </a:cubicBezTo>
                  <a:lnTo>
                    <a:pt x="920" y="920"/>
                  </a:lnTo>
                  <a:cubicBezTo>
                    <a:pt x="920" y="909"/>
                    <a:pt x="932" y="886"/>
                    <a:pt x="932" y="861"/>
                  </a:cubicBezTo>
                  <a:lnTo>
                    <a:pt x="932" y="850"/>
                  </a:lnTo>
                  <a:cubicBezTo>
                    <a:pt x="932" y="839"/>
                    <a:pt x="920" y="817"/>
                    <a:pt x="909" y="803"/>
                  </a:cubicBezTo>
                  <a:cubicBezTo>
                    <a:pt x="898" y="780"/>
                    <a:pt x="876" y="769"/>
                    <a:pt x="850" y="769"/>
                  </a:cubicBezTo>
                  <a:cubicBezTo>
                    <a:pt x="828" y="769"/>
                    <a:pt x="817" y="780"/>
                    <a:pt x="806" y="791"/>
                  </a:cubicBezTo>
                  <a:cubicBezTo>
                    <a:pt x="806" y="800"/>
                    <a:pt x="797" y="810"/>
                    <a:pt x="794" y="820"/>
                  </a:cubicBezTo>
                  <a:lnTo>
                    <a:pt x="794" y="820"/>
                  </a:lnTo>
                  <a:cubicBezTo>
                    <a:pt x="774" y="817"/>
                    <a:pt x="757" y="817"/>
                    <a:pt x="736" y="817"/>
                  </a:cubicBezTo>
                  <a:cubicBezTo>
                    <a:pt x="699" y="817"/>
                    <a:pt x="677" y="817"/>
                    <a:pt x="652" y="803"/>
                  </a:cubicBezTo>
                  <a:cubicBezTo>
                    <a:pt x="618" y="791"/>
                    <a:pt x="582" y="758"/>
                    <a:pt x="582" y="721"/>
                  </a:cubicBezTo>
                  <a:cubicBezTo>
                    <a:pt x="571" y="710"/>
                    <a:pt x="571" y="699"/>
                    <a:pt x="571" y="688"/>
                  </a:cubicBezTo>
                  <a:cubicBezTo>
                    <a:pt x="571" y="652"/>
                    <a:pt x="582" y="607"/>
                    <a:pt x="582" y="559"/>
                  </a:cubicBezTo>
                  <a:cubicBezTo>
                    <a:pt x="582" y="537"/>
                    <a:pt x="582" y="512"/>
                    <a:pt x="571" y="489"/>
                  </a:cubicBezTo>
                  <a:cubicBezTo>
                    <a:pt x="548" y="453"/>
                    <a:pt x="526" y="431"/>
                    <a:pt x="501" y="419"/>
                  </a:cubicBezTo>
                  <a:cubicBezTo>
                    <a:pt x="490" y="397"/>
                    <a:pt x="467" y="383"/>
                    <a:pt x="456" y="361"/>
                  </a:cubicBezTo>
                  <a:lnTo>
                    <a:pt x="456" y="350"/>
                  </a:lnTo>
                  <a:lnTo>
                    <a:pt x="467" y="350"/>
                  </a:lnTo>
                  <a:cubicBezTo>
                    <a:pt x="490" y="327"/>
                    <a:pt x="526" y="327"/>
                    <a:pt x="548" y="313"/>
                  </a:cubicBezTo>
                  <a:cubicBezTo>
                    <a:pt x="582" y="302"/>
                    <a:pt x="607" y="280"/>
                    <a:pt x="630" y="243"/>
                  </a:cubicBezTo>
                  <a:cubicBezTo>
                    <a:pt x="652" y="221"/>
                    <a:pt x="652" y="187"/>
                    <a:pt x="652" y="162"/>
                  </a:cubicBezTo>
                  <a:lnTo>
                    <a:pt x="652" y="140"/>
                  </a:lnTo>
                  <a:cubicBezTo>
                    <a:pt x="652" y="129"/>
                    <a:pt x="652" y="117"/>
                    <a:pt x="641" y="92"/>
                  </a:cubicBezTo>
                  <a:cubicBezTo>
                    <a:pt x="630" y="81"/>
                    <a:pt x="618" y="70"/>
                    <a:pt x="607" y="59"/>
                  </a:cubicBezTo>
                  <a:cubicBezTo>
                    <a:pt x="582" y="59"/>
                    <a:pt x="571" y="59"/>
                    <a:pt x="560" y="48"/>
                  </a:cubicBezTo>
                  <a:cubicBezTo>
                    <a:pt x="537" y="34"/>
                    <a:pt x="512" y="22"/>
                    <a:pt x="479" y="11"/>
                  </a:cubicBezTo>
                  <a:cubicBezTo>
                    <a:pt x="467" y="0"/>
                    <a:pt x="442" y="0"/>
                    <a:pt x="431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93;p17">
              <a:extLst>
                <a:ext uri="{FF2B5EF4-FFF2-40B4-BE49-F238E27FC236}">
                  <a16:creationId xmlns:a16="http://schemas.microsoft.com/office/drawing/2014/main" xmlns="" id="{DD7F425B-3D6D-7B02-306F-17A180C901F1}"/>
                </a:ext>
              </a:extLst>
            </p:cNvPr>
            <p:cNvSpPr/>
            <p:nvPr/>
          </p:nvSpPr>
          <p:spPr>
            <a:xfrm>
              <a:off x="874162" y="1754091"/>
              <a:ext cx="29972" cy="19828"/>
            </a:xfrm>
            <a:custGeom>
              <a:avLst/>
              <a:gdLst/>
              <a:ahLst/>
              <a:cxnLst/>
              <a:rect l="l" t="t" r="r" b="b"/>
              <a:pathLst>
                <a:path w="130" h="86" extrusionOk="0">
                  <a:moveTo>
                    <a:pt x="93" y="1"/>
                  </a:moveTo>
                  <a:cubicBezTo>
                    <a:pt x="84" y="1"/>
                    <a:pt x="74" y="7"/>
                    <a:pt x="59" y="7"/>
                  </a:cubicBezTo>
                  <a:cubicBezTo>
                    <a:pt x="37" y="7"/>
                    <a:pt x="23" y="7"/>
                    <a:pt x="12" y="18"/>
                  </a:cubicBezTo>
                  <a:cubicBezTo>
                    <a:pt x="1" y="29"/>
                    <a:pt x="1" y="40"/>
                    <a:pt x="12" y="51"/>
                  </a:cubicBezTo>
                  <a:lnTo>
                    <a:pt x="23" y="51"/>
                  </a:lnTo>
                  <a:cubicBezTo>
                    <a:pt x="48" y="51"/>
                    <a:pt x="48" y="77"/>
                    <a:pt x="59" y="77"/>
                  </a:cubicBezTo>
                  <a:cubicBezTo>
                    <a:pt x="65" y="82"/>
                    <a:pt x="70" y="85"/>
                    <a:pt x="78" y="85"/>
                  </a:cubicBezTo>
                  <a:cubicBezTo>
                    <a:pt x="85" y="85"/>
                    <a:pt x="94" y="82"/>
                    <a:pt x="107" y="77"/>
                  </a:cubicBezTo>
                  <a:cubicBezTo>
                    <a:pt x="118" y="77"/>
                    <a:pt x="129" y="51"/>
                    <a:pt x="129" y="29"/>
                  </a:cubicBezTo>
                  <a:lnTo>
                    <a:pt x="129" y="18"/>
                  </a:lnTo>
                  <a:cubicBezTo>
                    <a:pt x="118" y="18"/>
                    <a:pt x="118" y="7"/>
                    <a:pt x="107" y="7"/>
                  </a:cubicBezTo>
                  <a:cubicBezTo>
                    <a:pt x="102" y="2"/>
                    <a:pt x="98" y="1"/>
                    <a:pt x="93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94;p17">
              <a:extLst>
                <a:ext uri="{FF2B5EF4-FFF2-40B4-BE49-F238E27FC236}">
                  <a16:creationId xmlns:a16="http://schemas.microsoft.com/office/drawing/2014/main" xmlns="" id="{4C414BC4-D371-3552-7745-8E3684E24577}"/>
                </a:ext>
              </a:extLst>
            </p:cNvPr>
            <p:cNvSpPr/>
            <p:nvPr/>
          </p:nvSpPr>
          <p:spPr>
            <a:xfrm>
              <a:off x="869090" y="1749711"/>
              <a:ext cx="40116" cy="29972"/>
            </a:xfrm>
            <a:custGeom>
              <a:avLst/>
              <a:gdLst/>
              <a:ahLst/>
              <a:cxnLst/>
              <a:rect l="l" t="t" r="r" b="b"/>
              <a:pathLst>
                <a:path w="174" h="130" extrusionOk="0">
                  <a:moveTo>
                    <a:pt x="129" y="48"/>
                  </a:moveTo>
                  <a:lnTo>
                    <a:pt x="129" y="59"/>
                  </a:lnTo>
                  <a:cubicBezTo>
                    <a:pt x="129" y="59"/>
                    <a:pt x="115" y="70"/>
                    <a:pt x="115" y="82"/>
                  </a:cubicBezTo>
                  <a:lnTo>
                    <a:pt x="92" y="82"/>
                  </a:lnTo>
                  <a:cubicBezTo>
                    <a:pt x="92" y="82"/>
                    <a:pt x="92" y="70"/>
                    <a:pt x="81" y="70"/>
                  </a:cubicBezTo>
                  <a:cubicBezTo>
                    <a:pt x="81" y="70"/>
                    <a:pt x="81" y="59"/>
                    <a:pt x="70" y="59"/>
                  </a:cubicBezTo>
                  <a:cubicBezTo>
                    <a:pt x="70" y="59"/>
                    <a:pt x="70" y="48"/>
                    <a:pt x="59" y="48"/>
                  </a:cubicBezTo>
                  <a:close/>
                  <a:moveTo>
                    <a:pt x="34" y="1"/>
                  </a:moveTo>
                  <a:cubicBezTo>
                    <a:pt x="23" y="12"/>
                    <a:pt x="23" y="12"/>
                    <a:pt x="11" y="26"/>
                  </a:cubicBezTo>
                  <a:cubicBezTo>
                    <a:pt x="11" y="37"/>
                    <a:pt x="0" y="37"/>
                    <a:pt x="0" y="59"/>
                  </a:cubicBezTo>
                  <a:lnTo>
                    <a:pt x="0" y="82"/>
                  </a:lnTo>
                  <a:cubicBezTo>
                    <a:pt x="11" y="82"/>
                    <a:pt x="11" y="82"/>
                    <a:pt x="23" y="96"/>
                  </a:cubicBezTo>
                  <a:lnTo>
                    <a:pt x="45" y="96"/>
                  </a:lnTo>
                  <a:cubicBezTo>
                    <a:pt x="45" y="107"/>
                    <a:pt x="59" y="107"/>
                    <a:pt x="59" y="118"/>
                  </a:cubicBezTo>
                  <a:cubicBezTo>
                    <a:pt x="70" y="129"/>
                    <a:pt x="81" y="129"/>
                    <a:pt x="104" y="129"/>
                  </a:cubicBezTo>
                  <a:cubicBezTo>
                    <a:pt x="115" y="129"/>
                    <a:pt x="129" y="129"/>
                    <a:pt x="140" y="118"/>
                  </a:cubicBezTo>
                  <a:cubicBezTo>
                    <a:pt x="162" y="107"/>
                    <a:pt x="174" y="82"/>
                    <a:pt x="174" y="59"/>
                  </a:cubicBezTo>
                  <a:lnTo>
                    <a:pt x="174" y="37"/>
                  </a:lnTo>
                  <a:lnTo>
                    <a:pt x="162" y="37"/>
                  </a:lnTo>
                  <a:lnTo>
                    <a:pt x="162" y="26"/>
                  </a:lnTo>
                  <a:cubicBezTo>
                    <a:pt x="162" y="12"/>
                    <a:pt x="151" y="12"/>
                    <a:pt x="140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95;p17">
              <a:extLst>
                <a:ext uri="{FF2B5EF4-FFF2-40B4-BE49-F238E27FC236}">
                  <a16:creationId xmlns:a16="http://schemas.microsoft.com/office/drawing/2014/main" xmlns="" id="{9CA48C8D-E609-DAB6-E2E8-35BD2ABA1D53}"/>
                </a:ext>
              </a:extLst>
            </p:cNvPr>
            <p:cNvSpPr/>
            <p:nvPr/>
          </p:nvSpPr>
          <p:spPr>
            <a:xfrm>
              <a:off x="798772" y="1767233"/>
              <a:ext cx="40807" cy="25822"/>
            </a:xfrm>
            <a:custGeom>
              <a:avLst/>
              <a:gdLst/>
              <a:ahLst/>
              <a:cxnLst/>
              <a:rect l="l" t="t" r="r" b="b"/>
              <a:pathLst>
                <a:path w="177" h="112" extrusionOk="0">
                  <a:moveTo>
                    <a:pt x="115" y="1"/>
                  </a:moveTo>
                  <a:cubicBezTo>
                    <a:pt x="96" y="1"/>
                    <a:pt x="76" y="6"/>
                    <a:pt x="59" y="6"/>
                  </a:cubicBezTo>
                  <a:cubicBezTo>
                    <a:pt x="48" y="20"/>
                    <a:pt x="26" y="20"/>
                    <a:pt x="14" y="31"/>
                  </a:cubicBezTo>
                  <a:cubicBezTo>
                    <a:pt x="0" y="42"/>
                    <a:pt x="0" y="64"/>
                    <a:pt x="14" y="76"/>
                  </a:cubicBezTo>
                  <a:cubicBezTo>
                    <a:pt x="14" y="76"/>
                    <a:pt x="26" y="76"/>
                    <a:pt x="37" y="90"/>
                  </a:cubicBezTo>
                  <a:cubicBezTo>
                    <a:pt x="48" y="90"/>
                    <a:pt x="59" y="101"/>
                    <a:pt x="84" y="112"/>
                  </a:cubicBezTo>
                  <a:cubicBezTo>
                    <a:pt x="95" y="112"/>
                    <a:pt x="118" y="112"/>
                    <a:pt x="118" y="101"/>
                  </a:cubicBezTo>
                  <a:cubicBezTo>
                    <a:pt x="129" y="90"/>
                    <a:pt x="129" y="90"/>
                    <a:pt x="129" y="76"/>
                  </a:cubicBezTo>
                  <a:cubicBezTo>
                    <a:pt x="140" y="64"/>
                    <a:pt x="165" y="64"/>
                    <a:pt x="165" y="53"/>
                  </a:cubicBezTo>
                  <a:lnTo>
                    <a:pt x="177" y="42"/>
                  </a:lnTo>
                  <a:cubicBezTo>
                    <a:pt x="177" y="20"/>
                    <a:pt x="154" y="6"/>
                    <a:pt x="140" y="6"/>
                  </a:cubicBezTo>
                  <a:cubicBezTo>
                    <a:pt x="133" y="2"/>
                    <a:pt x="124" y="1"/>
                    <a:pt x="115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96;p17">
              <a:extLst>
                <a:ext uri="{FF2B5EF4-FFF2-40B4-BE49-F238E27FC236}">
                  <a16:creationId xmlns:a16="http://schemas.microsoft.com/office/drawing/2014/main" xmlns="" id="{2246F6CF-8D7A-6FF8-5CA9-47E6C9519CE7}"/>
                </a:ext>
              </a:extLst>
            </p:cNvPr>
            <p:cNvSpPr/>
            <p:nvPr/>
          </p:nvSpPr>
          <p:spPr>
            <a:xfrm>
              <a:off x="793700" y="1760777"/>
              <a:ext cx="50952" cy="37580"/>
            </a:xfrm>
            <a:custGeom>
              <a:avLst/>
              <a:gdLst/>
              <a:ahLst/>
              <a:cxnLst/>
              <a:rect l="l" t="t" r="r" b="b"/>
              <a:pathLst>
                <a:path w="221" h="163" extrusionOk="0">
                  <a:moveTo>
                    <a:pt x="140" y="48"/>
                  </a:moveTo>
                  <a:cubicBezTo>
                    <a:pt x="140" y="48"/>
                    <a:pt x="151" y="48"/>
                    <a:pt x="151" y="59"/>
                  </a:cubicBezTo>
                  <a:lnTo>
                    <a:pt x="176" y="59"/>
                  </a:lnTo>
                  <a:lnTo>
                    <a:pt x="162" y="70"/>
                  </a:lnTo>
                  <a:cubicBezTo>
                    <a:pt x="151" y="70"/>
                    <a:pt x="151" y="70"/>
                    <a:pt x="140" y="81"/>
                  </a:cubicBezTo>
                  <a:lnTo>
                    <a:pt x="129" y="92"/>
                  </a:lnTo>
                  <a:lnTo>
                    <a:pt x="129" y="118"/>
                  </a:lnTo>
                  <a:lnTo>
                    <a:pt x="106" y="118"/>
                  </a:lnTo>
                  <a:cubicBezTo>
                    <a:pt x="106" y="118"/>
                    <a:pt x="92" y="104"/>
                    <a:pt x="70" y="92"/>
                  </a:cubicBezTo>
                  <a:cubicBezTo>
                    <a:pt x="59" y="92"/>
                    <a:pt x="59" y="92"/>
                    <a:pt x="59" y="81"/>
                  </a:cubicBezTo>
                  <a:lnTo>
                    <a:pt x="48" y="81"/>
                  </a:lnTo>
                  <a:lnTo>
                    <a:pt x="59" y="70"/>
                  </a:lnTo>
                  <a:cubicBezTo>
                    <a:pt x="59" y="70"/>
                    <a:pt x="70" y="59"/>
                    <a:pt x="92" y="59"/>
                  </a:cubicBezTo>
                  <a:cubicBezTo>
                    <a:pt x="106" y="59"/>
                    <a:pt x="129" y="48"/>
                    <a:pt x="140" y="48"/>
                  </a:cubicBezTo>
                  <a:close/>
                  <a:moveTo>
                    <a:pt x="140" y="0"/>
                  </a:moveTo>
                  <a:cubicBezTo>
                    <a:pt x="117" y="0"/>
                    <a:pt x="92" y="11"/>
                    <a:pt x="81" y="11"/>
                  </a:cubicBezTo>
                  <a:cubicBezTo>
                    <a:pt x="59" y="22"/>
                    <a:pt x="36" y="22"/>
                    <a:pt x="22" y="34"/>
                  </a:cubicBezTo>
                  <a:cubicBezTo>
                    <a:pt x="11" y="48"/>
                    <a:pt x="0" y="70"/>
                    <a:pt x="0" y="81"/>
                  </a:cubicBezTo>
                  <a:cubicBezTo>
                    <a:pt x="0" y="92"/>
                    <a:pt x="11" y="104"/>
                    <a:pt x="11" y="118"/>
                  </a:cubicBezTo>
                  <a:cubicBezTo>
                    <a:pt x="22" y="129"/>
                    <a:pt x="36" y="129"/>
                    <a:pt x="36" y="129"/>
                  </a:cubicBezTo>
                  <a:cubicBezTo>
                    <a:pt x="48" y="129"/>
                    <a:pt x="48" y="129"/>
                    <a:pt x="48" y="140"/>
                  </a:cubicBezTo>
                  <a:cubicBezTo>
                    <a:pt x="59" y="140"/>
                    <a:pt x="70" y="151"/>
                    <a:pt x="92" y="162"/>
                  </a:cubicBezTo>
                  <a:lnTo>
                    <a:pt x="140" y="162"/>
                  </a:lnTo>
                  <a:cubicBezTo>
                    <a:pt x="151" y="151"/>
                    <a:pt x="162" y="151"/>
                    <a:pt x="162" y="140"/>
                  </a:cubicBezTo>
                  <a:cubicBezTo>
                    <a:pt x="162" y="129"/>
                    <a:pt x="162" y="129"/>
                    <a:pt x="176" y="118"/>
                  </a:cubicBezTo>
                  <a:lnTo>
                    <a:pt x="187" y="104"/>
                  </a:lnTo>
                  <a:cubicBezTo>
                    <a:pt x="199" y="104"/>
                    <a:pt x="199" y="104"/>
                    <a:pt x="210" y="92"/>
                  </a:cubicBezTo>
                  <a:lnTo>
                    <a:pt x="210" y="81"/>
                  </a:lnTo>
                  <a:lnTo>
                    <a:pt x="221" y="81"/>
                  </a:lnTo>
                  <a:lnTo>
                    <a:pt x="221" y="70"/>
                  </a:lnTo>
                  <a:cubicBezTo>
                    <a:pt x="221" y="48"/>
                    <a:pt x="210" y="34"/>
                    <a:pt x="199" y="22"/>
                  </a:cubicBezTo>
                  <a:cubicBezTo>
                    <a:pt x="187" y="11"/>
                    <a:pt x="176" y="11"/>
                    <a:pt x="162" y="11"/>
                  </a:cubicBezTo>
                  <a:cubicBezTo>
                    <a:pt x="162" y="0"/>
                    <a:pt x="151" y="0"/>
                    <a:pt x="140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97;p17">
              <a:extLst>
                <a:ext uri="{FF2B5EF4-FFF2-40B4-BE49-F238E27FC236}">
                  <a16:creationId xmlns:a16="http://schemas.microsoft.com/office/drawing/2014/main" xmlns="" id="{A80441E1-D3EF-FA2C-87B8-A2BBDC04770F}"/>
                </a:ext>
              </a:extLst>
            </p:cNvPr>
            <p:cNvSpPr/>
            <p:nvPr/>
          </p:nvSpPr>
          <p:spPr>
            <a:xfrm>
              <a:off x="850416" y="1803891"/>
              <a:ext cx="26513" cy="23978"/>
            </a:xfrm>
            <a:custGeom>
              <a:avLst/>
              <a:gdLst/>
              <a:ahLst/>
              <a:cxnLst/>
              <a:rect l="l" t="t" r="r" b="b"/>
              <a:pathLst>
                <a:path w="115" h="104" extrusionOk="0">
                  <a:moveTo>
                    <a:pt x="45" y="0"/>
                  </a:moveTo>
                  <a:cubicBezTo>
                    <a:pt x="34" y="0"/>
                    <a:pt x="22" y="0"/>
                    <a:pt x="11" y="12"/>
                  </a:cubicBezTo>
                  <a:cubicBezTo>
                    <a:pt x="0" y="23"/>
                    <a:pt x="11" y="34"/>
                    <a:pt x="11" y="45"/>
                  </a:cubicBezTo>
                  <a:cubicBezTo>
                    <a:pt x="22" y="56"/>
                    <a:pt x="34" y="70"/>
                    <a:pt x="45" y="70"/>
                  </a:cubicBezTo>
                  <a:lnTo>
                    <a:pt x="56" y="82"/>
                  </a:lnTo>
                  <a:lnTo>
                    <a:pt x="70" y="93"/>
                  </a:lnTo>
                  <a:cubicBezTo>
                    <a:pt x="70" y="104"/>
                    <a:pt x="92" y="104"/>
                    <a:pt x="92" y="104"/>
                  </a:cubicBezTo>
                  <a:lnTo>
                    <a:pt x="104" y="104"/>
                  </a:lnTo>
                  <a:lnTo>
                    <a:pt x="115" y="93"/>
                  </a:lnTo>
                  <a:cubicBezTo>
                    <a:pt x="115" y="70"/>
                    <a:pt x="115" y="45"/>
                    <a:pt x="104" y="34"/>
                  </a:cubicBezTo>
                  <a:cubicBezTo>
                    <a:pt x="92" y="12"/>
                    <a:pt x="70" y="0"/>
                    <a:pt x="4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98;p17">
              <a:extLst>
                <a:ext uri="{FF2B5EF4-FFF2-40B4-BE49-F238E27FC236}">
                  <a16:creationId xmlns:a16="http://schemas.microsoft.com/office/drawing/2014/main" xmlns="" id="{9F3F8249-9696-C6DE-CC22-6961A3C856AB}"/>
                </a:ext>
              </a:extLst>
            </p:cNvPr>
            <p:cNvSpPr/>
            <p:nvPr/>
          </p:nvSpPr>
          <p:spPr>
            <a:xfrm>
              <a:off x="847188" y="1798127"/>
              <a:ext cx="35505" cy="35044"/>
            </a:xfrm>
            <a:custGeom>
              <a:avLst/>
              <a:gdLst/>
              <a:ahLst/>
              <a:cxnLst/>
              <a:rect l="l" t="t" r="r" b="b"/>
              <a:pathLst>
                <a:path w="154" h="152" extrusionOk="0">
                  <a:moveTo>
                    <a:pt x="84" y="48"/>
                  </a:moveTo>
                  <a:cubicBezTo>
                    <a:pt x="95" y="59"/>
                    <a:pt x="95" y="59"/>
                    <a:pt x="95" y="70"/>
                  </a:cubicBezTo>
                  <a:cubicBezTo>
                    <a:pt x="106" y="70"/>
                    <a:pt x="106" y="81"/>
                    <a:pt x="106" y="95"/>
                  </a:cubicBezTo>
                  <a:lnTo>
                    <a:pt x="106" y="107"/>
                  </a:lnTo>
                  <a:lnTo>
                    <a:pt x="95" y="107"/>
                  </a:lnTo>
                  <a:lnTo>
                    <a:pt x="95" y="95"/>
                  </a:lnTo>
                  <a:cubicBezTo>
                    <a:pt x="84" y="81"/>
                    <a:pt x="70" y="81"/>
                    <a:pt x="70" y="70"/>
                  </a:cubicBezTo>
                  <a:cubicBezTo>
                    <a:pt x="59" y="70"/>
                    <a:pt x="48" y="59"/>
                    <a:pt x="48" y="59"/>
                  </a:cubicBezTo>
                  <a:lnTo>
                    <a:pt x="48" y="48"/>
                  </a:lnTo>
                  <a:close/>
                  <a:moveTo>
                    <a:pt x="59" y="0"/>
                  </a:moveTo>
                  <a:cubicBezTo>
                    <a:pt x="48" y="0"/>
                    <a:pt x="25" y="0"/>
                    <a:pt x="14" y="11"/>
                  </a:cubicBezTo>
                  <a:cubicBezTo>
                    <a:pt x="0" y="25"/>
                    <a:pt x="0" y="37"/>
                    <a:pt x="0" y="48"/>
                  </a:cubicBezTo>
                  <a:cubicBezTo>
                    <a:pt x="0" y="59"/>
                    <a:pt x="0" y="70"/>
                    <a:pt x="14" y="81"/>
                  </a:cubicBezTo>
                  <a:cubicBezTo>
                    <a:pt x="25" y="107"/>
                    <a:pt x="36" y="107"/>
                    <a:pt x="48" y="118"/>
                  </a:cubicBezTo>
                  <a:lnTo>
                    <a:pt x="59" y="118"/>
                  </a:lnTo>
                  <a:lnTo>
                    <a:pt x="59" y="129"/>
                  </a:lnTo>
                  <a:cubicBezTo>
                    <a:pt x="70" y="140"/>
                    <a:pt x="84" y="151"/>
                    <a:pt x="84" y="151"/>
                  </a:cubicBezTo>
                  <a:lnTo>
                    <a:pt x="129" y="151"/>
                  </a:lnTo>
                  <a:lnTo>
                    <a:pt x="140" y="140"/>
                  </a:lnTo>
                  <a:lnTo>
                    <a:pt x="154" y="118"/>
                  </a:lnTo>
                  <a:lnTo>
                    <a:pt x="154" y="95"/>
                  </a:lnTo>
                  <a:cubicBezTo>
                    <a:pt x="154" y="70"/>
                    <a:pt x="154" y="59"/>
                    <a:pt x="140" y="48"/>
                  </a:cubicBezTo>
                  <a:cubicBezTo>
                    <a:pt x="129" y="25"/>
                    <a:pt x="118" y="11"/>
                    <a:pt x="106" y="11"/>
                  </a:cubicBezTo>
                  <a:cubicBezTo>
                    <a:pt x="95" y="0"/>
                    <a:pt x="70" y="0"/>
                    <a:pt x="5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99;p17">
              <a:extLst>
                <a:ext uri="{FF2B5EF4-FFF2-40B4-BE49-F238E27FC236}">
                  <a16:creationId xmlns:a16="http://schemas.microsoft.com/office/drawing/2014/main" xmlns="" id="{3175E4FE-CFE6-83E6-6A00-2C0FFB716E8A}"/>
                </a:ext>
              </a:extLst>
            </p:cNvPr>
            <p:cNvSpPr/>
            <p:nvPr/>
          </p:nvSpPr>
          <p:spPr>
            <a:xfrm>
              <a:off x="1110708" y="2080555"/>
              <a:ext cx="72393" cy="69858"/>
            </a:xfrm>
            <a:custGeom>
              <a:avLst/>
              <a:gdLst/>
              <a:ahLst/>
              <a:cxnLst/>
              <a:rect l="l" t="t" r="r" b="b"/>
              <a:pathLst>
                <a:path w="314" h="303" extrusionOk="0">
                  <a:moveTo>
                    <a:pt x="34" y="0"/>
                  </a:moveTo>
                  <a:cubicBezTo>
                    <a:pt x="12" y="11"/>
                    <a:pt x="12" y="22"/>
                    <a:pt x="1" y="34"/>
                  </a:cubicBezTo>
                  <a:cubicBezTo>
                    <a:pt x="1" y="92"/>
                    <a:pt x="34" y="140"/>
                    <a:pt x="82" y="162"/>
                  </a:cubicBezTo>
                  <a:cubicBezTo>
                    <a:pt x="115" y="173"/>
                    <a:pt x="152" y="173"/>
                    <a:pt x="174" y="199"/>
                  </a:cubicBezTo>
                  <a:cubicBezTo>
                    <a:pt x="185" y="210"/>
                    <a:pt x="185" y="232"/>
                    <a:pt x="199" y="243"/>
                  </a:cubicBezTo>
                  <a:cubicBezTo>
                    <a:pt x="222" y="280"/>
                    <a:pt x="269" y="291"/>
                    <a:pt x="314" y="302"/>
                  </a:cubicBezTo>
                  <a:cubicBezTo>
                    <a:pt x="314" y="280"/>
                    <a:pt x="303" y="254"/>
                    <a:pt x="280" y="232"/>
                  </a:cubicBezTo>
                  <a:cubicBezTo>
                    <a:pt x="255" y="221"/>
                    <a:pt x="233" y="210"/>
                    <a:pt x="222" y="185"/>
                  </a:cubicBezTo>
                  <a:cubicBezTo>
                    <a:pt x="185" y="162"/>
                    <a:pt x="174" y="115"/>
                    <a:pt x="152" y="81"/>
                  </a:cubicBezTo>
                  <a:cubicBezTo>
                    <a:pt x="129" y="45"/>
                    <a:pt x="93" y="11"/>
                    <a:pt x="46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100;p17">
              <a:extLst>
                <a:ext uri="{FF2B5EF4-FFF2-40B4-BE49-F238E27FC236}">
                  <a16:creationId xmlns:a16="http://schemas.microsoft.com/office/drawing/2014/main" xmlns="" id="{501DCCA5-C082-1C5C-59D1-78CBBAE03B5D}"/>
                </a:ext>
              </a:extLst>
            </p:cNvPr>
            <p:cNvSpPr/>
            <p:nvPr/>
          </p:nvSpPr>
          <p:spPr>
            <a:xfrm>
              <a:off x="1104944" y="2074561"/>
              <a:ext cx="84151" cy="80925"/>
            </a:xfrm>
            <a:custGeom>
              <a:avLst/>
              <a:gdLst/>
              <a:ahLst/>
              <a:cxnLst/>
              <a:rect l="l" t="t" r="r" b="b"/>
              <a:pathLst>
                <a:path w="365" h="351" extrusionOk="0">
                  <a:moveTo>
                    <a:pt x="71" y="48"/>
                  </a:moveTo>
                  <a:cubicBezTo>
                    <a:pt x="107" y="60"/>
                    <a:pt x="140" y="85"/>
                    <a:pt x="166" y="118"/>
                  </a:cubicBezTo>
                  <a:cubicBezTo>
                    <a:pt x="177" y="129"/>
                    <a:pt x="177" y="155"/>
                    <a:pt x="188" y="177"/>
                  </a:cubicBezTo>
                  <a:cubicBezTo>
                    <a:pt x="192" y="181"/>
                    <a:pt x="195" y="185"/>
                    <a:pt x="199" y="191"/>
                  </a:cubicBezTo>
                  <a:lnTo>
                    <a:pt x="199" y="191"/>
                  </a:lnTo>
                  <a:cubicBezTo>
                    <a:pt x="185" y="182"/>
                    <a:pt x="173" y="177"/>
                    <a:pt x="166" y="177"/>
                  </a:cubicBezTo>
                  <a:cubicBezTo>
                    <a:pt x="140" y="177"/>
                    <a:pt x="129" y="166"/>
                    <a:pt x="118" y="166"/>
                  </a:cubicBezTo>
                  <a:cubicBezTo>
                    <a:pt x="85" y="155"/>
                    <a:pt x="48" y="118"/>
                    <a:pt x="48" y="85"/>
                  </a:cubicBezTo>
                  <a:lnTo>
                    <a:pt x="48" y="71"/>
                  </a:lnTo>
                  <a:cubicBezTo>
                    <a:pt x="48" y="60"/>
                    <a:pt x="59" y="60"/>
                    <a:pt x="59" y="48"/>
                  </a:cubicBezTo>
                  <a:close/>
                  <a:moveTo>
                    <a:pt x="241" y="251"/>
                  </a:moveTo>
                  <a:lnTo>
                    <a:pt x="241" y="251"/>
                  </a:lnTo>
                  <a:cubicBezTo>
                    <a:pt x="258" y="264"/>
                    <a:pt x="275" y="272"/>
                    <a:pt x="294" y="280"/>
                  </a:cubicBezTo>
                  <a:cubicBezTo>
                    <a:pt x="300" y="288"/>
                    <a:pt x="306" y="295"/>
                    <a:pt x="311" y="301"/>
                  </a:cubicBezTo>
                  <a:lnTo>
                    <a:pt x="311" y="301"/>
                  </a:lnTo>
                  <a:cubicBezTo>
                    <a:pt x="299" y="298"/>
                    <a:pt x="288" y="294"/>
                    <a:pt x="280" y="294"/>
                  </a:cubicBezTo>
                  <a:cubicBezTo>
                    <a:pt x="258" y="280"/>
                    <a:pt x="247" y="269"/>
                    <a:pt x="247" y="258"/>
                  </a:cubicBezTo>
                  <a:cubicBezTo>
                    <a:pt x="245" y="256"/>
                    <a:pt x="243" y="254"/>
                    <a:pt x="241" y="251"/>
                  </a:cubicBezTo>
                  <a:close/>
                  <a:moveTo>
                    <a:pt x="48" y="1"/>
                  </a:moveTo>
                  <a:cubicBezTo>
                    <a:pt x="37" y="15"/>
                    <a:pt x="26" y="26"/>
                    <a:pt x="15" y="26"/>
                  </a:cubicBezTo>
                  <a:cubicBezTo>
                    <a:pt x="15" y="37"/>
                    <a:pt x="15" y="48"/>
                    <a:pt x="1" y="60"/>
                  </a:cubicBezTo>
                  <a:lnTo>
                    <a:pt x="1" y="85"/>
                  </a:lnTo>
                  <a:cubicBezTo>
                    <a:pt x="1" y="129"/>
                    <a:pt x="37" y="188"/>
                    <a:pt x="96" y="211"/>
                  </a:cubicBezTo>
                  <a:cubicBezTo>
                    <a:pt x="118" y="211"/>
                    <a:pt x="129" y="225"/>
                    <a:pt x="154" y="225"/>
                  </a:cubicBezTo>
                  <a:cubicBezTo>
                    <a:pt x="166" y="225"/>
                    <a:pt x="177" y="236"/>
                    <a:pt x="177" y="236"/>
                  </a:cubicBezTo>
                  <a:cubicBezTo>
                    <a:pt x="188" y="247"/>
                    <a:pt x="188" y="258"/>
                    <a:pt x="199" y="280"/>
                  </a:cubicBezTo>
                  <a:cubicBezTo>
                    <a:pt x="210" y="306"/>
                    <a:pt x="235" y="317"/>
                    <a:pt x="258" y="328"/>
                  </a:cubicBezTo>
                  <a:cubicBezTo>
                    <a:pt x="280" y="339"/>
                    <a:pt x="305" y="350"/>
                    <a:pt x="328" y="350"/>
                  </a:cubicBezTo>
                  <a:lnTo>
                    <a:pt x="350" y="350"/>
                  </a:lnTo>
                  <a:lnTo>
                    <a:pt x="350" y="339"/>
                  </a:lnTo>
                  <a:cubicBezTo>
                    <a:pt x="364" y="328"/>
                    <a:pt x="364" y="317"/>
                    <a:pt x="364" y="317"/>
                  </a:cubicBezTo>
                  <a:cubicBezTo>
                    <a:pt x="364" y="280"/>
                    <a:pt x="339" y="258"/>
                    <a:pt x="317" y="247"/>
                  </a:cubicBezTo>
                  <a:cubicBezTo>
                    <a:pt x="294" y="225"/>
                    <a:pt x="269" y="211"/>
                    <a:pt x="258" y="199"/>
                  </a:cubicBezTo>
                  <a:cubicBezTo>
                    <a:pt x="247" y="188"/>
                    <a:pt x="235" y="177"/>
                    <a:pt x="235" y="155"/>
                  </a:cubicBezTo>
                  <a:cubicBezTo>
                    <a:pt x="224" y="129"/>
                    <a:pt x="210" y="107"/>
                    <a:pt x="199" y="96"/>
                  </a:cubicBezTo>
                  <a:cubicBezTo>
                    <a:pt x="177" y="48"/>
                    <a:pt x="129" y="26"/>
                    <a:pt x="85" y="15"/>
                  </a:cubicBezTo>
                  <a:cubicBezTo>
                    <a:pt x="71" y="1"/>
                    <a:pt x="71" y="1"/>
                    <a:pt x="59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101;p17">
              <a:extLst>
                <a:ext uri="{FF2B5EF4-FFF2-40B4-BE49-F238E27FC236}">
                  <a16:creationId xmlns:a16="http://schemas.microsoft.com/office/drawing/2014/main" xmlns="" id="{79BAE8E1-691F-7FB6-DFC5-29AE67005BA9}"/>
                </a:ext>
              </a:extLst>
            </p:cNvPr>
            <p:cNvSpPr/>
            <p:nvPr/>
          </p:nvSpPr>
          <p:spPr>
            <a:xfrm>
              <a:off x="1451693" y="2351917"/>
              <a:ext cx="32508" cy="53719"/>
            </a:xfrm>
            <a:custGeom>
              <a:avLst/>
              <a:gdLst/>
              <a:ahLst/>
              <a:cxnLst/>
              <a:rect l="l" t="t" r="r" b="b"/>
              <a:pathLst>
                <a:path w="141" h="233" extrusionOk="0">
                  <a:moveTo>
                    <a:pt x="82" y="0"/>
                  </a:moveTo>
                  <a:cubicBezTo>
                    <a:pt x="60" y="0"/>
                    <a:pt x="49" y="23"/>
                    <a:pt x="23" y="23"/>
                  </a:cubicBezTo>
                  <a:cubicBezTo>
                    <a:pt x="12" y="34"/>
                    <a:pt x="1" y="56"/>
                    <a:pt x="12" y="81"/>
                  </a:cubicBezTo>
                  <a:lnTo>
                    <a:pt x="23" y="93"/>
                  </a:lnTo>
                  <a:lnTo>
                    <a:pt x="35" y="104"/>
                  </a:lnTo>
                  <a:cubicBezTo>
                    <a:pt x="35" y="115"/>
                    <a:pt x="49" y="126"/>
                    <a:pt x="49" y="140"/>
                  </a:cubicBezTo>
                  <a:cubicBezTo>
                    <a:pt x="60" y="151"/>
                    <a:pt x="60" y="162"/>
                    <a:pt x="49" y="174"/>
                  </a:cubicBezTo>
                  <a:cubicBezTo>
                    <a:pt x="49" y="185"/>
                    <a:pt x="35" y="196"/>
                    <a:pt x="35" y="210"/>
                  </a:cubicBezTo>
                  <a:lnTo>
                    <a:pt x="35" y="232"/>
                  </a:lnTo>
                  <a:lnTo>
                    <a:pt x="49" y="232"/>
                  </a:lnTo>
                  <a:cubicBezTo>
                    <a:pt x="60" y="232"/>
                    <a:pt x="71" y="221"/>
                    <a:pt x="71" y="221"/>
                  </a:cubicBezTo>
                  <a:cubicBezTo>
                    <a:pt x="82" y="210"/>
                    <a:pt x="82" y="196"/>
                    <a:pt x="93" y="196"/>
                  </a:cubicBezTo>
                  <a:cubicBezTo>
                    <a:pt x="93" y="185"/>
                    <a:pt x="104" y="174"/>
                    <a:pt x="104" y="162"/>
                  </a:cubicBezTo>
                  <a:lnTo>
                    <a:pt x="104" y="126"/>
                  </a:lnTo>
                  <a:cubicBezTo>
                    <a:pt x="118" y="115"/>
                    <a:pt x="118" y="104"/>
                    <a:pt x="118" y="104"/>
                  </a:cubicBezTo>
                  <a:cubicBezTo>
                    <a:pt x="130" y="81"/>
                    <a:pt x="141" y="70"/>
                    <a:pt x="141" y="45"/>
                  </a:cubicBezTo>
                  <a:cubicBezTo>
                    <a:pt x="130" y="23"/>
                    <a:pt x="104" y="0"/>
                    <a:pt x="82" y="0"/>
                  </a:cubicBezTo>
                  <a:close/>
                </a:path>
              </a:pathLst>
            </a:custGeom>
            <a:solidFill>
              <a:srgbClr val="78D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" name="Google Shape;102;p17">
              <a:extLst>
                <a:ext uri="{FF2B5EF4-FFF2-40B4-BE49-F238E27FC236}">
                  <a16:creationId xmlns:a16="http://schemas.microsoft.com/office/drawing/2014/main" xmlns="" id="{39A629E0-10A7-5097-BC02-40FD26942FB7}"/>
                </a:ext>
              </a:extLst>
            </p:cNvPr>
            <p:cNvSpPr/>
            <p:nvPr/>
          </p:nvSpPr>
          <p:spPr>
            <a:xfrm>
              <a:off x="1446621" y="2346153"/>
              <a:ext cx="42882" cy="64555"/>
            </a:xfrm>
            <a:custGeom>
              <a:avLst/>
              <a:gdLst/>
              <a:ahLst/>
              <a:cxnLst/>
              <a:rect l="l" t="t" r="r" b="b"/>
              <a:pathLst>
                <a:path w="186" h="280" extrusionOk="0">
                  <a:moveTo>
                    <a:pt x="104" y="48"/>
                  </a:moveTo>
                  <a:cubicBezTo>
                    <a:pt x="115" y="48"/>
                    <a:pt x="115" y="48"/>
                    <a:pt x="126" y="59"/>
                  </a:cubicBezTo>
                  <a:lnTo>
                    <a:pt x="140" y="70"/>
                  </a:lnTo>
                  <a:lnTo>
                    <a:pt x="140" y="81"/>
                  </a:lnTo>
                  <a:cubicBezTo>
                    <a:pt x="140" y="95"/>
                    <a:pt x="140" y="95"/>
                    <a:pt x="126" y="118"/>
                  </a:cubicBezTo>
                  <a:cubicBezTo>
                    <a:pt x="115" y="118"/>
                    <a:pt x="115" y="129"/>
                    <a:pt x="104" y="140"/>
                  </a:cubicBezTo>
                  <a:lnTo>
                    <a:pt x="104" y="176"/>
                  </a:lnTo>
                  <a:cubicBezTo>
                    <a:pt x="104" y="176"/>
                    <a:pt x="93" y="165"/>
                    <a:pt x="93" y="151"/>
                  </a:cubicBezTo>
                  <a:cubicBezTo>
                    <a:pt x="93" y="140"/>
                    <a:pt x="82" y="129"/>
                    <a:pt x="82" y="118"/>
                  </a:cubicBezTo>
                  <a:cubicBezTo>
                    <a:pt x="71" y="106"/>
                    <a:pt x="71" y="106"/>
                    <a:pt x="57" y="95"/>
                  </a:cubicBezTo>
                  <a:lnTo>
                    <a:pt x="45" y="95"/>
                  </a:lnTo>
                  <a:lnTo>
                    <a:pt x="57" y="81"/>
                  </a:lnTo>
                  <a:lnTo>
                    <a:pt x="57" y="70"/>
                  </a:lnTo>
                  <a:cubicBezTo>
                    <a:pt x="71" y="70"/>
                    <a:pt x="82" y="59"/>
                    <a:pt x="82" y="59"/>
                  </a:cubicBezTo>
                  <a:cubicBezTo>
                    <a:pt x="93" y="48"/>
                    <a:pt x="104" y="48"/>
                    <a:pt x="104" y="48"/>
                  </a:cubicBezTo>
                  <a:close/>
                  <a:moveTo>
                    <a:pt x="104" y="176"/>
                  </a:moveTo>
                  <a:cubicBezTo>
                    <a:pt x="104" y="187"/>
                    <a:pt x="104" y="199"/>
                    <a:pt x="93" y="210"/>
                  </a:cubicBezTo>
                  <a:lnTo>
                    <a:pt x="88" y="215"/>
                  </a:lnTo>
                  <a:lnTo>
                    <a:pt x="88" y="215"/>
                  </a:lnTo>
                  <a:cubicBezTo>
                    <a:pt x="90" y="209"/>
                    <a:pt x="93" y="204"/>
                    <a:pt x="93" y="199"/>
                  </a:cubicBezTo>
                  <a:cubicBezTo>
                    <a:pt x="93" y="199"/>
                    <a:pt x="104" y="187"/>
                    <a:pt x="104" y="176"/>
                  </a:cubicBezTo>
                  <a:close/>
                  <a:moveTo>
                    <a:pt x="104" y="0"/>
                  </a:moveTo>
                  <a:cubicBezTo>
                    <a:pt x="82" y="0"/>
                    <a:pt x="71" y="11"/>
                    <a:pt x="57" y="11"/>
                  </a:cubicBezTo>
                  <a:cubicBezTo>
                    <a:pt x="57" y="25"/>
                    <a:pt x="45" y="25"/>
                    <a:pt x="34" y="36"/>
                  </a:cubicBezTo>
                  <a:cubicBezTo>
                    <a:pt x="23" y="36"/>
                    <a:pt x="23" y="48"/>
                    <a:pt x="12" y="59"/>
                  </a:cubicBezTo>
                  <a:cubicBezTo>
                    <a:pt x="12" y="70"/>
                    <a:pt x="1" y="81"/>
                    <a:pt x="1" y="95"/>
                  </a:cubicBezTo>
                  <a:cubicBezTo>
                    <a:pt x="1" y="95"/>
                    <a:pt x="1" y="106"/>
                    <a:pt x="12" y="118"/>
                  </a:cubicBezTo>
                  <a:cubicBezTo>
                    <a:pt x="23" y="129"/>
                    <a:pt x="34" y="129"/>
                    <a:pt x="34" y="140"/>
                  </a:cubicBezTo>
                  <a:cubicBezTo>
                    <a:pt x="34" y="151"/>
                    <a:pt x="45" y="165"/>
                    <a:pt x="45" y="176"/>
                  </a:cubicBezTo>
                  <a:lnTo>
                    <a:pt x="57" y="176"/>
                  </a:lnTo>
                  <a:lnTo>
                    <a:pt x="45" y="187"/>
                  </a:lnTo>
                  <a:lnTo>
                    <a:pt x="45" y="210"/>
                  </a:lnTo>
                  <a:cubicBezTo>
                    <a:pt x="34" y="210"/>
                    <a:pt x="34" y="221"/>
                    <a:pt x="34" y="235"/>
                  </a:cubicBezTo>
                  <a:lnTo>
                    <a:pt x="34" y="246"/>
                  </a:lnTo>
                  <a:cubicBezTo>
                    <a:pt x="34" y="246"/>
                    <a:pt x="34" y="257"/>
                    <a:pt x="45" y="269"/>
                  </a:cubicBezTo>
                  <a:lnTo>
                    <a:pt x="57" y="280"/>
                  </a:lnTo>
                  <a:lnTo>
                    <a:pt x="71" y="280"/>
                  </a:lnTo>
                  <a:cubicBezTo>
                    <a:pt x="82" y="280"/>
                    <a:pt x="93" y="280"/>
                    <a:pt x="93" y="269"/>
                  </a:cubicBezTo>
                  <a:cubicBezTo>
                    <a:pt x="104" y="269"/>
                    <a:pt x="104" y="257"/>
                    <a:pt x="115" y="257"/>
                  </a:cubicBezTo>
                  <a:cubicBezTo>
                    <a:pt x="115" y="246"/>
                    <a:pt x="126" y="246"/>
                    <a:pt x="140" y="235"/>
                  </a:cubicBezTo>
                  <a:cubicBezTo>
                    <a:pt x="140" y="221"/>
                    <a:pt x="152" y="199"/>
                    <a:pt x="152" y="187"/>
                  </a:cubicBezTo>
                  <a:lnTo>
                    <a:pt x="152" y="151"/>
                  </a:lnTo>
                  <a:lnTo>
                    <a:pt x="163" y="140"/>
                  </a:lnTo>
                  <a:cubicBezTo>
                    <a:pt x="174" y="129"/>
                    <a:pt x="185" y="106"/>
                    <a:pt x="185" y="81"/>
                  </a:cubicBezTo>
                  <a:lnTo>
                    <a:pt x="185" y="70"/>
                  </a:lnTo>
                  <a:cubicBezTo>
                    <a:pt x="174" y="48"/>
                    <a:pt x="174" y="36"/>
                    <a:pt x="152" y="25"/>
                  </a:cubicBezTo>
                  <a:cubicBezTo>
                    <a:pt x="140" y="11"/>
                    <a:pt x="126" y="0"/>
                    <a:pt x="10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103;p17">
              <a:extLst>
                <a:ext uri="{FF2B5EF4-FFF2-40B4-BE49-F238E27FC236}">
                  <a16:creationId xmlns:a16="http://schemas.microsoft.com/office/drawing/2014/main" xmlns="" id="{974A4B2C-AF05-FAF1-AE7C-11BBA1852D33}"/>
                </a:ext>
              </a:extLst>
            </p:cNvPr>
            <p:cNvSpPr/>
            <p:nvPr/>
          </p:nvSpPr>
          <p:spPr>
            <a:xfrm>
              <a:off x="1379070" y="2394339"/>
              <a:ext cx="11066" cy="18906"/>
            </a:xfrm>
            <a:custGeom>
              <a:avLst/>
              <a:gdLst/>
              <a:ahLst/>
              <a:cxnLst/>
              <a:rect l="l" t="t" r="r" b="b"/>
              <a:pathLst>
                <a:path w="48" h="82" extrusionOk="0">
                  <a:moveTo>
                    <a:pt x="14" y="1"/>
                  </a:moveTo>
                  <a:lnTo>
                    <a:pt x="0" y="12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60"/>
                  </a:lnTo>
                  <a:cubicBezTo>
                    <a:pt x="0" y="71"/>
                    <a:pt x="14" y="71"/>
                    <a:pt x="25" y="82"/>
                  </a:cubicBezTo>
                  <a:lnTo>
                    <a:pt x="36" y="71"/>
                  </a:lnTo>
                  <a:cubicBezTo>
                    <a:pt x="48" y="60"/>
                    <a:pt x="48" y="48"/>
                    <a:pt x="48" y="37"/>
                  </a:cubicBezTo>
                  <a:lnTo>
                    <a:pt x="48" y="12"/>
                  </a:lnTo>
                  <a:cubicBezTo>
                    <a:pt x="36" y="12"/>
                    <a:pt x="36" y="12"/>
                    <a:pt x="36" y="1"/>
                  </a:cubicBezTo>
                  <a:close/>
                </a:path>
              </a:pathLst>
            </a:custGeom>
            <a:solidFill>
              <a:srgbClr val="78D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104;p17">
              <a:extLst>
                <a:ext uri="{FF2B5EF4-FFF2-40B4-BE49-F238E27FC236}">
                  <a16:creationId xmlns:a16="http://schemas.microsoft.com/office/drawing/2014/main" xmlns="" id="{B5B52619-2D1D-5C5B-9774-E088F207243B}"/>
                </a:ext>
              </a:extLst>
            </p:cNvPr>
            <p:cNvSpPr/>
            <p:nvPr/>
          </p:nvSpPr>
          <p:spPr>
            <a:xfrm>
              <a:off x="1373767" y="2389267"/>
              <a:ext cx="21441" cy="29972"/>
            </a:xfrm>
            <a:custGeom>
              <a:avLst/>
              <a:gdLst/>
              <a:ahLst/>
              <a:cxnLst/>
              <a:rect l="l" t="t" r="r" b="b"/>
              <a:pathLst>
                <a:path w="93" h="130" extrusionOk="0">
                  <a:moveTo>
                    <a:pt x="23" y="0"/>
                  </a:moveTo>
                  <a:lnTo>
                    <a:pt x="23" y="12"/>
                  </a:lnTo>
                  <a:lnTo>
                    <a:pt x="12" y="12"/>
                  </a:lnTo>
                  <a:lnTo>
                    <a:pt x="1" y="23"/>
                  </a:lnTo>
                  <a:lnTo>
                    <a:pt x="1" y="48"/>
                  </a:lnTo>
                  <a:lnTo>
                    <a:pt x="1" y="59"/>
                  </a:lnTo>
                  <a:lnTo>
                    <a:pt x="1" y="70"/>
                  </a:lnTo>
                  <a:lnTo>
                    <a:pt x="1" y="93"/>
                  </a:lnTo>
                  <a:cubicBezTo>
                    <a:pt x="12" y="104"/>
                    <a:pt x="12" y="104"/>
                    <a:pt x="23" y="118"/>
                  </a:cubicBezTo>
                  <a:cubicBezTo>
                    <a:pt x="37" y="118"/>
                    <a:pt x="37" y="118"/>
                    <a:pt x="48" y="129"/>
                  </a:cubicBezTo>
                  <a:lnTo>
                    <a:pt x="59" y="118"/>
                  </a:lnTo>
                  <a:lnTo>
                    <a:pt x="71" y="118"/>
                  </a:lnTo>
                  <a:lnTo>
                    <a:pt x="82" y="104"/>
                  </a:lnTo>
                  <a:cubicBezTo>
                    <a:pt x="93" y="93"/>
                    <a:pt x="93" y="70"/>
                    <a:pt x="93" y="59"/>
                  </a:cubicBezTo>
                  <a:lnTo>
                    <a:pt x="93" y="48"/>
                  </a:lnTo>
                  <a:lnTo>
                    <a:pt x="93" y="34"/>
                  </a:lnTo>
                  <a:cubicBezTo>
                    <a:pt x="93" y="23"/>
                    <a:pt x="82" y="23"/>
                    <a:pt x="82" y="12"/>
                  </a:cubicBezTo>
                  <a:lnTo>
                    <a:pt x="59" y="12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105;p17">
              <a:extLst>
                <a:ext uri="{FF2B5EF4-FFF2-40B4-BE49-F238E27FC236}">
                  <a16:creationId xmlns:a16="http://schemas.microsoft.com/office/drawing/2014/main" xmlns="" id="{BFF14A83-74D7-243B-EA79-A347315B930F}"/>
                </a:ext>
              </a:extLst>
            </p:cNvPr>
            <p:cNvSpPr/>
            <p:nvPr/>
          </p:nvSpPr>
          <p:spPr>
            <a:xfrm>
              <a:off x="1414344" y="2429152"/>
              <a:ext cx="18905" cy="19597"/>
            </a:xfrm>
            <a:custGeom>
              <a:avLst/>
              <a:gdLst/>
              <a:ahLst/>
              <a:cxnLst/>
              <a:rect l="l" t="t" r="r" b="b"/>
              <a:pathLst>
                <a:path w="82" h="85" extrusionOk="0">
                  <a:moveTo>
                    <a:pt x="34" y="1"/>
                  </a:moveTo>
                  <a:lnTo>
                    <a:pt x="34" y="26"/>
                  </a:lnTo>
                  <a:cubicBezTo>
                    <a:pt x="23" y="37"/>
                    <a:pt x="12" y="37"/>
                    <a:pt x="1" y="48"/>
                  </a:cubicBezTo>
                  <a:cubicBezTo>
                    <a:pt x="1" y="60"/>
                    <a:pt x="1" y="71"/>
                    <a:pt x="12" y="71"/>
                  </a:cubicBezTo>
                  <a:lnTo>
                    <a:pt x="23" y="85"/>
                  </a:lnTo>
                  <a:cubicBezTo>
                    <a:pt x="34" y="85"/>
                    <a:pt x="46" y="85"/>
                    <a:pt x="57" y="71"/>
                  </a:cubicBezTo>
                  <a:cubicBezTo>
                    <a:pt x="57" y="71"/>
                    <a:pt x="71" y="71"/>
                    <a:pt x="71" y="60"/>
                  </a:cubicBezTo>
                  <a:cubicBezTo>
                    <a:pt x="82" y="48"/>
                    <a:pt x="82" y="37"/>
                    <a:pt x="82" y="26"/>
                  </a:cubicBezTo>
                  <a:cubicBezTo>
                    <a:pt x="82" y="26"/>
                    <a:pt x="82" y="15"/>
                    <a:pt x="71" y="1"/>
                  </a:cubicBezTo>
                  <a:close/>
                </a:path>
              </a:pathLst>
            </a:custGeom>
            <a:solidFill>
              <a:srgbClr val="78D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106;p17">
              <a:extLst>
                <a:ext uri="{FF2B5EF4-FFF2-40B4-BE49-F238E27FC236}">
                  <a16:creationId xmlns:a16="http://schemas.microsoft.com/office/drawing/2014/main" xmlns="" id="{68780F21-08BE-DBFC-7D1B-4193D9BC04E3}"/>
                </a:ext>
              </a:extLst>
            </p:cNvPr>
            <p:cNvSpPr/>
            <p:nvPr/>
          </p:nvSpPr>
          <p:spPr>
            <a:xfrm>
              <a:off x="1408580" y="2424080"/>
              <a:ext cx="29972" cy="29972"/>
            </a:xfrm>
            <a:custGeom>
              <a:avLst/>
              <a:gdLst/>
              <a:ahLst/>
              <a:cxnLst/>
              <a:rect l="l" t="t" r="r" b="b"/>
              <a:pathLst>
                <a:path w="130" h="130" extrusionOk="0">
                  <a:moveTo>
                    <a:pt x="82" y="59"/>
                  </a:moveTo>
                  <a:lnTo>
                    <a:pt x="82" y="70"/>
                  </a:lnTo>
                  <a:lnTo>
                    <a:pt x="71" y="70"/>
                  </a:lnTo>
                  <a:cubicBezTo>
                    <a:pt x="73" y="68"/>
                    <a:pt x="76" y="65"/>
                    <a:pt x="82" y="59"/>
                  </a:cubicBezTo>
                  <a:close/>
                  <a:moveTo>
                    <a:pt x="71" y="70"/>
                  </a:moveTo>
                  <a:cubicBezTo>
                    <a:pt x="71" y="77"/>
                    <a:pt x="66" y="80"/>
                    <a:pt x="60" y="81"/>
                  </a:cubicBezTo>
                  <a:lnTo>
                    <a:pt x="60" y="81"/>
                  </a:lnTo>
                  <a:cubicBezTo>
                    <a:pt x="65" y="76"/>
                    <a:pt x="68" y="73"/>
                    <a:pt x="71" y="70"/>
                  </a:cubicBezTo>
                  <a:close/>
                  <a:moveTo>
                    <a:pt x="48" y="0"/>
                  </a:moveTo>
                  <a:lnTo>
                    <a:pt x="48" y="12"/>
                  </a:lnTo>
                  <a:cubicBezTo>
                    <a:pt x="37" y="12"/>
                    <a:pt x="37" y="23"/>
                    <a:pt x="37" y="23"/>
                  </a:cubicBezTo>
                  <a:lnTo>
                    <a:pt x="37" y="37"/>
                  </a:lnTo>
                  <a:lnTo>
                    <a:pt x="26" y="48"/>
                  </a:lnTo>
                  <a:cubicBezTo>
                    <a:pt x="26" y="48"/>
                    <a:pt x="12" y="48"/>
                    <a:pt x="12" y="59"/>
                  </a:cubicBezTo>
                  <a:cubicBezTo>
                    <a:pt x="1" y="70"/>
                    <a:pt x="1" y="70"/>
                    <a:pt x="1" y="82"/>
                  </a:cubicBezTo>
                  <a:cubicBezTo>
                    <a:pt x="1" y="93"/>
                    <a:pt x="12" y="118"/>
                    <a:pt x="26" y="118"/>
                  </a:cubicBezTo>
                  <a:cubicBezTo>
                    <a:pt x="37" y="129"/>
                    <a:pt x="48" y="129"/>
                    <a:pt x="48" y="129"/>
                  </a:cubicBezTo>
                  <a:cubicBezTo>
                    <a:pt x="59" y="129"/>
                    <a:pt x="71" y="129"/>
                    <a:pt x="82" y="118"/>
                  </a:cubicBezTo>
                  <a:cubicBezTo>
                    <a:pt x="107" y="118"/>
                    <a:pt x="118" y="107"/>
                    <a:pt x="118" y="93"/>
                  </a:cubicBezTo>
                  <a:cubicBezTo>
                    <a:pt x="129" y="70"/>
                    <a:pt x="129" y="59"/>
                    <a:pt x="129" y="48"/>
                  </a:cubicBezTo>
                  <a:lnTo>
                    <a:pt x="129" y="37"/>
                  </a:lnTo>
                  <a:cubicBezTo>
                    <a:pt x="129" y="23"/>
                    <a:pt x="118" y="12"/>
                    <a:pt x="118" y="12"/>
                  </a:cubicBezTo>
                  <a:cubicBezTo>
                    <a:pt x="107" y="0"/>
                    <a:pt x="96" y="0"/>
                    <a:pt x="8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107;p17">
              <a:extLst>
                <a:ext uri="{FF2B5EF4-FFF2-40B4-BE49-F238E27FC236}">
                  <a16:creationId xmlns:a16="http://schemas.microsoft.com/office/drawing/2014/main" xmlns="" id="{17731DD5-B82B-73FF-11D6-A7936A5E23CB}"/>
                </a:ext>
              </a:extLst>
            </p:cNvPr>
            <p:cNvSpPr/>
            <p:nvPr/>
          </p:nvSpPr>
          <p:spPr>
            <a:xfrm>
              <a:off x="1440857" y="2380967"/>
              <a:ext cx="13833" cy="14756"/>
            </a:xfrm>
            <a:custGeom>
              <a:avLst/>
              <a:gdLst/>
              <a:ahLst/>
              <a:cxnLst/>
              <a:rect l="l" t="t" r="r" b="b"/>
              <a:pathLst>
                <a:path w="60" h="64" extrusionOk="0">
                  <a:moveTo>
                    <a:pt x="48" y="0"/>
                  </a:moveTo>
                  <a:cubicBezTo>
                    <a:pt x="37" y="14"/>
                    <a:pt x="26" y="25"/>
                    <a:pt x="12" y="36"/>
                  </a:cubicBezTo>
                  <a:cubicBezTo>
                    <a:pt x="12" y="48"/>
                    <a:pt x="0" y="48"/>
                    <a:pt x="0" y="59"/>
                  </a:cubicBezTo>
                  <a:lnTo>
                    <a:pt x="12" y="59"/>
                  </a:lnTo>
                  <a:cubicBezTo>
                    <a:pt x="12" y="63"/>
                    <a:pt x="13" y="64"/>
                    <a:pt x="16" y="64"/>
                  </a:cubicBezTo>
                  <a:cubicBezTo>
                    <a:pt x="21" y="64"/>
                    <a:pt x="29" y="59"/>
                    <a:pt x="37" y="59"/>
                  </a:cubicBezTo>
                  <a:cubicBezTo>
                    <a:pt x="48" y="59"/>
                    <a:pt x="48" y="48"/>
                    <a:pt x="59" y="36"/>
                  </a:cubicBezTo>
                  <a:lnTo>
                    <a:pt x="59" y="14"/>
                  </a:lnTo>
                  <a:cubicBezTo>
                    <a:pt x="59" y="14"/>
                    <a:pt x="59" y="0"/>
                    <a:pt x="48" y="0"/>
                  </a:cubicBezTo>
                  <a:close/>
                </a:path>
              </a:pathLst>
            </a:custGeom>
            <a:solidFill>
              <a:srgbClr val="78D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108;p17">
              <a:extLst>
                <a:ext uri="{FF2B5EF4-FFF2-40B4-BE49-F238E27FC236}">
                  <a16:creationId xmlns:a16="http://schemas.microsoft.com/office/drawing/2014/main" xmlns="" id="{619C22A8-41DB-1069-1E0F-088C2E4555A8}"/>
                </a:ext>
              </a:extLst>
            </p:cNvPr>
            <p:cNvSpPr/>
            <p:nvPr/>
          </p:nvSpPr>
          <p:spPr>
            <a:xfrm>
              <a:off x="1435785" y="2375664"/>
              <a:ext cx="23977" cy="24669"/>
            </a:xfrm>
            <a:custGeom>
              <a:avLst/>
              <a:gdLst/>
              <a:ahLst/>
              <a:cxnLst/>
              <a:rect l="l" t="t" r="r" b="b"/>
              <a:pathLst>
                <a:path w="104" h="107" extrusionOk="0">
                  <a:moveTo>
                    <a:pt x="59" y="1"/>
                  </a:moveTo>
                  <a:lnTo>
                    <a:pt x="48" y="12"/>
                  </a:lnTo>
                  <a:cubicBezTo>
                    <a:pt x="34" y="23"/>
                    <a:pt x="22" y="37"/>
                    <a:pt x="22" y="48"/>
                  </a:cubicBezTo>
                  <a:cubicBezTo>
                    <a:pt x="11" y="48"/>
                    <a:pt x="0" y="59"/>
                    <a:pt x="0" y="82"/>
                  </a:cubicBezTo>
                  <a:lnTo>
                    <a:pt x="0" y="93"/>
                  </a:lnTo>
                  <a:lnTo>
                    <a:pt x="11" y="93"/>
                  </a:lnTo>
                  <a:lnTo>
                    <a:pt x="22" y="107"/>
                  </a:lnTo>
                  <a:lnTo>
                    <a:pt x="70" y="107"/>
                  </a:lnTo>
                  <a:cubicBezTo>
                    <a:pt x="81" y="93"/>
                    <a:pt x="92" y="82"/>
                    <a:pt x="104" y="71"/>
                  </a:cubicBezTo>
                  <a:lnTo>
                    <a:pt x="104" y="37"/>
                  </a:lnTo>
                  <a:lnTo>
                    <a:pt x="104" y="12"/>
                  </a:lnTo>
                  <a:cubicBezTo>
                    <a:pt x="92" y="12"/>
                    <a:pt x="92" y="1"/>
                    <a:pt x="8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109;p17">
              <a:extLst>
                <a:ext uri="{FF2B5EF4-FFF2-40B4-BE49-F238E27FC236}">
                  <a16:creationId xmlns:a16="http://schemas.microsoft.com/office/drawing/2014/main" xmlns="" id="{343A3BDF-4D2A-7F76-4EB3-D1B0A544B04B}"/>
                </a:ext>
              </a:extLst>
            </p:cNvPr>
            <p:cNvSpPr/>
            <p:nvPr/>
          </p:nvSpPr>
          <p:spPr>
            <a:xfrm>
              <a:off x="1328118" y="2418547"/>
              <a:ext cx="70318" cy="122194"/>
            </a:xfrm>
            <a:custGeom>
              <a:avLst/>
              <a:gdLst/>
              <a:ahLst/>
              <a:cxnLst/>
              <a:rect l="l" t="t" r="r" b="b"/>
              <a:pathLst>
                <a:path w="305" h="530" extrusionOk="0">
                  <a:moveTo>
                    <a:pt x="139" y="0"/>
                  </a:moveTo>
                  <a:cubicBezTo>
                    <a:pt x="136" y="0"/>
                    <a:pt x="133" y="1"/>
                    <a:pt x="129" y="2"/>
                  </a:cubicBezTo>
                  <a:cubicBezTo>
                    <a:pt x="118" y="2"/>
                    <a:pt x="106" y="13"/>
                    <a:pt x="106" y="24"/>
                  </a:cubicBezTo>
                  <a:cubicBezTo>
                    <a:pt x="106" y="24"/>
                    <a:pt x="106" y="36"/>
                    <a:pt x="118" y="47"/>
                  </a:cubicBezTo>
                  <a:lnTo>
                    <a:pt x="118" y="83"/>
                  </a:lnTo>
                  <a:cubicBezTo>
                    <a:pt x="118" y="83"/>
                    <a:pt x="106" y="94"/>
                    <a:pt x="95" y="106"/>
                  </a:cubicBezTo>
                  <a:lnTo>
                    <a:pt x="70" y="106"/>
                  </a:lnTo>
                  <a:cubicBezTo>
                    <a:pt x="70" y="94"/>
                    <a:pt x="59" y="94"/>
                    <a:pt x="48" y="94"/>
                  </a:cubicBezTo>
                  <a:cubicBezTo>
                    <a:pt x="0" y="106"/>
                    <a:pt x="59" y="175"/>
                    <a:pt x="70" y="187"/>
                  </a:cubicBezTo>
                  <a:cubicBezTo>
                    <a:pt x="81" y="212"/>
                    <a:pt x="81" y="234"/>
                    <a:pt x="95" y="256"/>
                  </a:cubicBezTo>
                  <a:cubicBezTo>
                    <a:pt x="106" y="315"/>
                    <a:pt x="140" y="374"/>
                    <a:pt x="165" y="433"/>
                  </a:cubicBezTo>
                  <a:cubicBezTo>
                    <a:pt x="165" y="455"/>
                    <a:pt x="165" y="480"/>
                    <a:pt x="176" y="503"/>
                  </a:cubicBezTo>
                  <a:cubicBezTo>
                    <a:pt x="187" y="514"/>
                    <a:pt x="199" y="525"/>
                    <a:pt x="199" y="525"/>
                  </a:cubicBezTo>
                  <a:lnTo>
                    <a:pt x="221" y="525"/>
                  </a:lnTo>
                  <a:cubicBezTo>
                    <a:pt x="228" y="528"/>
                    <a:pt x="235" y="530"/>
                    <a:pt x="240" y="530"/>
                  </a:cubicBezTo>
                  <a:cubicBezTo>
                    <a:pt x="254" y="530"/>
                    <a:pt x="264" y="522"/>
                    <a:pt x="280" y="514"/>
                  </a:cubicBezTo>
                  <a:cubicBezTo>
                    <a:pt x="291" y="503"/>
                    <a:pt x="305" y="491"/>
                    <a:pt x="305" y="466"/>
                  </a:cubicBezTo>
                  <a:cubicBezTo>
                    <a:pt x="291" y="455"/>
                    <a:pt x="291" y="444"/>
                    <a:pt x="280" y="433"/>
                  </a:cubicBezTo>
                  <a:cubicBezTo>
                    <a:pt x="269" y="410"/>
                    <a:pt x="280" y="385"/>
                    <a:pt x="291" y="363"/>
                  </a:cubicBezTo>
                  <a:cubicBezTo>
                    <a:pt x="291" y="340"/>
                    <a:pt x="280" y="326"/>
                    <a:pt x="280" y="315"/>
                  </a:cubicBezTo>
                  <a:cubicBezTo>
                    <a:pt x="280" y="304"/>
                    <a:pt x="269" y="304"/>
                    <a:pt x="269" y="293"/>
                  </a:cubicBezTo>
                  <a:cubicBezTo>
                    <a:pt x="257" y="287"/>
                    <a:pt x="245" y="284"/>
                    <a:pt x="234" y="284"/>
                  </a:cubicBezTo>
                  <a:cubicBezTo>
                    <a:pt x="222" y="284"/>
                    <a:pt x="210" y="287"/>
                    <a:pt x="199" y="293"/>
                  </a:cubicBezTo>
                  <a:cubicBezTo>
                    <a:pt x="187" y="270"/>
                    <a:pt x="187" y="256"/>
                    <a:pt x="199" y="245"/>
                  </a:cubicBezTo>
                  <a:cubicBezTo>
                    <a:pt x="210" y="234"/>
                    <a:pt x="221" y="223"/>
                    <a:pt x="221" y="212"/>
                  </a:cubicBezTo>
                  <a:cubicBezTo>
                    <a:pt x="235" y="201"/>
                    <a:pt x="235" y="187"/>
                    <a:pt x="235" y="164"/>
                  </a:cubicBezTo>
                  <a:cubicBezTo>
                    <a:pt x="221" y="153"/>
                    <a:pt x="199" y="153"/>
                    <a:pt x="176" y="142"/>
                  </a:cubicBezTo>
                  <a:lnTo>
                    <a:pt x="165" y="142"/>
                  </a:lnTo>
                  <a:lnTo>
                    <a:pt x="165" y="131"/>
                  </a:lnTo>
                  <a:lnTo>
                    <a:pt x="165" y="61"/>
                  </a:lnTo>
                  <a:cubicBezTo>
                    <a:pt x="165" y="38"/>
                    <a:pt x="165" y="0"/>
                    <a:pt x="13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110;p17">
              <a:extLst>
                <a:ext uri="{FF2B5EF4-FFF2-40B4-BE49-F238E27FC236}">
                  <a16:creationId xmlns:a16="http://schemas.microsoft.com/office/drawing/2014/main" xmlns="" id="{134EB806-0F95-25FA-3D5A-44816DADABC9}"/>
                </a:ext>
              </a:extLst>
            </p:cNvPr>
            <p:cNvSpPr/>
            <p:nvPr/>
          </p:nvSpPr>
          <p:spPr>
            <a:xfrm>
              <a:off x="1330654" y="2413014"/>
              <a:ext cx="73084" cy="132569"/>
            </a:xfrm>
            <a:custGeom>
              <a:avLst/>
              <a:gdLst/>
              <a:ahLst/>
              <a:cxnLst/>
              <a:rect l="l" t="t" r="r" b="b"/>
              <a:pathLst>
                <a:path w="317" h="575" extrusionOk="0">
                  <a:moveTo>
                    <a:pt x="118" y="48"/>
                  </a:moveTo>
                  <a:cubicBezTo>
                    <a:pt x="118" y="48"/>
                    <a:pt x="129" y="48"/>
                    <a:pt x="129" y="60"/>
                  </a:cubicBezTo>
                  <a:lnTo>
                    <a:pt x="129" y="71"/>
                  </a:lnTo>
                  <a:cubicBezTo>
                    <a:pt x="118" y="60"/>
                    <a:pt x="118" y="48"/>
                    <a:pt x="118" y="48"/>
                  </a:cubicBezTo>
                  <a:close/>
                  <a:moveTo>
                    <a:pt x="129" y="107"/>
                  </a:moveTo>
                  <a:lnTo>
                    <a:pt x="129" y="130"/>
                  </a:lnTo>
                  <a:lnTo>
                    <a:pt x="129" y="155"/>
                  </a:lnTo>
                  <a:lnTo>
                    <a:pt x="129" y="166"/>
                  </a:lnTo>
                  <a:lnTo>
                    <a:pt x="129" y="177"/>
                  </a:lnTo>
                  <a:lnTo>
                    <a:pt x="154" y="188"/>
                  </a:lnTo>
                  <a:cubicBezTo>
                    <a:pt x="165" y="199"/>
                    <a:pt x="176" y="199"/>
                    <a:pt x="188" y="199"/>
                  </a:cubicBezTo>
                  <a:lnTo>
                    <a:pt x="199" y="199"/>
                  </a:lnTo>
                  <a:lnTo>
                    <a:pt x="199" y="211"/>
                  </a:lnTo>
                  <a:lnTo>
                    <a:pt x="199" y="225"/>
                  </a:lnTo>
                  <a:cubicBezTo>
                    <a:pt x="188" y="236"/>
                    <a:pt x="176" y="247"/>
                    <a:pt x="165" y="258"/>
                  </a:cubicBezTo>
                  <a:cubicBezTo>
                    <a:pt x="165" y="269"/>
                    <a:pt x="154" y="280"/>
                    <a:pt x="154" y="294"/>
                  </a:cubicBezTo>
                  <a:cubicBezTo>
                    <a:pt x="154" y="306"/>
                    <a:pt x="154" y="317"/>
                    <a:pt x="165" y="317"/>
                  </a:cubicBezTo>
                  <a:lnTo>
                    <a:pt x="165" y="339"/>
                  </a:lnTo>
                  <a:lnTo>
                    <a:pt x="188" y="328"/>
                  </a:lnTo>
                  <a:lnTo>
                    <a:pt x="210" y="328"/>
                  </a:lnTo>
                  <a:cubicBezTo>
                    <a:pt x="224" y="328"/>
                    <a:pt x="235" y="328"/>
                    <a:pt x="235" y="339"/>
                  </a:cubicBezTo>
                  <a:cubicBezTo>
                    <a:pt x="246" y="339"/>
                    <a:pt x="246" y="339"/>
                    <a:pt x="246" y="350"/>
                  </a:cubicBezTo>
                  <a:cubicBezTo>
                    <a:pt x="246" y="350"/>
                    <a:pt x="258" y="364"/>
                    <a:pt x="258" y="376"/>
                  </a:cubicBezTo>
                  <a:cubicBezTo>
                    <a:pt x="258" y="398"/>
                    <a:pt x="246" y="409"/>
                    <a:pt x="246" y="434"/>
                  </a:cubicBezTo>
                  <a:lnTo>
                    <a:pt x="246" y="468"/>
                  </a:lnTo>
                  <a:cubicBezTo>
                    <a:pt x="258" y="479"/>
                    <a:pt x="258" y="479"/>
                    <a:pt x="258" y="490"/>
                  </a:cubicBezTo>
                  <a:cubicBezTo>
                    <a:pt x="258" y="490"/>
                    <a:pt x="269" y="490"/>
                    <a:pt x="269" y="504"/>
                  </a:cubicBezTo>
                  <a:cubicBezTo>
                    <a:pt x="269" y="504"/>
                    <a:pt x="258" y="515"/>
                    <a:pt x="258" y="527"/>
                  </a:cubicBezTo>
                  <a:lnTo>
                    <a:pt x="199" y="527"/>
                  </a:lnTo>
                  <a:lnTo>
                    <a:pt x="188" y="515"/>
                  </a:lnTo>
                  <a:cubicBezTo>
                    <a:pt x="176" y="504"/>
                    <a:pt x="176" y="479"/>
                    <a:pt x="176" y="457"/>
                  </a:cubicBezTo>
                  <a:cubicBezTo>
                    <a:pt x="154" y="387"/>
                    <a:pt x="118" y="328"/>
                    <a:pt x="107" y="269"/>
                  </a:cubicBezTo>
                  <a:cubicBezTo>
                    <a:pt x="95" y="247"/>
                    <a:pt x="95" y="225"/>
                    <a:pt x="84" y="199"/>
                  </a:cubicBezTo>
                  <a:cubicBezTo>
                    <a:pt x="70" y="199"/>
                    <a:pt x="70" y="188"/>
                    <a:pt x="70" y="188"/>
                  </a:cubicBezTo>
                  <a:cubicBezTo>
                    <a:pt x="59" y="177"/>
                    <a:pt x="59" y="166"/>
                    <a:pt x="48" y="166"/>
                  </a:cubicBezTo>
                  <a:lnTo>
                    <a:pt x="48" y="141"/>
                  </a:lnTo>
                  <a:lnTo>
                    <a:pt x="59" y="155"/>
                  </a:lnTo>
                  <a:lnTo>
                    <a:pt x="84" y="155"/>
                  </a:lnTo>
                  <a:cubicBezTo>
                    <a:pt x="84" y="155"/>
                    <a:pt x="95" y="155"/>
                    <a:pt x="95" y="141"/>
                  </a:cubicBezTo>
                  <a:cubicBezTo>
                    <a:pt x="118" y="141"/>
                    <a:pt x="129" y="118"/>
                    <a:pt x="129" y="107"/>
                  </a:cubicBezTo>
                  <a:close/>
                  <a:moveTo>
                    <a:pt x="118" y="1"/>
                  </a:moveTo>
                  <a:cubicBezTo>
                    <a:pt x="107" y="1"/>
                    <a:pt x="95" y="1"/>
                    <a:pt x="84" y="15"/>
                  </a:cubicBezTo>
                  <a:cubicBezTo>
                    <a:pt x="84" y="26"/>
                    <a:pt x="70" y="26"/>
                    <a:pt x="70" y="37"/>
                  </a:cubicBezTo>
                  <a:lnTo>
                    <a:pt x="70" y="48"/>
                  </a:lnTo>
                  <a:cubicBezTo>
                    <a:pt x="70" y="60"/>
                    <a:pt x="84" y="71"/>
                    <a:pt x="84" y="85"/>
                  </a:cubicBezTo>
                  <a:lnTo>
                    <a:pt x="84" y="96"/>
                  </a:lnTo>
                  <a:lnTo>
                    <a:pt x="84" y="107"/>
                  </a:lnTo>
                  <a:lnTo>
                    <a:pt x="70" y="107"/>
                  </a:lnTo>
                  <a:cubicBezTo>
                    <a:pt x="59" y="107"/>
                    <a:pt x="59" y="96"/>
                    <a:pt x="48" y="96"/>
                  </a:cubicBezTo>
                  <a:lnTo>
                    <a:pt x="37" y="96"/>
                  </a:lnTo>
                  <a:cubicBezTo>
                    <a:pt x="25" y="107"/>
                    <a:pt x="14" y="107"/>
                    <a:pt x="14" y="118"/>
                  </a:cubicBezTo>
                  <a:cubicBezTo>
                    <a:pt x="0" y="118"/>
                    <a:pt x="0" y="130"/>
                    <a:pt x="0" y="141"/>
                  </a:cubicBezTo>
                  <a:lnTo>
                    <a:pt x="0" y="166"/>
                  </a:lnTo>
                  <a:cubicBezTo>
                    <a:pt x="14" y="177"/>
                    <a:pt x="14" y="188"/>
                    <a:pt x="25" y="199"/>
                  </a:cubicBezTo>
                  <a:cubicBezTo>
                    <a:pt x="37" y="211"/>
                    <a:pt x="37" y="225"/>
                    <a:pt x="37" y="225"/>
                  </a:cubicBezTo>
                  <a:cubicBezTo>
                    <a:pt x="48" y="236"/>
                    <a:pt x="48" y="258"/>
                    <a:pt x="59" y="280"/>
                  </a:cubicBezTo>
                  <a:cubicBezTo>
                    <a:pt x="84" y="350"/>
                    <a:pt x="118" y="409"/>
                    <a:pt x="129" y="468"/>
                  </a:cubicBezTo>
                  <a:cubicBezTo>
                    <a:pt x="129" y="479"/>
                    <a:pt x="129" y="515"/>
                    <a:pt x="154" y="538"/>
                  </a:cubicBezTo>
                  <a:cubicBezTo>
                    <a:pt x="154" y="549"/>
                    <a:pt x="165" y="560"/>
                    <a:pt x="188" y="574"/>
                  </a:cubicBezTo>
                  <a:lnTo>
                    <a:pt x="224" y="574"/>
                  </a:lnTo>
                  <a:cubicBezTo>
                    <a:pt x="235" y="574"/>
                    <a:pt x="258" y="574"/>
                    <a:pt x="280" y="560"/>
                  </a:cubicBezTo>
                  <a:cubicBezTo>
                    <a:pt x="305" y="549"/>
                    <a:pt x="316" y="527"/>
                    <a:pt x="316" y="504"/>
                  </a:cubicBezTo>
                  <a:lnTo>
                    <a:pt x="316" y="479"/>
                  </a:lnTo>
                  <a:cubicBezTo>
                    <a:pt x="305" y="479"/>
                    <a:pt x="305" y="468"/>
                    <a:pt x="305" y="457"/>
                  </a:cubicBezTo>
                  <a:cubicBezTo>
                    <a:pt x="294" y="457"/>
                    <a:pt x="294" y="457"/>
                    <a:pt x="294" y="445"/>
                  </a:cubicBezTo>
                  <a:lnTo>
                    <a:pt x="294" y="434"/>
                  </a:lnTo>
                  <a:cubicBezTo>
                    <a:pt x="294" y="420"/>
                    <a:pt x="294" y="409"/>
                    <a:pt x="305" y="387"/>
                  </a:cubicBezTo>
                  <a:lnTo>
                    <a:pt x="305" y="376"/>
                  </a:lnTo>
                  <a:cubicBezTo>
                    <a:pt x="305" y="364"/>
                    <a:pt x="294" y="339"/>
                    <a:pt x="294" y="328"/>
                  </a:cubicBezTo>
                  <a:cubicBezTo>
                    <a:pt x="280" y="317"/>
                    <a:pt x="280" y="306"/>
                    <a:pt x="269" y="306"/>
                  </a:cubicBezTo>
                  <a:cubicBezTo>
                    <a:pt x="246" y="294"/>
                    <a:pt x="235" y="280"/>
                    <a:pt x="210" y="280"/>
                  </a:cubicBezTo>
                  <a:cubicBezTo>
                    <a:pt x="210" y="269"/>
                    <a:pt x="224" y="258"/>
                    <a:pt x="235" y="247"/>
                  </a:cubicBezTo>
                  <a:cubicBezTo>
                    <a:pt x="246" y="236"/>
                    <a:pt x="246" y="225"/>
                    <a:pt x="246" y="211"/>
                  </a:cubicBezTo>
                  <a:cubicBezTo>
                    <a:pt x="246" y="199"/>
                    <a:pt x="246" y="188"/>
                    <a:pt x="235" y="177"/>
                  </a:cubicBezTo>
                  <a:cubicBezTo>
                    <a:pt x="235" y="177"/>
                    <a:pt x="235" y="166"/>
                    <a:pt x="224" y="166"/>
                  </a:cubicBezTo>
                  <a:cubicBezTo>
                    <a:pt x="199" y="155"/>
                    <a:pt x="188" y="155"/>
                    <a:pt x="176" y="141"/>
                  </a:cubicBezTo>
                  <a:lnTo>
                    <a:pt x="176" y="130"/>
                  </a:lnTo>
                  <a:lnTo>
                    <a:pt x="176" y="85"/>
                  </a:lnTo>
                  <a:cubicBezTo>
                    <a:pt x="176" y="71"/>
                    <a:pt x="176" y="60"/>
                    <a:pt x="165" y="37"/>
                  </a:cubicBezTo>
                  <a:cubicBezTo>
                    <a:pt x="165" y="26"/>
                    <a:pt x="165" y="26"/>
                    <a:pt x="154" y="15"/>
                  </a:cubicBezTo>
                  <a:cubicBezTo>
                    <a:pt x="140" y="1"/>
                    <a:pt x="129" y="1"/>
                    <a:pt x="11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111;p17">
              <a:extLst>
                <a:ext uri="{FF2B5EF4-FFF2-40B4-BE49-F238E27FC236}">
                  <a16:creationId xmlns:a16="http://schemas.microsoft.com/office/drawing/2014/main" xmlns="" id="{397DD319-DE7E-C7C6-495C-5E69E225F5B4}"/>
                </a:ext>
              </a:extLst>
            </p:cNvPr>
            <p:cNvSpPr/>
            <p:nvPr/>
          </p:nvSpPr>
          <p:spPr>
            <a:xfrm>
              <a:off x="1215148" y="2440219"/>
              <a:ext cx="204728" cy="234244"/>
            </a:xfrm>
            <a:custGeom>
              <a:avLst/>
              <a:gdLst/>
              <a:ahLst/>
              <a:cxnLst/>
              <a:rect l="l" t="t" r="r" b="b"/>
              <a:pathLst>
                <a:path w="888" h="1016" extrusionOk="0">
                  <a:moveTo>
                    <a:pt x="431" y="0"/>
                  </a:moveTo>
                  <a:cubicBezTo>
                    <a:pt x="409" y="0"/>
                    <a:pt x="387" y="23"/>
                    <a:pt x="387" y="48"/>
                  </a:cubicBezTo>
                  <a:lnTo>
                    <a:pt x="387" y="93"/>
                  </a:lnTo>
                  <a:cubicBezTo>
                    <a:pt x="375" y="93"/>
                    <a:pt x="375" y="107"/>
                    <a:pt x="375" y="107"/>
                  </a:cubicBezTo>
                  <a:cubicBezTo>
                    <a:pt x="361" y="118"/>
                    <a:pt x="375" y="129"/>
                    <a:pt x="375" y="140"/>
                  </a:cubicBezTo>
                  <a:cubicBezTo>
                    <a:pt x="387" y="151"/>
                    <a:pt x="387" y="151"/>
                    <a:pt x="398" y="162"/>
                  </a:cubicBezTo>
                  <a:lnTo>
                    <a:pt x="398" y="176"/>
                  </a:lnTo>
                  <a:cubicBezTo>
                    <a:pt x="398" y="188"/>
                    <a:pt x="387" y="188"/>
                    <a:pt x="375" y="188"/>
                  </a:cubicBezTo>
                  <a:cubicBezTo>
                    <a:pt x="361" y="199"/>
                    <a:pt x="375" y="210"/>
                    <a:pt x="375" y="221"/>
                  </a:cubicBezTo>
                  <a:cubicBezTo>
                    <a:pt x="375" y="232"/>
                    <a:pt x="387" y="232"/>
                    <a:pt x="387" y="246"/>
                  </a:cubicBezTo>
                  <a:cubicBezTo>
                    <a:pt x="398" y="269"/>
                    <a:pt x="398" y="291"/>
                    <a:pt x="375" y="316"/>
                  </a:cubicBezTo>
                  <a:cubicBezTo>
                    <a:pt x="361" y="339"/>
                    <a:pt x="339" y="350"/>
                    <a:pt x="317" y="361"/>
                  </a:cubicBezTo>
                  <a:cubicBezTo>
                    <a:pt x="292" y="372"/>
                    <a:pt x="269" y="372"/>
                    <a:pt x="258" y="372"/>
                  </a:cubicBezTo>
                  <a:cubicBezTo>
                    <a:pt x="222" y="361"/>
                    <a:pt x="222" y="327"/>
                    <a:pt x="222" y="302"/>
                  </a:cubicBezTo>
                  <a:cubicBezTo>
                    <a:pt x="222" y="291"/>
                    <a:pt x="222" y="280"/>
                    <a:pt x="210" y="269"/>
                  </a:cubicBezTo>
                  <a:lnTo>
                    <a:pt x="188" y="269"/>
                  </a:lnTo>
                  <a:cubicBezTo>
                    <a:pt x="177" y="269"/>
                    <a:pt x="152" y="269"/>
                    <a:pt x="141" y="280"/>
                  </a:cubicBezTo>
                  <a:cubicBezTo>
                    <a:pt x="129" y="280"/>
                    <a:pt x="129" y="280"/>
                    <a:pt x="118" y="291"/>
                  </a:cubicBezTo>
                  <a:cubicBezTo>
                    <a:pt x="118" y="302"/>
                    <a:pt x="118" y="316"/>
                    <a:pt x="107" y="327"/>
                  </a:cubicBezTo>
                  <a:cubicBezTo>
                    <a:pt x="107" y="350"/>
                    <a:pt x="107" y="372"/>
                    <a:pt x="96" y="397"/>
                  </a:cubicBezTo>
                  <a:cubicBezTo>
                    <a:pt x="96" y="420"/>
                    <a:pt x="82" y="442"/>
                    <a:pt x="71" y="456"/>
                  </a:cubicBezTo>
                  <a:cubicBezTo>
                    <a:pt x="48" y="478"/>
                    <a:pt x="12" y="478"/>
                    <a:pt x="1" y="512"/>
                  </a:cubicBezTo>
                  <a:cubicBezTo>
                    <a:pt x="1" y="537"/>
                    <a:pt x="12" y="560"/>
                    <a:pt x="26" y="571"/>
                  </a:cubicBezTo>
                  <a:cubicBezTo>
                    <a:pt x="37" y="596"/>
                    <a:pt x="59" y="607"/>
                    <a:pt x="71" y="618"/>
                  </a:cubicBezTo>
                  <a:cubicBezTo>
                    <a:pt x="83" y="624"/>
                    <a:pt x="95" y="627"/>
                    <a:pt x="107" y="627"/>
                  </a:cubicBezTo>
                  <a:cubicBezTo>
                    <a:pt x="118" y="627"/>
                    <a:pt x="129" y="624"/>
                    <a:pt x="141" y="618"/>
                  </a:cubicBezTo>
                  <a:cubicBezTo>
                    <a:pt x="141" y="607"/>
                    <a:pt x="152" y="596"/>
                    <a:pt x="166" y="582"/>
                  </a:cubicBezTo>
                  <a:cubicBezTo>
                    <a:pt x="169" y="578"/>
                    <a:pt x="176" y="577"/>
                    <a:pt x="183" y="577"/>
                  </a:cubicBezTo>
                  <a:cubicBezTo>
                    <a:pt x="198" y="577"/>
                    <a:pt x="219" y="582"/>
                    <a:pt x="236" y="582"/>
                  </a:cubicBezTo>
                  <a:cubicBezTo>
                    <a:pt x="241" y="585"/>
                    <a:pt x="248" y="586"/>
                    <a:pt x="254" y="586"/>
                  </a:cubicBezTo>
                  <a:cubicBezTo>
                    <a:pt x="264" y="586"/>
                    <a:pt x="275" y="584"/>
                    <a:pt x="286" y="584"/>
                  </a:cubicBezTo>
                  <a:cubicBezTo>
                    <a:pt x="297" y="584"/>
                    <a:pt x="307" y="586"/>
                    <a:pt x="317" y="596"/>
                  </a:cubicBezTo>
                  <a:cubicBezTo>
                    <a:pt x="350" y="607"/>
                    <a:pt x="350" y="677"/>
                    <a:pt x="339" y="711"/>
                  </a:cubicBezTo>
                  <a:cubicBezTo>
                    <a:pt x="339" y="736"/>
                    <a:pt x="328" y="758"/>
                    <a:pt x="306" y="769"/>
                  </a:cubicBezTo>
                  <a:cubicBezTo>
                    <a:pt x="292" y="780"/>
                    <a:pt x="280" y="780"/>
                    <a:pt x="269" y="792"/>
                  </a:cubicBezTo>
                  <a:cubicBezTo>
                    <a:pt x="258" y="806"/>
                    <a:pt x="247" y="817"/>
                    <a:pt x="247" y="828"/>
                  </a:cubicBezTo>
                  <a:cubicBezTo>
                    <a:pt x="258" y="839"/>
                    <a:pt x="269" y="850"/>
                    <a:pt x="280" y="862"/>
                  </a:cubicBezTo>
                  <a:cubicBezTo>
                    <a:pt x="292" y="862"/>
                    <a:pt x="306" y="862"/>
                    <a:pt x="317" y="876"/>
                  </a:cubicBezTo>
                  <a:cubicBezTo>
                    <a:pt x="328" y="887"/>
                    <a:pt x="328" y="898"/>
                    <a:pt x="328" y="909"/>
                  </a:cubicBezTo>
                  <a:cubicBezTo>
                    <a:pt x="350" y="931"/>
                    <a:pt x="375" y="931"/>
                    <a:pt x="398" y="931"/>
                  </a:cubicBezTo>
                  <a:cubicBezTo>
                    <a:pt x="420" y="931"/>
                    <a:pt x="445" y="909"/>
                    <a:pt x="468" y="898"/>
                  </a:cubicBezTo>
                  <a:cubicBezTo>
                    <a:pt x="468" y="887"/>
                    <a:pt x="479" y="876"/>
                    <a:pt x="490" y="876"/>
                  </a:cubicBezTo>
                  <a:cubicBezTo>
                    <a:pt x="501" y="865"/>
                    <a:pt x="511" y="861"/>
                    <a:pt x="521" y="861"/>
                  </a:cubicBezTo>
                  <a:cubicBezTo>
                    <a:pt x="535" y="861"/>
                    <a:pt x="547" y="868"/>
                    <a:pt x="560" y="876"/>
                  </a:cubicBezTo>
                  <a:cubicBezTo>
                    <a:pt x="585" y="898"/>
                    <a:pt x="596" y="920"/>
                    <a:pt x="608" y="931"/>
                  </a:cubicBezTo>
                  <a:cubicBezTo>
                    <a:pt x="641" y="979"/>
                    <a:pt x="677" y="1001"/>
                    <a:pt x="725" y="1015"/>
                  </a:cubicBezTo>
                  <a:cubicBezTo>
                    <a:pt x="781" y="1015"/>
                    <a:pt x="828" y="1001"/>
                    <a:pt x="865" y="968"/>
                  </a:cubicBezTo>
                  <a:cubicBezTo>
                    <a:pt x="876" y="968"/>
                    <a:pt x="887" y="945"/>
                    <a:pt x="887" y="931"/>
                  </a:cubicBezTo>
                  <a:cubicBezTo>
                    <a:pt x="887" y="920"/>
                    <a:pt x="887" y="909"/>
                    <a:pt x="876" y="898"/>
                  </a:cubicBezTo>
                  <a:cubicBezTo>
                    <a:pt x="865" y="850"/>
                    <a:pt x="851" y="817"/>
                    <a:pt x="840" y="780"/>
                  </a:cubicBezTo>
                  <a:cubicBezTo>
                    <a:pt x="828" y="769"/>
                    <a:pt x="828" y="758"/>
                    <a:pt x="817" y="747"/>
                  </a:cubicBezTo>
                  <a:cubicBezTo>
                    <a:pt x="806" y="747"/>
                    <a:pt x="795" y="736"/>
                    <a:pt x="781" y="736"/>
                  </a:cubicBezTo>
                  <a:cubicBezTo>
                    <a:pt x="759" y="711"/>
                    <a:pt x="736" y="688"/>
                    <a:pt x="725" y="652"/>
                  </a:cubicBezTo>
                  <a:cubicBezTo>
                    <a:pt x="711" y="629"/>
                    <a:pt x="711" y="596"/>
                    <a:pt x="700" y="560"/>
                  </a:cubicBezTo>
                  <a:cubicBezTo>
                    <a:pt x="677" y="526"/>
                    <a:pt x="666" y="490"/>
                    <a:pt x="630" y="467"/>
                  </a:cubicBezTo>
                  <a:cubicBezTo>
                    <a:pt x="622" y="459"/>
                    <a:pt x="614" y="450"/>
                    <a:pt x="606" y="450"/>
                  </a:cubicBezTo>
                  <a:cubicBezTo>
                    <a:pt x="603" y="450"/>
                    <a:pt x="600" y="452"/>
                    <a:pt x="596" y="456"/>
                  </a:cubicBezTo>
                  <a:cubicBezTo>
                    <a:pt x="596" y="456"/>
                    <a:pt x="585" y="467"/>
                    <a:pt x="585" y="478"/>
                  </a:cubicBezTo>
                  <a:cubicBezTo>
                    <a:pt x="585" y="571"/>
                    <a:pt x="666" y="652"/>
                    <a:pt x="677" y="758"/>
                  </a:cubicBezTo>
                  <a:lnTo>
                    <a:pt x="677" y="769"/>
                  </a:lnTo>
                  <a:cubicBezTo>
                    <a:pt x="666" y="780"/>
                    <a:pt x="655" y="780"/>
                    <a:pt x="641" y="780"/>
                  </a:cubicBezTo>
                  <a:cubicBezTo>
                    <a:pt x="619" y="769"/>
                    <a:pt x="585" y="758"/>
                    <a:pt x="560" y="747"/>
                  </a:cubicBezTo>
                  <a:cubicBezTo>
                    <a:pt x="549" y="736"/>
                    <a:pt x="538" y="722"/>
                    <a:pt x="538" y="711"/>
                  </a:cubicBezTo>
                  <a:cubicBezTo>
                    <a:pt x="526" y="677"/>
                    <a:pt x="571" y="652"/>
                    <a:pt x="571" y="618"/>
                  </a:cubicBezTo>
                  <a:cubicBezTo>
                    <a:pt x="585" y="596"/>
                    <a:pt x="549" y="560"/>
                    <a:pt x="549" y="537"/>
                  </a:cubicBezTo>
                  <a:lnTo>
                    <a:pt x="549" y="490"/>
                  </a:lnTo>
                  <a:cubicBezTo>
                    <a:pt x="549" y="478"/>
                    <a:pt x="549" y="467"/>
                    <a:pt x="526" y="456"/>
                  </a:cubicBezTo>
                  <a:cubicBezTo>
                    <a:pt x="526" y="456"/>
                    <a:pt x="515" y="456"/>
                    <a:pt x="501" y="442"/>
                  </a:cubicBezTo>
                  <a:cubicBezTo>
                    <a:pt x="501" y="431"/>
                    <a:pt x="515" y="431"/>
                    <a:pt x="515" y="420"/>
                  </a:cubicBezTo>
                  <a:cubicBezTo>
                    <a:pt x="538" y="386"/>
                    <a:pt x="538" y="339"/>
                    <a:pt x="549" y="291"/>
                  </a:cubicBezTo>
                  <a:cubicBezTo>
                    <a:pt x="549" y="258"/>
                    <a:pt x="538" y="232"/>
                    <a:pt x="538" y="210"/>
                  </a:cubicBezTo>
                  <a:cubicBezTo>
                    <a:pt x="526" y="176"/>
                    <a:pt x="526" y="151"/>
                    <a:pt x="515" y="118"/>
                  </a:cubicBezTo>
                  <a:cubicBezTo>
                    <a:pt x="501" y="93"/>
                    <a:pt x="501" y="70"/>
                    <a:pt x="490" y="48"/>
                  </a:cubicBezTo>
                  <a:cubicBezTo>
                    <a:pt x="479" y="37"/>
                    <a:pt x="457" y="12"/>
                    <a:pt x="43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112;p17">
              <a:extLst>
                <a:ext uri="{FF2B5EF4-FFF2-40B4-BE49-F238E27FC236}">
                  <a16:creationId xmlns:a16="http://schemas.microsoft.com/office/drawing/2014/main" xmlns="" id="{0A3E823E-7EF2-E669-9F90-BA194C715BB1}"/>
                </a:ext>
              </a:extLst>
            </p:cNvPr>
            <p:cNvSpPr/>
            <p:nvPr/>
          </p:nvSpPr>
          <p:spPr>
            <a:xfrm>
              <a:off x="1210076" y="2434916"/>
              <a:ext cx="214873" cy="244619"/>
            </a:xfrm>
            <a:custGeom>
              <a:avLst/>
              <a:gdLst/>
              <a:ahLst/>
              <a:cxnLst/>
              <a:rect l="l" t="t" r="r" b="b"/>
              <a:pathLst>
                <a:path w="932" h="1061" extrusionOk="0">
                  <a:moveTo>
                    <a:pt x="616" y="625"/>
                  </a:moveTo>
                  <a:lnTo>
                    <a:pt x="616" y="625"/>
                  </a:lnTo>
                  <a:cubicBezTo>
                    <a:pt x="621" y="634"/>
                    <a:pt x="625" y="643"/>
                    <a:pt x="630" y="652"/>
                  </a:cubicBezTo>
                  <a:cubicBezTo>
                    <a:pt x="652" y="700"/>
                    <a:pt x="677" y="734"/>
                    <a:pt x="677" y="781"/>
                  </a:cubicBezTo>
                  <a:lnTo>
                    <a:pt x="663" y="781"/>
                  </a:lnTo>
                  <a:cubicBezTo>
                    <a:pt x="641" y="770"/>
                    <a:pt x="618" y="759"/>
                    <a:pt x="607" y="745"/>
                  </a:cubicBezTo>
                  <a:cubicBezTo>
                    <a:pt x="593" y="745"/>
                    <a:pt x="593" y="745"/>
                    <a:pt x="582" y="734"/>
                  </a:cubicBezTo>
                  <a:lnTo>
                    <a:pt x="582" y="722"/>
                  </a:lnTo>
                  <a:cubicBezTo>
                    <a:pt x="582" y="711"/>
                    <a:pt x="593" y="700"/>
                    <a:pt x="607" y="689"/>
                  </a:cubicBezTo>
                  <a:cubicBezTo>
                    <a:pt x="607" y="675"/>
                    <a:pt x="618" y="664"/>
                    <a:pt x="618" y="652"/>
                  </a:cubicBezTo>
                  <a:lnTo>
                    <a:pt x="618" y="641"/>
                  </a:lnTo>
                  <a:cubicBezTo>
                    <a:pt x="618" y="635"/>
                    <a:pt x="618" y="630"/>
                    <a:pt x="616" y="625"/>
                  </a:cubicBezTo>
                  <a:close/>
                  <a:moveTo>
                    <a:pt x="453" y="46"/>
                  </a:moveTo>
                  <a:lnTo>
                    <a:pt x="467" y="60"/>
                  </a:lnTo>
                  <a:cubicBezTo>
                    <a:pt x="479" y="71"/>
                    <a:pt x="490" y="82"/>
                    <a:pt x="490" y="82"/>
                  </a:cubicBezTo>
                  <a:cubicBezTo>
                    <a:pt x="501" y="104"/>
                    <a:pt x="501" y="130"/>
                    <a:pt x="512" y="152"/>
                  </a:cubicBezTo>
                  <a:cubicBezTo>
                    <a:pt x="523" y="174"/>
                    <a:pt x="523" y="211"/>
                    <a:pt x="537" y="233"/>
                  </a:cubicBezTo>
                  <a:cubicBezTo>
                    <a:pt x="537" y="255"/>
                    <a:pt x="548" y="281"/>
                    <a:pt x="548" y="303"/>
                  </a:cubicBezTo>
                  <a:lnTo>
                    <a:pt x="548" y="314"/>
                  </a:lnTo>
                  <a:cubicBezTo>
                    <a:pt x="537" y="362"/>
                    <a:pt x="537" y="395"/>
                    <a:pt x="512" y="432"/>
                  </a:cubicBezTo>
                  <a:cubicBezTo>
                    <a:pt x="512" y="443"/>
                    <a:pt x="501" y="443"/>
                    <a:pt x="501" y="465"/>
                  </a:cubicBezTo>
                  <a:cubicBezTo>
                    <a:pt x="512" y="479"/>
                    <a:pt x="512" y="490"/>
                    <a:pt x="512" y="490"/>
                  </a:cubicBezTo>
                  <a:cubicBezTo>
                    <a:pt x="523" y="490"/>
                    <a:pt x="537" y="490"/>
                    <a:pt x="537" y="501"/>
                  </a:cubicBezTo>
                  <a:lnTo>
                    <a:pt x="548" y="501"/>
                  </a:lnTo>
                  <a:lnTo>
                    <a:pt x="548" y="513"/>
                  </a:lnTo>
                  <a:lnTo>
                    <a:pt x="548" y="549"/>
                  </a:lnTo>
                  <a:lnTo>
                    <a:pt x="548" y="560"/>
                  </a:lnTo>
                  <a:cubicBezTo>
                    <a:pt x="548" y="583"/>
                    <a:pt x="560" y="594"/>
                    <a:pt x="560" y="605"/>
                  </a:cubicBezTo>
                  <a:cubicBezTo>
                    <a:pt x="571" y="619"/>
                    <a:pt x="571" y="630"/>
                    <a:pt x="571" y="641"/>
                  </a:cubicBezTo>
                  <a:cubicBezTo>
                    <a:pt x="571" y="652"/>
                    <a:pt x="571" y="664"/>
                    <a:pt x="560" y="675"/>
                  </a:cubicBezTo>
                  <a:cubicBezTo>
                    <a:pt x="548" y="675"/>
                    <a:pt x="548" y="689"/>
                    <a:pt x="548" y="700"/>
                  </a:cubicBezTo>
                  <a:cubicBezTo>
                    <a:pt x="537" y="711"/>
                    <a:pt x="537" y="711"/>
                    <a:pt x="537" y="722"/>
                  </a:cubicBezTo>
                  <a:lnTo>
                    <a:pt x="537" y="745"/>
                  </a:lnTo>
                  <a:cubicBezTo>
                    <a:pt x="537" y="759"/>
                    <a:pt x="548" y="770"/>
                    <a:pt x="560" y="770"/>
                  </a:cubicBezTo>
                  <a:cubicBezTo>
                    <a:pt x="560" y="781"/>
                    <a:pt x="571" y="781"/>
                    <a:pt x="571" y="792"/>
                  </a:cubicBezTo>
                  <a:cubicBezTo>
                    <a:pt x="607" y="803"/>
                    <a:pt x="630" y="815"/>
                    <a:pt x="652" y="829"/>
                  </a:cubicBezTo>
                  <a:lnTo>
                    <a:pt x="699" y="829"/>
                  </a:lnTo>
                  <a:cubicBezTo>
                    <a:pt x="699" y="815"/>
                    <a:pt x="711" y="815"/>
                    <a:pt x="711" y="815"/>
                  </a:cubicBezTo>
                  <a:cubicBezTo>
                    <a:pt x="722" y="803"/>
                    <a:pt x="722" y="792"/>
                    <a:pt x="722" y="781"/>
                  </a:cubicBezTo>
                  <a:lnTo>
                    <a:pt x="722" y="770"/>
                  </a:lnTo>
                  <a:cubicBezTo>
                    <a:pt x="711" y="722"/>
                    <a:pt x="688" y="675"/>
                    <a:pt x="677" y="630"/>
                  </a:cubicBezTo>
                  <a:cubicBezTo>
                    <a:pt x="652" y="583"/>
                    <a:pt x="630" y="549"/>
                    <a:pt x="630" y="501"/>
                  </a:cubicBezTo>
                  <a:lnTo>
                    <a:pt x="641" y="501"/>
                  </a:lnTo>
                  <a:cubicBezTo>
                    <a:pt x="663" y="524"/>
                    <a:pt x="688" y="560"/>
                    <a:pt x="699" y="594"/>
                  </a:cubicBezTo>
                  <a:cubicBezTo>
                    <a:pt x="711" y="619"/>
                    <a:pt x="711" y="652"/>
                    <a:pt x="722" y="689"/>
                  </a:cubicBezTo>
                  <a:cubicBezTo>
                    <a:pt x="747" y="722"/>
                    <a:pt x="758" y="759"/>
                    <a:pt x="792" y="770"/>
                  </a:cubicBezTo>
                  <a:cubicBezTo>
                    <a:pt x="803" y="781"/>
                    <a:pt x="817" y="781"/>
                    <a:pt x="828" y="792"/>
                  </a:cubicBezTo>
                  <a:cubicBezTo>
                    <a:pt x="828" y="792"/>
                    <a:pt x="828" y="803"/>
                    <a:pt x="839" y="815"/>
                  </a:cubicBezTo>
                  <a:cubicBezTo>
                    <a:pt x="850" y="851"/>
                    <a:pt x="862" y="885"/>
                    <a:pt x="873" y="921"/>
                  </a:cubicBezTo>
                  <a:cubicBezTo>
                    <a:pt x="887" y="932"/>
                    <a:pt x="887" y="943"/>
                    <a:pt x="887" y="954"/>
                  </a:cubicBezTo>
                  <a:cubicBezTo>
                    <a:pt x="887" y="954"/>
                    <a:pt x="873" y="968"/>
                    <a:pt x="873" y="980"/>
                  </a:cubicBezTo>
                  <a:cubicBezTo>
                    <a:pt x="850" y="1002"/>
                    <a:pt x="817" y="1013"/>
                    <a:pt x="781" y="1013"/>
                  </a:cubicBezTo>
                  <a:lnTo>
                    <a:pt x="758" y="1013"/>
                  </a:lnTo>
                  <a:cubicBezTo>
                    <a:pt x="711" y="1002"/>
                    <a:pt x="677" y="980"/>
                    <a:pt x="652" y="943"/>
                  </a:cubicBezTo>
                  <a:cubicBezTo>
                    <a:pt x="630" y="932"/>
                    <a:pt x="618" y="910"/>
                    <a:pt x="593" y="885"/>
                  </a:cubicBezTo>
                  <a:cubicBezTo>
                    <a:pt x="582" y="873"/>
                    <a:pt x="560" y="862"/>
                    <a:pt x="537" y="862"/>
                  </a:cubicBezTo>
                  <a:cubicBezTo>
                    <a:pt x="523" y="862"/>
                    <a:pt x="512" y="862"/>
                    <a:pt x="501" y="873"/>
                  </a:cubicBezTo>
                  <a:cubicBezTo>
                    <a:pt x="479" y="885"/>
                    <a:pt x="479" y="899"/>
                    <a:pt x="467" y="899"/>
                  </a:cubicBezTo>
                  <a:cubicBezTo>
                    <a:pt x="453" y="921"/>
                    <a:pt x="431" y="932"/>
                    <a:pt x="420" y="932"/>
                  </a:cubicBezTo>
                  <a:lnTo>
                    <a:pt x="409" y="932"/>
                  </a:lnTo>
                  <a:cubicBezTo>
                    <a:pt x="397" y="932"/>
                    <a:pt x="383" y="932"/>
                    <a:pt x="372" y="921"/>
                  </a:cubicBezTo>
                  <a:cubicBezTo>
                    <a:pt x="372" y="910"/>
                    <a:pt x="361" y="899"/>
                    <a:pt x="350" y="885"/>
                  </a:cubicBezTo>
                  <a:cubicBezTo>
                    <a:pt x="339" y="873"/>
                    <a:pt x="328" y="862"/>
                    <a:pt x="314" y="862"/>
                  </a:cubicBezTo>
                  <a:cubicBezTo>
                    <a:pt x="302" y="862"/>
                    <a:pt x="302" y="851"/>
                    <a:pt x="302" y="851"/>
                  </a:cubicBezTo>
                  <a:lnTo>
                    <a:pt x="291" y="851"/>
                  </a:lnTo>
                  <a:lnTo>
                    <a:pt x="302" y="840"/>
                  </a:lnTo>
                  <a:cubicBezTo>
                    <a:pt x="314" y="829"/>
                    <a:pt x="328" y="829"/>
                    <a:pt x="339" y="815"/>
                  </a:cubicBezTo>
                  <a:cubicBezTo>
                    <a:pt x="361" y="792"/>
                    <a:pt x="372" y="770"/>
                    <a:pt x="383" y="745"/>
                  </a:cubicBezTo>
                  <a:cubicBezTo>
                    <a:pt x="383" y="722"/>
                    <a:pt x="397" y="700"/>
                    <a:pt x="397" y="675"/>
                  </a:cubicBezTo>
                  <a:cubicBezTo>
                    <a:pt x="397" y="664"/>
                    <a:pt x="383" y="641"/>
                    <a:pt x="383" y="630"/>
                  </a:cubicBezTo>
                  <a:cubicBezTo>
                    <a:pt x="383" y="619"/>
                    <a:pt x="372" y="605"/>
                    <a:pt x="350" y="594"/>
                  </a:cubicBezTo>
                  <a:cubicBezTo>
                    <a:pt x="339" y="583"/>
                    <a:pt x="328" y="583"/>
                    <a:pt x="314" y="583"/>
                  </a:cubicBezTo>
                  <a:lnTo>
                    <a:pt x="232" y="583"/>
                  </a:lnTo>
                  <a:cubicBezTo>
                    <a:pt x="221" y="583"/>
                    <a:pt x="210" y="571"/>
                    <a:pt x="199" y="571"/>
                  </a:cubicBezTo>
                  <a:cubicBezTo>
                    <a:pt x="199" y="571"/>
                    <a:pt x="188" y="583"/>
                    <a:pt x="174" y="583"/>
                  </a:cubicBezTo>
                  <a:cubicBezTo>
                    <a:pt x="163" y="594"/>
                    <a:pt x="151" y="594"/>
                    <a:pt x="151" y="605"/>
                  </a:cubicBezTo>
                  <a:cubicBezTo>
                    <a:pt x="151" y="619"/>
                    <a:pt x="140" y="619"/>
                    <a:pt x="140" y="619"/>
                  </a:cubicBezTo>
                  <a:lnTo>
                    <a:pt x="129" y="630"/>
                  </a:lnTo>
                  <a:cubicBezTo>
                    <a:pt x="118" y="630"/>
                    <a:pt x="118" y="619"/>
                    <a:pt x="104" y="619"/>
                  </a:cubicBezTo>
                  <a:cubicBezTo>
                    <a:pt x="93" y="619"/>
                    <a:pt x="81" y="594"/>
                    <a:pt x="70" y="583"/>
                  </a:cubicBezTo>
                  <a:cubicBezTo>
                    <a:pt x="59" y="571"/>
                    <a:pt x="48" y="549"/>
                    <a:pt x="48" y="549"/>
                  </a:cubicBezTo>
                  <a:lnTo>
                    <a:pt x="48" y="535"/>
                  </a:lnTo>
                  <a:lnTo>
                    <a:pt x="59" y="535"/>
                  </a:lnTo>
                  <a:cubicBezTo>
                    <a:pt x="59" y="524"/>
                    <a:pt x="70" y="524"/>
                    <a:pt x="81" y="513"/>
                  </a:cubicBezTo>
                  <a:cubicBezTo>
                    <a:pt x="81" y="513"/>
                    <a:pt x="93" y="501"/>
                    <a:pt x="104" y="501"/>
                  </a:cubicBezTo>
                  <a:cubicBezTo>
                    <a:pt x="129" y="479"/>
                    <a:pt x="140" y="454"/>
                    <a:pt x="140" y="432"/>
                  </a:cubicBezTo>
                  <a:cubicBezTo>
                    <a:pt x="151" y="395"/>
                    <a:pt x="151" y="373"/>
                    <a:pt x="151" y="350"/>
                  </a:cubicBezTo>
                  <a:cubicBezTo>
                    <a:pt x="151" y="339"/>
                    <a:pt x="163" y="325"/>
                    <a:pt x="163" y="325"/>
                  </a:cubicBezTo>
                  <a:lnTo>
                    <a:pt x="174" y="314"/>
                  </a:lnTo>
                  <a:lnTo>
                    <a:pt x="221" y="314"/>
                  </a:lnTo>
                  <a:lnTo>
                    <a:pt x="221" y="325"/>
                  </a:lnTo>
                  <a:cubicBezTo>
                    <a:pt x="221" y="339"/>
                    <a:pt x="221" y="350"/>
                    <a:pt x="232" y="373"/>
                  </a:cubicBezTo>
                  <a:cubicBezTo>
                    <a:pt x="232" y="384"/>
                    <a:pt x="244" y="409"/>
                    <a:pt x="269" y="409"/>
                  </a:cubicBezTo>
                  <a:cubicBezTo>
                    <a:pt x="269" y="420"/>
                    <a:pt x="280" y="420"/>
                    <a:pt x="291" y="420"/>
                  </a:cubicBezTo>
                  <a:cubicBezTo>
                    <a:pt x="314" y="420"/>
                    <a:pt x="339" y="409"/>
                    <a:pt x="350" y="409"/>
                  </a:cubicBezTo>
                  <a:cubicBezTo>
                    <a:pt x="372" y="395"/>
                    <a:pt x="397" y="373"/>
                    <a:pt x="420" y="350"/>
                  </a:cubicBezTo>
                  <a:cubicBezTo>
                    <a:pt x="431" y="339"/>
                    <a:pt x="442" y="314"/>
                    <a:pt x="442" y="292"/>
                  </a:cubicBezTo>
                  <a:cubicBezTo>
                    <a:pt x="442" y="281"/>
                    <a:pt x="442" y="269"/>
                    <a:pt x="431" y="255"/>
                  </a:cubicBezTo>
                  <a:cubicBezTo>
                    <a:pt x="420" y="244"/>
                    <a:pt x="420" y="233"/>
                    <a:pt x="420" y="233"/>
                  </a:cubicBezTo>
                  <a:lnTo>
                    <a:pt x="431" y="222"/>
                  </a:lnTo>
                  <a:lnTo>
                    <a:pt x="442" y="211"/>
                  </a:lnTo>
                  <a:lnTo>
                    <a:pt x="442" y="199"/>
                  </a:lnTo>
                  <a:lnTo>
                    <a:pt x="442" y="174"/>
                  </a:lnTo>
                  <a:lnTo>
                    <a:pt x="420" y="152"/>
                  </a:lnTo>
                  <a:lnTo>
                    <a:pt x="409" y="141"/>
                  </a:lnTo>
                  <a:lnTo>
                    <a:pt x="420" y="141"/>
                  </a:lnTo>
                  <a:cubicBezTo>
                    <a:pt x="420" y="141"/>
                    <a:pt x="420" y="130"/>
                    <a:pt x="431" y="130"/>
                  </a:cubicBezTo>
                  <a:lnTo>
                    <a:pt x="431" y="104"/>
                  </a:lnTo>
                  <a:lnTo>
                    <a:pt x="431" y="71"/>
                  </a:lnTo>
                  <a:lnTo>
                    <a:pt x="431" y="60"/>
                  </a:lnTo>
                  <a:cubicBezTo>
                    <a:pt x="442" y="60"/>
                    <a:pt x="442" y="46"/>
                    <a:pt x="453" y="46"/>
                  </a:cubicBezTo>
                  <a:close/>
                  <a:moveTo>
                    <a:pt x="453" y="1"/>
                  </a:moveTo>
                  <a:cubicBezTo>
                    <a:pt x="431" y="1"/>
                    <a:pt x="420" y="12"/>
                    <a:pt x="409" y="23"/>
                  </a:cubicBezTo>
                  <a:cubicBezTo>
                    <a:pt x="397" y="35"/>
                    <a:pt x="383" y="60"/>
                    <a:pt x="383" y="71"/>
                  </a:cubicBezTo>
                  <a:lnTo>
                    <a:pt x="383" y="104"/>
                  </a:lnTo>
                  <a:cubicBezTo>
                    <a:pt x="383" y="104"/>
                    <a:pt x="372" y="116"/>
                    <a:pt x="372" y="130"/>
                  </a:cubicBezTo>
                  <a:lnTo>
                    <a:pt x="361" y="141"/>
                  </a:lnTo>
                  <a:cubicBezTo>
                    <a:pt x="361" y="152"/>
                    <a:pt x="372" y="163"/>
                    <a:pt x="383" y="174"/>
                  </a:cubicBezTo>
                  <a:cubicBezTo>
                    <a:pt x="383" y="179"/>
                    <a:pt x="386" y="184"/>
                    <a:pt x="389" y="188"/>
                  </a:cubicBezTo>
                  <a:lnTo>
                    <a:pt x="389" y="188"/>
                  </a:lnTo>
                  <a:cubicBezTo>
                    <a:pt x="386" y="190"/>
                    <a:pt x="383" y="194"/>
                    <a:pt x="383" y="199"/>
                  </a:cubicBezTo>
                  <a:cubicBezTo>
                    <a:pt x="372" y="211"/>
                    <a:pt x="372" y="222"/>
                    <a:pt x="372" y="233"/>
                  </a:cubicBezTo>
                  <a:lnTo>
                    <a:pt x="372" y="255"/>
                  </a:lnTo>
                  <a:cubicBezTo>
                    <a:pt x="383" y="269"/>
                    <a:pt x="383" y="269"/>
                    <a:pt x="397" y="281"/>
                  </a:cubicBezTo>
                  <a:lnTo>
                    <a:pt x="397" y="292"/>
                  </a:lnTo>
                  <a:cubicBezTo>
                    <a:pt x="397" y="303"/>
                    <a:pt x="383" y="314"/>
                    <a:pt x="383" y="325"/>
                  </a:cubicBezTo>
                  <a:cubicBezTo>
                    <a:pt x="372" y="339"/>
                    <a:pt x="350" y="350"/>
                    <a:pt x="328" y="362"/>
                  </a:cubicBezTo>
                  <a:cubicBezTo>
                    <a:pt x="314" y="373"/>
                    <a:pt x="302" y="373"/>
                    <a:pt x="291" y="373"/>
                  </a:cubicBezTo>
                  <a:lnTo>
                    <a:pt x="280" y="373"/>
                  </a:lnTo>
                  <a:cubicBezTo>
                    <a:pt x="280" y="373"/>
                    <a:pt x="280" y="362"/>
                    <a:pt x="269" y="350"/>
                  </a:cubicBezTo>
                  <a:lnTo>
                    <a:pt x="269" y="314"/>
                  </a:lnTo>
                  <a:lnTo>
                    <a:pt x="269" y="303"/>
                  </a:lnTo>
                  <a:cubicBezTo>
                    <a:pt x="258" y="292"/>
                    <a:pt x="258" y="281"/>
                    <a:pt x="244" y="281"/>
                  </a:cubicBezTo>
                  <a:cubicBezTo>
                    <a:pt x="232" y="269"/>
                    <a:pt x="221" y="269"/>
                    <a:pt x="210" y="269"/>
                  </a:cubicBezTo>
                  <a:cubicBezTo>
                    <a:pt x="188" y="269"/>
                    <a:pt x="163" y="269"/>
                    <a:pt x="151" y="281"/>
                  </a:cubicBezTo>
                  <a:cubicBezTo>
                    <a:pt x="140" y="281"/>
                    <a:pt x="129" y="292"/>
                    <a:pt x="129" y="303"/>
                  </a:cubicBezTo>
                  <a:cubicBezTo>
                    <a:pt x="118" y="314"/>
                    <a:pt x="118" y="325"/>
                    <a:pt x="104" y="339"/>
                  </a:cubicBezTo>
                  <a:cubicBezTo>
                    <a:pt x="104" y="373"/>
                    <a:pt x="104" y="395"/>
                    <a:pt x="93" y="420"/>
                  </a:cubicBezTo>
                  <a:cubicBezTo>
                    <a:pt x="93" y="443"/>
                    <a:pt x="81" y="454"/>
                    <a:pt x="81" y="465"/>
                  </a:cubicBezTo>
                  <a:cubicBezTo>
                    <a:pt x="70" y="465"/>
                    <a:pt x="59" y="479"/>
                    <a:pt x="48" y="479"/>
                  </a:cubicBezTo>
                  <a:cubicBezTo>
                    <a:pt x="34" y="490"/>
                    <a:pt x="34" y="490"/>
                    <a:pt x="23" y="501"/>
                  </a:cubicBezTo>
                  <a:cubicBezTo>
                    <a:pt x="12" y="501"/>
                    <a:pt x="12" y="513"/>
                    <a:pt x="12" y="524"/>
                  </a:cubicBezTo>
                  <a:cubicBezTo>
                    <a:pt x="0" y="535"/>
                    <a:pt x="0" y="535"/>
                    <a:pt x="0" y="549"/>
                  </a:cubicBezTo>
                  <a:cubicBezTo>
                    <a:pt x="0" y="571"/>
                    <a:pt x="23" y="594"/>
                    <a:pt x="34" y="605"/>
                  </a:cubicBezTo>
                  <a:cubicBezTo>
                    <a:pt x="48" y="630"/>
                    <a:pt x="59" y="652"/>
                    <a:pt x="81" y="664"/>
                  </a:cubicBezTo>
                  <a:cubicBezTo>
                    <a:pt x="93" y="664"/>
                    <a:pt x="118" y="675"/>
                    <a:pt x="129" y="675"/>
                  </a:cubicBezTo>
                  <a:cubicBezTo>
                    <a:pt x="140" y="675"/>
                    <a:pt x="163" y="664"/>
                    <a:pt x="174" y="652"/>
                  </a:cubicBezTo>
                  <a:cubicBezTo>
                    <a:pt x="188" y="641"/>
                    <a:pt x="188" y="641"/>
                    <a:pt x="188" y="630"/>
                  </a:cubicBezTo>
                  <a:lnTo>
                    <a:pt x="199" y="630"/>
                  </a:lnTo>
                  <a:lnTo>
                    <a:pt x="199" y="619"/>
                  </a:lnTo>
                  <a:cubicBezTo>
                    <a:pt x="210" y="619"/>
                    <a:pt x="210" y="630"/>
                    <a:pt x="221" y="630"/>
                  </a:cubicBezTo>
                  <a:lnTo>
                    <a:pt x="328" y="630"/>
                  </a:lnTo>
                  <a:cubicBezTo>
                    <a:pt x="339" y="641"/>
                    <a:pt x="339" y="641"/>
                    <a:pt x="339" y="652"/>
                  </a:cubicBezTo>
                  <a:cubicBezTo>
                    <a:pt x="339" y="652"/>
                    <a:pt x="350" y="664"/>
                    <a:pt x="350" y="675"/>
                  </a:cubicBezTo>
                  <a:cubicBezTo>
                    <a:pt x="350" y="700"/>
                    <a:pt x="339" y="711"/>
                    <a:pt x="339" y="734"/>
                  </a:cubicBezTo>
                  <a:cubicBezTo>
                    <a:pt x="339" y="745"/>
                    <a:pt x="328" y="770"/>
                    <a:pt x="314" y="781"/>
                  </a:cubicBezTo>
                  <a:cubicBezTo>
                    <a:pt x="302" y="781"/>
                    <a:pt x="291" y="792"/>
                    <a:pt x="280" y="792"/>
                  </a:cubicBezTo>
                  <a:cubicBezTo>
                    <a:pt x="269" y="803"/>
                    <a:pt x="269" y="803"/>
                    <a:pt x="258" y="815"/>
                  </a:cubicBezTo>
                  <a:cubicBezTo>
                    <a:pt x="258" y="829"/>
                    <a:pt x="244" y="840"/>
                    <a:pt x="244" y="851"/>
                  </a:cubicBezTo>
                  <a:cubicBezTo>
                    <a:pt x="258" y="862"/>
                    <a:pt x="258" y="873"/>
                    <a:pt x="269" y="885"/>
                  </a:cubicBezTo>
                  <a:cubicBezTo>
                    <a:pt x="280" y="899"/>
                    <a:pt x="280" y="899"/>
                    <a:pt x="291" y="899"/>
                  </a:cubicBezTo>
                  <a:cubicBezTo>
                    <a:pt x="302" y="910"/>
                    <a:pt x="314" y="910"/>
                    <a:pt x="314" y="921"/>
                  </a:cubicBezTo>
                  <a:cubicBezTo>
                    <a:pt x="328" y="921"/>
                    <a:pt x="328" y="932"/>
                    <a:pt x="339" y="943"/>
                  </a:cubicBezTo>
                  <a:cubicBezTo>
                    <a:pt x="350" y="968"/>
                    <a:pt x="383" y="980"/>
                    <a:pt x="409" y="980"/>
                  </a:cubicBezTo>
                  <a:lnTo>
                    <a:pt x="420" y="980"/>
                  </a:lnTo>
                  <a:cubicBezTo>
                    <a:pt x="453" y="968"/>
                    <a:pt x="479" y="954"/>
                    <a:pt x="501" y="932"/>
                  </a:cubicBezTo>
                  <a:cubicBezTo>
                    <a:pt x="512" y="921"/>
                    <a:pt x="512" y="910"/>
                    <a:pt x="523" y="910"/>
                  </a:cubicBezTo>
                  <a:lnTo>
                    <a:pt x="537" y="910"/>
                  </a:lnTo>
                  <a:cubicBezTo>
                    <a:pt x="548" y="910"/>
                    <a:pt x="560" y="910"/>
                    <a:pt x="571" y="921"/>
                  </a:cubicBezTo>
                  <a:cubicBezTo>
                    <a:pt x="582" y="932"/>
                    <a:pt x="593" y="954"/>
                    <a:pt x="618" y="980"/>
                  </a:cubicBezTo>
                  <a:cubicBezTo>
                    <a:pt x="652" y="1013"/>
                    <a:pt x="699" y="1050"/>
                    <a:pt x="747" y="1061"/>
                  </a:cubicBezTo>
                  <a:lnTo>
                    <a:pt x="781" y="1061"/>
                  </a:lnTo>
                  <a:cubicBezTo>
                    <a:pt x="828" y="1061"/>
                    <a:pt x="873" y="1050"/>
                    <a:pt x="898" y="1013"/>
                  </a:cubicBezTo>
                  <a:cubicBezTo>
                    <a:pt x="920" y="1002"/>
                    <a:pt x="932" y="980"/>
                    <a:pt x="932" y="954"/>
                  </a:cubicBezTo>
                  <a:cubicBezTo>
                    <a:pt x="932" y="932"/>
                    <a:pt x="920" y="921"/>
                    <a:pt x="920" y="910"/>
                  </a:cubicBezTo>
                  <a:cubicBezTo>
                    <a:pt x="909" y="873"/>
                    <a:pt x="898" y="840"/>
                    <a:pt x="873" y="792"/>
                  </a:cubicBezTo>
                  <a:cubicBezTo>
                    <a:pt x="873" y="781"/>
                    <a:pt x="873" y="770"/>
                    <a:pt x="862" y="759"/>
                  </a:cubicBezTo>
                  <a:cubicBezTo>
                    <a:pt x="839" y="745"/>
                    <a:pt x="828" y="734"/>
                    <a:pt x="817" y="734"/>
                  </a:cubicBezTo>
                  <a:cubicBezTo>
                    <a:pt x="792" y="722"/>
                    <a:pt x="781" y="700"/>
                    <a:pt x="769" y="664"/>
                  </a:cubicBezTo>
                  <a:cubicBezTo>
                    <a:pt x="758" y="641"/>
                    <a:pt x="758" y="605"/>
                    <a:pt x="747" y="583"/>
                  </a:cubicBezTo>
                  <a:cubicBezTo>
                    <a:pt x="722" y="535"/>
                    <a:pt x="699" y="501"/>
                    <a:pt x="677" y="465"/>
                  </a:cubicBezTo>
                  <a:cubicBezTo>
                    <a:pt x="663" y="465"/>
                    <a:pt x="663" y="454"/>
                    <a:pt x="652" y="454"/>
                  </a:cubicBezTo>
                  <a:lnTo>
                    <a:pt x="630" y="454"/>
                  </a:lnTo>
                  <a:cubicBezTo>
                    <a:pt x="626" y="450"/>
                    <a:pt x="622" y="449"/>
                    <a:pt x="619" y="449"/>
                  </a:cubicBezTo>
                  <a:cubicBezTo>
                    <a:pt x="612" y="449"/>
                    <a:pt x="607" y="454"/>
                    <a:pt x="607" y="454"/>
                  </a:cubicBezTo>
                  <a:cubicBezTo>
                    <a:pt x="593" y="465"/>
                    <a:pt x="593" y="465"/>
                    <a:pt x="593" y="479"/>
                  </a:cubicBezTo>
                  <a:lnTo>
                    <a:pt x="582" y="490"/>
                  </a:lnTo>
                  <a:cubicBezTo>
                    <a:pt x="582" y="479"/>
                    <a:pt x="571" y="465"/>
                    <a:pt x="560" y="454"/>
                  </a:cubicBezTo>
                  <a:cubicBezTo>
                    <a:pt x="582" y="409"/>
                    <a:pt x="582" y="362"/>
                    <a:pt x="593" y="314"/>
                  </a:cubicBezTo>
                  <a:lnTo>
                    <a:pt x="593" y="303"/>
                  </a:lnTo>
                  <a:cubicBezTo>
                    <a:pt x="593" y="281"/>
                    <a:pt x="582" y="244"/>
                    <a:pt x="582" y="222"/>
                  </a:cubicBezTo>
                  <a:cubicBezTo>
                    <a:pt x="571" y="199"/>
                    <a:pt x="571" y="163"/>
                    <a:pt x="560" y="141"/>
                  </a:cubicBezTo>
                  <a:cubicBezTo>
                    <a:pt x="548" y="116"/>
                    <a:pt x="548" y="82"/>
                    <a:pt x="523" y="60"/>
                  </a:cubicBezTo>
                  <a:cubicBezTo>
                    <a:pt x="523" y="46"/>
                    <a:pt x="512" y="35"/>
                    <a:pt x="501" y="23"/>
                  </a:cubicBezTo>
                  <a:cubicBezTo>
                    <a:pt x="490" y="12"/>
                    <a:pt x="479" y="12"/>
                    <a:pt x="45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113;p17">
              <a:extLst>
                <a:ext uri="{FF2B5EF4-FFF2-40B4-BE49-F238E27FC236}">
                  <a16:creationId xmlns:a16="http://schemas.microsoft.com/office/drawing/2014/main" xmlns="" id="{90A4C202-1DD6-8371-2EAA-8BCE7174AF33}"/>
                </a:ext>
              </a:extLst>
            </p:cNvPr>
            <p:cNvSpPr/>
            <p:nvPr/>
          </p:nvSpPr>
          <p:spPr>
            <a:xfrm>
              <a:off x="1325351" y="2735328"/>
              <a:ext cx="161385" cy="165769"/>
            </a:xfrm>
            <a:custGeom>
              <a:avLst/>
              <a:gdLst/>
              <a:ahLst/>
              <a:cxnLst/>
              <a:rect l="l" t="t" r="r" b="b"/>
              <a:pathLst>
                <a:path w="700" h="719" extrusionOk="0">
                  <a:moveTo>
                    <a:pt x="177" y="1"/>
                  </a:moveTo>
                  <a:cubicBezTo>
                    <a:pt x="163" y="1"/>
                    <a:pt x="141" y="1"/>
                    <a:pt x="130" y="15"/>
                  </a:cubicBezTo>
                  <a:cubicBezTo>
                    <a:pt x="118" y="26"/>
                    <a:pt x="107" y="26"/>
                    <a:pt x="93" y="37"/>
                  </a:cubicBezTo>
                  <a:lnTo>
                    <a:pt x="82" y="49"/>
                  </a:lnTo>
                  <a:cubicBezTo>
                    <a:pt x="71" y="60"/>
                    <a:pt x="71" y="71"/>
                    <a:pt x="71" y="85"/>
                  </a:cubicBezTo>
                  <a:cubicBezTo>
                    <a:pt x="60" y="118"/>
                    <a:pt x="12" y="155"/>
                    <a:pt x="12" y="200"/>
                  </a:cubicBezTo>
                  <a:cubicBezTo>
                    <a:pt x="1" y="258"/>
                    <a:pt x="37" y="306"/>
                    <a:pt x="82" y="339"/>
                  </a:cubicBezTo>
                  <a:cubicBezTo>
                    <a:pt x="107" y="351"/>
                    <a:pt x="130" y="364"/>
                    <a:pt x="141" y="376"/>
                  </a:cubicBezTo>
                  <a:cubicBezTo>
                    <a:pt x="141" y="398"/>
                    <a:pt x="141" y="409"/>
                    <a:pt x="152" y="420"/>
                  </a:cubicBezTo>
                  <a:cubicBezTo>
                    <a:pt x="152" y="446"/>
                    <a:pt x="152" y="457"/>
                    <a:pt x="163" y="479"/>
                  </a:cubicBezTo>
                  <a:cubicBezTo>
                    <a:pt x="177" y="479"/>
                    <a:pt x="177" y="490"/>
                    <a:pt x="188" y="504"/>
                  </a:cubicBezTo>
                  <a:lnTo>
                    <a:pt x="222" y="504"/>
                  </a:lnTo>
                  <a:cubicBezTo>
                    <a:pt x="233" y="504"/>
                    <a:pt x="247" y="515"/>
                    <a:pt x="247" y="527"/>
                  </a:cubicBezTo>
                  <a:cubicBezTo>
                    <a:pt x="269" y="560"/>
                    <a:pt x="292" y="597"/>
                    <a:pt x="303" y="630"/>
                  </a:cubicBezTo>
                  <a:cubicBezTo>
                    <a:pt x="303" y="644"/>
                    <a:pt x="317" y="655"/>
                    <a:pt x="317" y="666"/>
                  </a:cubicBezTo>
                  <a:cubicBezTo>
                    <a:pt x="328" y="689"/>
                    <a:pt x="350" y="700"/>
                    <a:pt x="362" y="700"/>
                  </a:cubicBezTo>
                  <a:cubicBezTo>
                    <a:pt x="380" y="710"/>
                    <a:pt x="390" y="719"/>
                    <a:pt x="403" y="719"/>
                  </a:cubicBezTo>
                  <a:cubicBezTo>
                    <a:pt x="408" y="719"/>
                    <a:pt x="414" y="717"/>
                    <a:pt x="420" y="714"/>
                  </a:cubicBezTo>
                  <a:cubicBezTo>
                    <a:pt x="432" y="700"/>
                    <a:pt x="443" y="678"/>
                    <a:pt x="443" y="666"/>
                  </a:cubicBezTo>
                  <a:cubicBezTo>
                    <a:pt x="457" y="655"/>
                    <a:pt x="457" y="644"/>
                    <a:pt x="457" y="630"/>
                  </a:cubicBezTo>
                  <a:cubicBezTo>
                    <a:pt x="457" y="608"/>
                    <a:pt x="443" y="597"/>
                    <a:pt x="432" y="597"/>
                  </a:cubicBezTo>
                  <a:cubicBezTo>
                    <a:pt x="432" y="597"/>
                    <a:pt x="420" y="597"/>
                    <a:pt x="409" y="585"/>
                  </a:cubicBezTo>
                  <a:cubicBezTo>
                    <a:pt x="398" y="574"/>
                    <a:pt x="409" y="560"/>
                    <a:pt x="409" y="549"/>
                  </a:cubicBezTo>
                  <a:cubicBezTo>
                    <a:pt x="420" y="549"/>
                    <a:pt x="432" y="538"/>
                    <a:pt x="443" y="538"/>
                  </a:cubicBezTo>
                  <a:cubicBezTo>
                    <a:pt x="457" y="538"/>
                    <a:pt x="479" y="527"/>
                    <a:pt x="479" y="515"/>
                  </a:cubicBezTo>
                  <a:cubicBezTo>
                    <a:pt x="479" y="515"/>
                    <a:pt x="479" y="504"/>
                    <a:pt x="490" y="504"/>
                  </a:cubicBezTo>
                  <a:cubicBezTo>
                    <a:pt x="490" y="481"/>
                    <a:pt x="505" y="473"/>
                    <a:pt x="525" y="473"/>
                  </a:cubicBezTo>
                  <a:cubicBezTo>
                    <a:pt x="536" y="473"/>
                    <a:pt x="548" y="475"/>
                    <a:pt x="560" y="479"/>
                  </a:cubicBezTo>
                  <a:cubicBezTo>
                    <a:pt x="583" y="490"/>
                    <a:pt x="597" y="504"/>
                    <a:pt x="619" y="527"/>
                  </a:cubicBezTo>
                  <a:cubicBezTo>
                    <a:pt x="641" y="549"/>
                    <a:pt x="666" y="560"/>
                    <a:pt x="689" y="560"/>
                  </a:cubicBezTo>
                  <a:lnTo>
                    <a:pt x="700" y="560"/>
                  </a:lnTo>
                  <a:lnTo>
                    <a:pt x="700" y="549"/>
                  </a:lnTo>
                  <a:cubicBezTo>
                    <a:pt x="700" y="527"/>
                    <a:pt x="689" y="515"/>
                    <a:pt x="666" y="504"/>
                  </a:cubicBezTo>
                  <a:lnTo>
                    <a:pt x="560" y="398"/>
                  </a:lnTo>
                  <a:cubicBezTo>
                    <a:pt x="549" y="387"/>
                    <a:pt x="538" y="376"/>
                    <a:pt x="538" y="351"/>
                  </a:cubicBezTo>
                  <a:cubicBezTo>
                    <a:pt x="527" y="328"/>
                    <a:pt x="527" y="306"/>
                    <a:pt x="513" y="281"/>
                  </a:cubicBezTo>
                  <a:cubicBezTo>
                    <a:pt x="501" y="247"/>
                    <a:pt x="457" y="236"/>
                    <a:pt x="420" y="236"/>
                  </a:cubicBezTo>
                  <a:cubicBezTo>
                    <a:pt x="387" y="225"/>
                    <a:pt x="339" y="225"/>
                    <a:pt x="303" y="211"/>
                  </a:cubicBezTo>
                  <a:cubicBezTo>
                    <a:pt x="258" y="200"/>
                    <a:pt x="211" y="141"/>
                    <a:pt x="211" y="85"/>
                  </a:cubicBezTo>
                  <a:cubicBezTo>
                    <a:pt x="211" y="71"/>
                    <a:pt x="211" y="60"/>
                    <a:pt x="199" y="37"/>
                  </a:cubicBezTo>
                  <a:cubicBezTo>
                    <a:pt x="199" y="26"/>
                    <a:pt x="188" y="1"/>
                    <a:pt x="17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114;p17">
              <a:extLst>
                <a:ext uri="{FF2B5EF4-FFF2-40B4-BE49-F238E27FC236}">
                  <a16:creationId xmlns:a16="http://schemas.microsoft.com/office/drawing/2014/main" xmlns="" id="{189FCBD3-019C-9B61-C0CE-BF2A6899DE06}"/>
                </a:ext>
              </a:extLst>
            </p:cNvPr>
            <p:cNvSpPr/>
            <p:nvPr/>
          </p:nvSpPr>
          <p:spPr>
            <a:xfrm>
              <a:off x="1320279" y="2730255"/>
              <a:ext cx="171760" cy="174991"/>
            </a:xfrm>
            <a:custGeom>
              <a:avLst/>
              <a:gdLst/>
              <a:ahLst/>
              <a:cxnLst/>
              <a:rect l="l" t="t" r="r" b="b"/>
              <a:pathLst>
                <a:path w="745" h="759" extrusionOk="0">
                  <a:moveTo>
                    <a:pt x="199" y="48"/>
                  </a:moveTo>
                  <a:lnTo>
                    <a:pt x="199" y="71"/>
                  </a:lnTo>
                  <a:cubicBezTo>
                    <a:pt x="210" y="82"/>
                    <a:pt x="210" y="93"/>
                    <a:pt x="210" y="118"/>
                  </a:cubicBezTo>
                  <a:cubicBezTo>
                    <a:pt x="210" y="177"/>
                    <a:pt x="255" y="233"/>
                    <a:pt x="325" y="258"/>
                  </a:cubicBezTo>
                  <a:cubicBezTo>
                    <a:pt x="361" y="269"/>
                    <a:pt x="409" y="269"/>
                    <a:pt x="442" y="280"/>
                  </a:cubicBezTo>
                  <a:cubicBezTo>
                    <a:pt x="454" y="280"/>
                    <a:pt x="479" y="280"/>
                    <a:pt x="490" y="291"/>
                  </a:cubicBezTo>
                  <a:cubicBezTo>
                    <a:pt x="501" y="291"/>
                    <a:pt x="512" y="303"/>
                    <a:pt x="512" y="317"/>
                  </a:cubicBezTo>
                  <a:cubicBezTo>
                    <a:pt x="512" y="328"/>
                    <a:pt x="523" y="339"/>
                    <a:pt x="523" y="350"/>
                  </a:cubicBezTo>
                  <a:cubicBezTo>
                    <a:pt x="523" y="350"/>
                    <a:pt x="523" y="373"/>
                    <a:pt x="535" y="386"/>
                  </a:cubicBezTo>
                  <a:cubicBezTo>
                    <a:pt x="535" y="409"/>
                    <a:pt x="560" y="420"/>
                    <a:pt x="571" y="431"/>
                  </a:cubicBezTo>
                  <a:lnTo>
                    <a:pt x="674" y="537"/>
                  </a:lnTo>
                  <a:cubicBezTo>
                    <a:pt x="688" y="549"/>
                    <a:pt x="688" y="549"/>
                    <a:pt x="700" y="560"/>
                  </a:cubicBezTo>
                  <a:lnTo>
                    <a:pt x="688" y="560"/>
                  </a:lnTo>
                  <a:cubicBezTo>
                    <a:pt x="674" y="549"/>
                    <a:pt x="663" y="537"/>
                    <a:pt x="652" y="537"/>
                  </a:cubicBezTo>
                  <a:cubicBezTo>
                    <a:pt x="641" y="512"/>
                    <a:pt x="619" y="490"/>
                    <a:pt x="582" y="479"/>
                  </a:cubicBezTo>
                  <a:cubicBezTo>
                    <a:pt x="571" y="468"/>
                    <a:pt x="571" y="468"/>
                    <a:pt x="560" y="468"/>
                  </a:cubicBezTo>
                  <a:cubicBezTo>
                    <a:pt x="535" y="468"/>
                    <a:pt x="523" y="479"/>
                    <a:pt x="512" y="479"/>
                  </a:cubicBezTo>
                  <a:cubicBezTo>
                    <a:pt x="501" y="490"/>
                    <a:pt x="490" y="501"/>
                    <a:pt x="490" y="512"/>
                  </a:cubicBezTo>
                  <a:lnTo>
                    <a:pt x="479" y="526"/>
                  </a:lnTo>
                  <a:lnTo>
                    <a:pt x="479" y="537"/>
                  </a:lnTo>
                  <a:lnTo>
                    <a:pt x="465" y="537"/>
                  </a:lnTo>
                  <a:cubicBezTo>
                    <a:pt x="454" y="537"/>
                    <a:pt x="431" y="549"/>
                    <a:pt x="420" y="560"/>
                  </a:cubicBezTo>
                  <a:cubicBezTo>
                    <a:pt x="409" y="571"/>
                    <a:pt x="409" y="582"/>
                    <a:pt x="409" y="596"/>
                  </a:cubicBezTo>
                  <a:cubicBezTo>
                    <a:pt x="409" y="607"/>
                    <a:pt x="409" y="619"/>
                    <a:pt x="420" y="630"/>
                  </a:cubicBezTo>
                  <a:cubicBezTo>
                    <a:pt x="431" y="630"/>
                    <a:pt x="431" y="630"/>
                    <a:pt x="442" y="641"/>
                  </a:cubicBezTo>
                  <a:cubicBezTo>
                    <a:pt x="454" y="641"/>
                    <a:pt x="454" y="641"/>
                    <a:pt x="454" y="652"/>
                  </a:cubicBezTo>
                  <a:lnTo>
                    <a:pt x="454" y="677"/>
                  </a:lnTo>
                  <a:cubicBezTo>
                    <a:pt x="442" y="688"/>
                    <a:pt x="442" y="700"/>
                    <a:pt x="442" y="700"/>
                  </a:cubicBezTo>
                  <a:cubicBezTo>
                    <a:pt x="442" y="711"/>
                    <a:pt x="431" y="711"/>
                    <a:pt x="431" y="711"/>
                  </a:cubicBezTo>
                  <a:lnTo>
                    <a:pt x="395" y="711"/>
                  </a:lnTo>
                  <a:cubicBezTo>
                    <a:pt x="384" y="700"/>
                    <a:pt x="372" y="688"/>
                    <a:pt x="361" y="677"/>
                  </a:cubicBezTo>
                  <a:cubicBezTo>
                    <a:pt x="350" y="677"/>
                    <a:pt x="350" y="666"/>
                    <a:pt x="350" y="641"/>
                  </a:cubicBezTo>
                  <a:cubicBezTo>
                    <a:pt x="339" y="607"/>
                    <a:pt x="314" y="571"/>
                    <a:pt x="291" y="537"/>
                  </a:cubicBezTo>
                  <a:cubicBezTo>
                    <a:pt x="291" y="526"/>
                    <a:pt x="280" y="526"/>
                    <a:pt x="269" y="512"/>
                  </a:cubicBezTo>
                  <a:cubicBezTo>
                    <a:pt x="269" y="512"/>
                    <a:pt x="255" y="501"/>
                    <a:pt x="244" y="501"/>
                  </a:cubicBezTo>
                  <a:lnTo>
                    <a:pt x="221" y="501"/>
                  </a:lnTo>
                  <a:lnTo>
                    <a:pt x="210" y="490"/>
                  </a:lnTo>
                  <a:cubicBezTo>
                    <a:pt x="199" y="479"/>
                    <a:pt x="199" y="456"/>
                    <a:pt x="199" y="442"/>
                  </a:cubicBezTo>
                  <a:cubicBezTo>
                    <a:pt x="185" y="431"/>
                    <a:pt x="185" y="409"/>
                    <a:pt x="174" y="398"/>
                  </a:cubicBezTo>
                  <a:cubicBezTo>
                    <a:pt x="163" y="361"/>
                    <a:pt x="140" y="350"/>
                    <a:pt x="115" y="339"/>
                  </a:cubicBezTo>
                  <a:cubicBezTo>
                    <a:pt x="93" y="328"/>
                    <a:pt x="82" y="317"/>
                    <a:pt x="70" y="291"/>
                  </a:cubicBezTo>
                  <a:cubicBezTo>
                    <a:pt x="59" y="280"/>
                    <a:pt x="45" y="258"/>
                    <a:pt x="45" y="247"/>
                  </a:cubicBezTo>
                  <a:lnTo>
                    <a:pt x="45" y="233"/>
                  </a:lnTo>
                  <a:cubicBezTo>
                    <a:pt x="59" y="210"/>
                    <a:pt x="70" y="199"/>
                    <a:pt x="82" y="177"/>
                  </a:cubicBezTo>
                  <a:cubicBezTo>
                    <a:pt x="93" y="152"/>
                    <a:pt x="104" y="129"/>
                    <a:pt x="115" y="107"/>
                  </a:cubicBezTo>
                  <a:lnTo>
                    <a:pt x="115" y="82"/>
                  </a:lnTo>
                  <a:lnTo>
                    <a:pt x="129" y="82"/>
                  </a:lnTo>
                  <a:cubicBezTo>
                    <a:pt x="152" y="71"/>
                    <a:pt x="163" y="59"/>
                    <a:pt x="163" y="48"/>
                  </a:cubicBezTo>
                  <a:close/>
                  <a:moveTo>
                    <a:pt x="185" y="1"/>
                  </a:moveTo>
                  <a:cubicBezTo>
                    <a:pt x="163" y="1"/>
                    <a:pt x="152" y="1"/>
                    <a:pt x="140" y="12"/>
                  </a:cubicBezTo>
                  <a:cubicBezTo>
                    <a:pt x="129" y="23"/>
                    <a:pt x="115" y="37"/>
                    <a:pt x="104" y="37"/>
                  </a:cubicBezTo>
                  <a:cubicBezTo>
                    <a:pt x="104" y="48"/>
                    <a:pt x="93" y="48"/>
                    <a:pt x="82" y="59"/>
                  </a:cubicBezTo>
                  <a:cubicBezTo>
                    <a:pt x="70" y="71"/>
                    <a:pt x="70" y="82"/>
                    <a:pt x="70" y="93"/>
                  </a:cubicBezTo>
                  <a:cubicBezTo>
                    <a:pt x="70" y="118"/>
                    <a:pt x="59" y="129"/>
                    <a:pt x="34" y="152"/>
                  </a:cubicBezTo>
                  <a:cubicBezTo>
                    <a:pt x="23" y="177"/>
                    <a:pt x="12" y="188"/>
                    <a:pt x="12" y="222"/>
                  </a:cubicBezTo>
                  <a:cubicBezTo>
                    <a:pt x="1" y="233"/>
                    <a:pt x="1" y="233"/>
                    <a:pt x="1" y="247"/>
                  </a:cubicBezTo>
                  <a:cubicBezTo>
                    <a:pt x="1" y="269"/>
                    <a:pt x="12" y="303"/>
                    <a:pt x="34" y="317"/>
                  </a:cubicBezTo>
                  <a:cubicBezTo>
                    <a:pt x="45" y="339"/>
                    <a:pt x="70" y="361"/>
                    <a:pt x="93" y="373"/>
                  </a:cubicBezTo>
                  <a:cubicBezTo>
                    <a:pt x="115" y="386"/>
                    <a:pt x="129" y="398"/>
                    <a:pt x="140" y="409"/>
                  </a:cubicBezTo>
                  <a:cubicBezTo>
                    <a:pt x="140" y="420"/>
                    <a:pt x="140" y="431"/>
                    <a:pt x="152" y="456"/>
                  </a:cubicBezTo>
                  <a:cubicBezTo>
                    <a:pt x="152" y="468"/>
                    <a:pt x="163" y="490"/>
                    <a:pt x="163" y="512"/>
                  </a:cubicBezTo>
                  <a:cubicBezTo>
                    <a:pt x="174" y="512"/>
                    <a:pt x="174" y="537"/>
                    <a:pt x="199" y="537"/>
                  </a:cubicBezTo>
                  <a:cubicBezTo>
                    <a:pt x="210" y="549"/>
                    <a:pt x="210" y="549"/>
                    <a:pt x="221" y="549"/>
                  </a:cubicBezTo>
                  <a:lnTo>
                    <a:pt x="244" y="549"/>
                  </a:lnTo>
                  <a:cubicBezTo>
                    <a:pt x="244" y="549"/>
                    <a:pt x="244" y="560"/>
                    <a:pt x="255" y="560"/>
                  </a:cubicBezTo>
                  <a:cubicBezTo>
                    <a:pt x="269" y="596"/>
                    <a:pt x="291" y="630"/>
                    <a:pt x="303" y="666"/>
                  </a:cubicBezTo>
                  <a:cubicBezTo>
                    <a:pt x="303" y="677"/>
                    <a:pt x="314" y="688"/>
                    <a:pt x="325" y="711"/>
                  </a:cubicBezTo>
                  <a:cubicBezTo>
                    <a:pt x="339" y="722"/>
                    <a:pt x="361" y="736"/>
                    <a:pt x="372" y="747"/>
                  </a:cubicBezTo>
                  <a:cubicBezTo>
                    <a:pt x="384" y="758"/>
                    <a:pt x="409" y="758"/>
                    <a:pt x="420" y="758"/>
                  </a:cubicBezTo>
                  <a:lnTo>
                    <a:pt x="454" y="758"/>
                  </a:lnTo>
                  <a:cubicBezTo>
                    <a:pt x="465" y="747"/>
                    <a:pt x="479" y="736"/>
                    <a:pt x="479" y="722"/>
                  </a:cubicBezTo>
                  <a:cubicBezTo>
                    <a:pt x="490" y="711"/>
                    <a:pt x="490" y="700"/>
                    <a:pt x="490" y="688"/>
                  </a:cubicBezTo>
                  <a:cubicBezTo>
                    <a:pt x="501" y="677"/>
                    <a:pt x="501" y="666"/>
                    <a:pt x="501" y="652"/>
                  </a:cubicBezTo>
                  <a:lnTo>
                    <a:pt x="501" y="641"/>
                  </a:lnTo>
                  <a:cubicBezTo>
                    <a:pt x="501" y="641"/>
                    <a:pt x="501" y="630"/>
                    <a:pt x="490" y="619"/>
                  </a:cubicBezTo>
                  <a:cubicBezTo>
                    <a:pt x="490" y="607"/>
                    <a:pt x="479" y="607"/>
                    <a:pt x="465" y="596"/>
                  </a:cubicBezTo>
                  <a:lnTo>
                    <a:pt x="454" y="596"/>
                  </a:lnTo>
                  <a:cubicBezTo>
                    <a:pt x="454" y="582"/>
                    <a:pt x="465" y="582"/>
                    <a:pt x="479" y="582"/>
                  </a:cubicBezTo>
                  <a:cubicBezTo>
                    <a:pt x="490" y="582"/>
                    <a:pt x="490" y="571"/>
                    <a:pt x="501" y="571"/>
                  </a:cubicBezTo>
                  <a:cubicBezTo>
                    <a:pt x="512" y="571"/>
                    <a:pt x="512" y="560"/>
                    <a:pt x="523" y="549"/>
                  </a:cubicBezTo>
                  <a:lnTo>
                    <a:pt x="523" y="526"/>
                  </a:lnTo>
                  <a:lnTo>
                    <a:pt x="535" y="526"/>
                  </a:lnTo>
                  <a:cubicBezTo>
                    <a:pt x="535" y="512"/>
                    <a:pt x="549" y="512"/>
                    <a:pt x="560" y="512"/>
                  </a:cubicBezTo>
                  <a:lnTo>
                    <a:pt x="571" y="526"/>
                  </a:lnTo>
                  <a:cubicBezTo>
                    <a:pt x="582" y="526"/>
                    <a:pt x="605" y="549"/>
                    <a:pt x="630" y="560"/>
                  </a:cubicBezTo>
                  <a:cubicBezTo>
                    <a:pt x="630" y="571"/>
                    <a:pt x="641" y="582"/>
                    <a:pt x="663" y="596"/>
                  </a:cubicBezTo>
                  <a:cubicBezTo>
                    <a:pt x="674" y="607"/>
                    <a:pt x="688" y="607"/>
                    <a:pt x="711" y="607"/>
                  </a:cubicBezTo>
                  <a:lnTo>
                    <a:pt x="733" y="607"/>
                  </a:lnTo>
                  <a:lnTo>
                    <a:pt x="744" y="582"/>
                  </a:lnTo>
                  <a:lnTo>
                    <a:pt x="744" y="571"/>
                  </a:lnTo>
                  <a:cubicBezTo>
                    <a:pt x="744" y="549"/>
                    <a:pt x="733" y="537"/>
                    <a:pt x="733" y="537"/>
                  </a:cubicBezTo>
                  <a:cubicBezTo>
                    <a:pt x="722" y="526"/>
                    <a:pt x="711" y="512"/>
                    <a:pt x="711" y="501"/>
                  </a:cubicBezTo>
                  <a:cubicBezTo>
                    <a:pt x="674" y="479"/>
                    <a:pt x="641" y="442"/>
                    <a:pt x="605" y="409"/>
                  </a:cubicBezTo>
                  <a:cubicBezTo>
                    <a:pt x="593" y="386"/>
                    <a:pt x="582" y="373"/>
                    <a:pt x="571" y="361"/>
                  </a:cubicBezTo>
                  <a:lnTo>
                    <a:pt x="571" y="339"/>
                  </a:lnTo>
                  <a:cubicBezTo>
                    <a:pt x="571" y="328"/>
                    <a:pt x="560" y="317"/>
                    <a:pt x="560" y="291"/>
                  </a:cubicBezTo>
                  <a:cubicBezTo>
                    <a:pt x="549" y="280"/>
                    <a:pt x="523" y="258"/>
                    <a:pt x="512" y="247"/>
                  </a:cubicBezTo>
                  <a:cubicBezTo>
                    <a:pt x="490" y="233"/>
                    <a:pt x="465" y="233"/>
                    <a:pt x="442" y="233"/>
                  </a:cubicBezTo>
                  <a:cubicBezTo>
                    <a:pt x="409" y="222"/>
                    <a:pt x="372" y="222"/>
                    <a:pt x="339" y="222"/>
                  </a:cubicBezTo>
                  <a:cubicBezTo>
                    <a:pt x="291" y="199"/>
                    <a:pt x="255" y="152"/>
                    <a:pt x="255" y="107"/>
                  </a:cubicBezTo>
                  <a:cubicBezTo>
                    <a:pt x="255" y="93"/>
                    <a:pt x="255" y="71"/>
                    <a:pt x="244" y="59"/>
                  </a:cubicBezTo>
                  <a:cubicBezTo>
                    <a:pt x="244" y="48"/>
                    <a:pt x="244" y="37"/>
                    <a:pt x="233" y="23"/>
                  </a:cubicBezTo>
                  <a:cubicBezTo>
                    <a:pt x="233" y="12"/>
                    <a:pt x="221" y="1"/>
                    <a:pt x="19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115;p17">
              <a:extLst>
                <a:ext uri="{FF2B5EF4-FFF2-40B4-BE49-F238E27FC236}">
                  <a16:creationId xmlns:a16="http://schemas.microsoft.com/office/drawing/2014/main" xmlns="" id="{00BB50CD-6F77-7B54-DB6A-6D1E8A8D2845}"/>
                </a:ext>
              </a:extLst>
            </p:cNvPr>
            <p:cNvSpPr/>
            <p:nvPr/>
          </p:nvSpPr>
          <p:spPr>
            <a:xfrm>
              <a:off x="2287211" y="3586993"/>
              <a:ext cx="107436" cy="148708"/>
            </a:xfrm>
            <a:custGeom>
              <a:avLst/>
              <a:gdLst/>
              <a:ahLst/>
              <a:cxnLst/>
              <a:rect l="l" t="t" r="r" b="b"/>
              <a:pathLst>
                <a:path w="466" h="645" extrusionOk="0">
                  <a:moveTo>
                    <a:pt x="152" y="1"/>
                  </a:moveTo>
                  <a:cubicBezTo>
                    <a:pt x="130" y="1"/>
                    <a:pt x="104" y="12"/>
                    <a:pt x="93" y="26"/>
                  </a:cubicBezTo>
                  <a:cubicBezTo>
                    <a:pt x="82" y="37"/>
                    <a:pt x="71" y="48"/>
                    <a:pt x="60" y="60"/>
                  </a:cubicBezTo>
                  <a:cubicBezTo>
                    <a:pt x="46" y="82"/>
                    <a:pt x="34" y="107"/>
                    <a:pt x="23" y="129"/>
                  </a:cubicBezTo>
                  <a:cubicBezTo>
                    <a:pt x="23" y="152"/>
                    <a:pt x="23" y="177"/>
                    <a:pt x="34" y="199"/>
                  </a:cubicBezTo>
                  <a:cubicBezTo>
                    <a:pt x="46" y="211"/>
                    <a:pt x="60" y="222"/>
                    <a:pt x="60" y="236"/>
                  </a:cubicBezTo>
                  <a:cubicBezTo>
                    <a:pt x="60" y="247"/>
                    <a:pt x="46" y="258"/>
                    <a:pt x="34" y="280"/>
                  </a:cubicBezTo>
                  <a:cubicBezTo>
                    <a:pt x="23" y="317"/>
                    <a:pt x="60" y="350"/>
                    <a:pt x="46" y="375"/>
                  </a:cubicBezTo>
                  <a:cubicBezTo>
                    <a:pt x="46" y="398"/>
                    <a:pt x="23" y="420"/>
                    <a:pt x="12" y="445"/>
                  </a:cubicBezTo>
                  <a:cubicBezTo>
                    <a:pt x="1" y="468"/>
                    <a:pt x="12" y="501"/>
                    <a:pt x="23" y="526"/>
                  </a:cubicBezTo>
                  <a:cubicBezTo>
                    <a:pt x="34" y="538"/>
                    <a:pt x="46" y="549"/>
                    <a:pt x="60" y="560"/>
                  </a:cubicBezTo>
                  <a:cubicBezTo>
                    <a:pt x="93" y="571"/>
                    <a:pt x="130" y="571"/>
                    <a:pt x="152" y="585"/>
                  </a:cubicBezTo>
                  <a:cubicBezTo>
                    <a:pt x="174" y="585"/>
                    <a:pt x="199" y="619"/>
                    <a:pt x="222" y="630"/>
                  </a:cubicBezTo>
                  <a:cubicBezTo>
                    <a:pt x="236" y="640"/>
                    <a:pt x="252" y="644"/>
                    <a:pt x="270" y="644"/>
                  </a:cubicBezTo>
                  <a:cubicBezTo>
                    <a:pt x="295" y="644"/>
                    <a:pt x="323" y="637"/>
                    <a:pt x="350" y="630"/>
                  </a:cubicBezTo>
                  <a:cubicBezTo>
                    <a:pt x="350" y="596"/>
                    <a:pt x="339" y="560"/>
                    <a:pt x="325" y="526"/>
                  </a:cubicBezTo>
                  <a:cubicBezTo>
                    <a:pt x="314" y="501"/>
                    <a:pt x="303" y="479"/>
                    <a:pt x="314" y="445"/>
                  </a:cubicBezTo>
                  <a:cubicBezTo>
                    <a:pt x="325" y="431"/>
                    <a:pt x="362" y="420"/>
                    <a:pt x="384" y="420"/>
                  </a:cubicBezTo>
                  <a:cubicBezTo>
                    <a:pt x="409" y="420"/>
                    <a:pt x="432" y="420"/>
                    <a:pt x="454" y="398"/>
                  </a:cubicBezTo>
                  <a:cubicBezTo>
                    <a:pt x="465" y="375"/>
                    <a:pt x="465" y="339"/>
                    <a:pt x="443" y="317"/>
                  </a:cubicBezTo>
                  <a:cubicBezTo>
                    <a:pt x="420" y="306"/>
                    <a:pt x="395" y="292"/>
                    <a:pt x="373" y="280"/>
                  </a:cubicBezTo>
                  <a:cubicBezTo>
                    <a:pt x="339" y="258"/>
                    <a:pt x="292" y="247"/>
                    <a:pt x="255" y="222"/>
                  </a:cubicBezTo>
                  <a:cubicBezTo>
                    <a:pt x="244" y="211"/>
                    <a:pt x="222" y="199"/>
                    <a:pt x="222" y="177"/>
                  </a:cubicBezTo>
                  <a:cubicBezTo>
                    <a:pt x="211" y="152"/>
                    <a:pt x="222" y="141"/>
                    <a:pt x="211" y="129"/>
                  </a:cubicBezTo>
                  <a:cubicBezTo>
                    <a:pt x="199" y="107"/>
                    <a:pt x="174" y="107"/>
                    <a:pt x="163" y="82"/>
                  </a:cubicBezTo>
                  <a:cubicBezTo>
                    <a:pt x="141" y="60"/>
                    <a:pt x="163" y="26"/>
                    <a:pt x="152" y="1"/>
                  </a:cubicBezTo>
                  <a:close/>
                </a:path>
              </a:pathLst>
            </a:custGeom>
            <a:solidFill>
              <a:srgbClr val="78D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116;p17">
              <a:extLst>
                <a:ext uri="{FF2B5EF4-FFF2-40B4-BE49-F238E27FC236}">
                  <a16:creationId xmlns:a16="http://schemas.microsoft.com/office/drawing/2014/main" xmlns="" id="{3C4E6B23-CE66-C2EA-B715-5F9190B0CA96}"/>
                </a:ext>
              </a:extLst>
            </p:cNvPr>
            <p:cNvSpPr/>
            <p:nvPr/>
          </p:nvSpPr>
          <p:spPr>
            <a:xfrm>
              <a:off x="2284675" y="3581921"/>
              <a:ext cx="115736" cy="158852"/>
            </a:xfrm>
            <a:custGeom>
              <a:avLst/>
              <a:gdLst/>
              <a:ahLst/>
              <a:cxnLst/>
              <a:rect l="l" t="t" r="r" b="b"/>
              <a:pathLst>
                <a:path w="502" h="689" extrusionOk="0">
                  <a:moveTo>
                    <a:pt x="141" y="51"/>
                  </a:moveTo>
                  <a:lnTo>
                    <a:pt x="141" y="82"/>
                  </a:lnTo>
                  <a:cubicBezTo>
                    <a:pt x="141" y="93"/>
                    <a:pt x="141" y="104"/>
                    <a:pt x="152" y="118"/>
                  </a:cubicBezTo>
                  <a:cubicBezTo>
                    <a:pt x="163" y="140"/>
                    <a:pt x="174" y="140"/>
                    <a:pt x="185" y="151"/>
                  </a:cubicBezTo>
                  <a:lnTo>
                    <a:pt x="196" y="151"/>
                  </a:lnTo>
                  <a:lnTo>
                    <a:pt x="196" y="163"/>
                  </a:lnTo>
                  <a:lnTo>
                    <a:pt x="196" y="188"/>
                  </a:lnTo>
                  <a:lnTo>
                    <a:pt x="210" y="199"/>
                  </a:lnTo>
                  <a:cubicBezTo>
                    <a:pt x="210" y="210"/>
                    <a:pt x="222" y="233"/>
                    <a:pt x="233" y="233"/>
                  </a:cubicBezTo>
                  <a:cubicBezTo>
                    <a:pt x="233" y="244"/>
                    <a:pt x="244" y="258"/>
                    <a:pt x="255" y="269"/>
                  </a:cubicBezTo>
                  <a:cubicBezTo>
                    <a:pt x="292" y="280"/>
                    <a:pt x="336" y="302"/>
                    <a:pt x="373" y="328"/>
                  </a:cubicBezTo>
                  <a:cubicBezTo>
                    <a:pt x="395" y="339"/>
                    <a:pt x="420" y="350"/>
                    <a:pt x="431" y="361"/>
                  </a:cubicBezTo>
                  <a:cubicBezTo>
                    <a:pt x="443" y="372"/>
                    <a:pt x="454" y="384"/>
                    <a:pt x="454" y="397"/>
                  </a:cubicBezTo>
                  <a:cubicBezTo>
                    <a:pt x="454" y="397"/>
                    <a:pt x="443" y="397"/>
                    <a:pt x="443" y="409"/>
                  </a:cubicBezTo>
                  <a:cubicBezTo>
                    <a:pt x="443" y="409"/>
                    <a:pt x="431" y="409"/>
                    <a:pt x="431" y="420"/>
                  </a:cubicBezTo>
                  <a:lnTo>
                    <a:pt x="395" y="420"/>
                  </a:lnTo>
                  <a:cubicBezTo>
                    <a:pt x="384" y="420"/>
                    <a:pt x="361" y="420"/>
                    <a:pt x="350" y="431"/>
                  </a:cubicBezTo>
                  <a:cubicBezTo>
                    <a:pt x="336" y="431"/>
                    <a:pt x="314" y="442"/>
                    <a:pt x="303" y="453"/>
                  </a:cubicBezTo>
                  <a:lnTo>
                    <a:pt x="303" y="501"/>
                  </a:lnTo>
                  <a:cubicBezTo>
                    <a:pt x="303" y="523"/>
                    <a:pt x="303" y="548"/>
                    <a:pt x="314" y="560"/>
                  </a:cubicBezTo>
                  <a:cubicBezTo>
                    <a:pt x="323" y="586"/>
                    <a:pt x="331" y="614"/>
                    <a:pt x="335" y="641"/>
                  </a:cubicBezTo>
                  <a:lnTo>
                    <a:pt x="292" y="641"/>
                  </a:lnTo>
                  <a:cubicBezTo>
                    <a:pt x="266" y="641"/>
                    <a:pt x="255" y="641"/>
                    <a:pt x="244" y="630"/>
                  </a:cubicBezTo>
                  <a:cubicBezTo>
                    <a:pt x="233" y="630"/>
                    <a:pt x="222" y="618"/>
                    <a:pt x="210" y="607"/>
                  </a:cubicBezTo>
                  <a:cubicBezTo>
                    <a:pt x="196" y="593"/>
                    <a:pt x="185" y="582"/>
                    <a:pt x="174" y="582"/>
                  </a:cubicBezTo>
                  <a:cubicBezTo>
                    <a:pt x="152" y="571"/>
                    <a:pt x="141" y="571"/>
                    <a:pt x="115" y="571"/>
                  </a:cubicBezTo>
                  <a:cubicBezTo>
                    <a:pt x="104" y="571"/>
                    <a:pt x="93" y="571"/>
                    <a:pt x="82" y="560"/>
                  </a:cubicBezTo>
                  <a:cubicBezTo>
                    <a:pt x="82" y="560"/>
                    <a:pt x="71" y="548"/>
                    <a:pt x="57" y="537"/>
                  </a:cubicBezTo>
                  <a:cubicBezTo>
                    <a:pt x="45" y="512"/>
                    <a:pt x="45" y="501"/>
                    <a:pt x="45" y="490"/>
                  </a:cubicBezTo>
                  <a:lnTo>
                    <a:pt x="45" y="479"/>
                  </a:lnTo>
                  <a:cubicBezTo>
                    <a:pt x="45" y="467"/>
                    <a:pt x="57" y="453"/>
                    <a:pt x="57" y="442"/>
                  </a:cubicBezTo>
                  <a:cubicBezTo>
                    <a:pt x="71" y="442"/>
                    <a:pt x="82" y="420"/>
                    <a:pt x="82" y="409"/>
                  </a:cubicBezTo>
                  <a:lnTo>
                    <a:pt x="82" y="397"/>
                  </a:lnTo>
                  <a:cubicBezTo>
                    <a:pt x="82" y="372"/>
                    <a:pt x="82" y="361"/>
                    <a:pt x="71" y="350"/>
                  </a:cubicBezTo>
                  <a:lnTo>
                    <a:pt x="71" y="314"/>
                  </a:lnTo>
                  <a:lnTo>
                    <a:pt x="71" y="302"/>
                  </a:lnTo>
                  <a:lnTo>
                    <a:pt x="82" y="291"/>
                  </a:lnTo>
                  <a:cubicBezTo>
                    <a:pt x="82" y="280"/>
                    <a:pt x="93" y="269"/>
                    <a:pt x="93" y="258"/>
                  </a:cubicBezTo>
                  <a:cubicBezTo>
                    <a:pt x="93" y="244"/>
                    <a:pt x="82" y="233"/>
                    <a:pt x="82" y="221"/>
                  </a:cubicBezTo>
                  <a:cubicBezTo>
                    <a:pt x="71" y="221"/>
                    <a:pt x="71" y="210"/>
                    <a:pt x="71" y="210"/>
                  </a:cubicBezTo>
                  <a:cubicBezTo>
                    <a:pt x="57" y="199"/>
                    <a:pt x="57" y="188"/>
                    <a:pt x="57" y="174"/>
                  </a:cubicBezTo>
                  <a:lnTo>
                    <a:pt x="57" y="163"/>
                  </a:lnTo>
                  <a:cubicBezTo>
                    <a:pt x="57" y="140"/>
                    <a:pt x="71" y="118"/>
                    <a:pt x="82" y="104"/>
                  </a:cubicBezTo>
                  <a:cubicBezTo>
                    <a:pt x="93" y="82"/>
                    <a:pt x="104" y="70"/>
                    <a:pt x="115" y="59"/>
                  </a:cubicBezTo>
                  <a:cubicBezTo>
                    <a:pt x="123" y="59"/>
                    <a:pt x="132" y="54"/>
                    <a:pt x="141" y="51"/>
                  </a:cubicBezTo>
                  <a:close/>
                  <a:moveTo>
                    <a:pt x="152" y="0"/>
                  </a:moveTo>
                  <a:cubicBezTo>
                    <a:pt x="127" y="0"/>
                    <a:pt x="104" y="12"/>
                    <a:pt x="93" y="23"/>
                  </a:cubicBezTo>
                  <a:cubicBezTo>
                    <a:pt x="71" y="34"/>
                    <a:pt x="57" y="59"/>
                    <a:pt x="45" y="70"/>
                  </a:cubicBezTo>
                  <a:cubicBezTo>
                    <a:pt x="34" y="93"/>
                    <a:pt x="23" y="118"/>
                    <a:pt x="12" y="151"/>
                  </a:cubicBezTo>
                  <a:lnTo>
                    <a:pt x="12" y="174"/>
                  </a:lnTo>
                  <a:cubicBezTo>
                    <a:pt x="12" y="199"/>
                    <a:pt x="12" y="221"/>
                    <a:pt x="23" y="233"/>
                  </a:cubicBezTo>
                  <a:cubicBezTo>
                    <a:pt x="34" y="244"/>
                    <a:pt x="34" y="244"/>
                    <a:pt x="34" y="258"/>
                  </a:cubicBezTo>
                  <a:lnTo>
                    <a:pt x="45" y="258"/>
                  </a:lnTo>
                  <a:lnTo>
                    <a:pt x="34" y="269"/>
                  </a:lnTo>
                  <a:cubicBezTo>
                    <a:pt x="34" y="269"/>
                    <a:pt x="34" y="280"/>
                    <a:pt x="23" y="291"/>
                  </a:cubicBezTo>
                  <a:lnTo>
                    <a:pt x="23" y="314"/>
                  </a:lnTo>
                  <a:cubicBezTo>
                    <a:pt x="23" y="339"/>
                    <a:pt x="23" y="350"/>
                    <a:pt x="34" y="361"/>
                  </a:cubicBezTo>
                  <a:lnTo>
                    <a:pt x="34" y="397"/>
                  </a:lnTo>
                  <a:cubicBezTo>
                    <a:pt x="34" y="409"/>
                    <a:pt x="34" y="409"/>
                    <a:pt x="23" y="420"/>
                  </a:cubicBezTo>
                  <a:cubicBezTo>
                    <a:pt x="23" y="431"/>
                    <a:pt x="12" y="442"/>
                    <a:pt x="1" y="453"/>
                  </a:cubicBezTo>
                  <a:lnTo>
                    <a:pt x="1" y="490"/>
                  </a:lnTo>
                  <a:cubicBezTo>
                    <a:pt x="1" y="512"/>
                    <a:pt x="12" y="537"/>
                    <a:pt x="23" y="560"/>
                  </a:cubicBezTo>
                  <a:cubicBezTo>
                    <a:pt x="23" y="571"/>
                    <a:pt x="45" y="593"/>
                    <a:pt x="71" y="607"/>
                  </a:cubicBezTo>
                  <a:cubicBezTo>
                    <a:pt x="82" y="618"/>
                    <a:pt x="104" y="618"/>
                    <a:pt x="115" y="618"/>
                  </a:cubicBezTo>
                  <a:lnTo>
                    <a:pt x="152" y="618"/>
                  </a:lnTo>
                  <a:cubicBezTo>
                    <a:pt x="163" y="630"/>
                    <a:pt x="174" y="630"/>
                    <a:pt x="185" y="641"/>
                  </a:cubicBezTo>
                  <a:cubicBezTo>
                    <a:pt x="185" y="652"/>
                    <a:pt x="196" y="663"/>
                    <a:pt x="210" y="677"/>
                  </a:cubicBezTo>
                  <a:cubicBezTo>
                    <a:pt x="233" y="688"/>
                    <a:pt x="266" y="688"/>
                    <a:pt x="292" y="688"/>
                  </a:cubicBezTo>
                  <a:cubicBezTo>
                    <a:pt x="314" y="688"/>
                    <a:pt x="336" y="688"/>
                    <a:pt x="361" y="677"/>
                  </a:cubicBezTo>
                  <a:lnTo>
                    <a:pt x="384" y="677"/>
                  </a:lnTo>
                  <a:lnTo>
                    <a:pt x="384" y="652"/>
                  </a:lnTo>
                  <a:cubicBezTo>
                    <a:pt x="384" y="618"/>
                    <a:pt x="373" y="582"/>
                    <a:pt x="361" y="548"/>
                  </a:cubicBezTo>
                  <a:cubicBezTo>
                    <a:pt x="350" y="523"/>
                    <a:pt x="336" y="512"/>
                    <a:pt x="350" y="501"/>
                  </a:cubicBezTo>
                  <a:lnTo>
                    <a:pt x="350" y="490"/>
                  </a:lnTo>
                  <a:cubicBezTo>
                    <a:pt x="350" y="479"/>
                    <a:pt x="350" y="479"/>
                    <a:pt x="361" y="479"/>
                  </a:cubicBezTo>
                  <a:cubicBezTo>
                    <a:pt x="373" y="467"/>
                    <a:pt x="384" y="467"/>
                    <a:pt x="395" y="467"/>
                  </a:cubicBezTo>
                  <a:lnTo>
                    <a:pt x="443" y="467"/>
                  </a:lnTo>
                  <a:cubicBezTo>
                    <a:pt x="454" y="453"/>
                    <a:pt x="465" y="453"/>
                    <a:pt x="476" y="431"/>
                  </a:cubicBezTo>
                  <a:cubicBezTo>
                    <a:pt x="490" y="420"/>
                    <a:pt x="501" y="409"/>
                    <a:pt x="501" y="397"/>
                  </a:cubicBezTo>
                  <a:cubicBezTo>
                    <a:pt x="501" y="361"/>
                    <a:pt x="490" y="350"/>
                    <a:pt x="465" y="328"/>
                  </a:cubicBezTo>
                  <a:cubicBezTo>
                    <a:pt x="443" y="302"/>
                    <a:pt x="420" y="291"/>
                    <a:pt x="395" y="280"/>
                  </a:cubicBezTo>
                  <a:cubicBezTo>
                    <a:pt x="350" y="269"/>
                    <a:pt x="314" y="244"/>
                    <a:pt x="280" y="221"/>
                  </a:cubicBezTo>
                  <a:cubicBezTo>
                    <a:pt x="280" y="221"/>
                    <a:pt x="266" y="210"/>
                    <a:pt x="255" y="210"/>
                  </a:cubicBezTo>
                  <a:lnTo>
                    <a:pt x="255" y="188"/>
                  </a:lnTo>
                  <a:lnTo>
                    <a:pt x="244" y="188"/>
                  </a:lnTo>
                  <a:lnTo>
                    <a:pt x="244" y="163"/>
                  </a:lnTo>
                  <a:lnTo>
                    <a:pt x="244" y="140"/>
                  </a:lnTo>
                  <a:cubicBezTo>
                    <a:pt x="244" y="129"/>
                    <a:pt x="233" y="129"/>
                    <a:pt x="233" y="118"/>
                  </a:cubicBezTo>
                  <a:cubicBezTo>
                    <a:pt x="222" y="104"/>
                    <a:pt x="210" y="104"/>
                    <a:pt x="196" y="104"/>
                  </a:cubicBezTo>
                  <a:cubicBezTo>
                    <a:pt x="196" y="93"/>
                    <a:pt x="185" y="93"/>
                    <a:pt x="185" y="93"/>
                  </a:cubicBezTo>
                  <a:lnTo>
                    <a:pt x="185" y="82"/>
                  </a:lnTo>
                  <a:lnTo>
                    <a:pt x="185" y="48"/>
                  </a:lnTo>
                  <a:lnTo>
                    <a:pt x="185" y="12"/>
                  </a:lnTo>
                  <a:lnTo>
                    <a:pt x="174" y="12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117;p17">
              <a:extLst>
                <a:ext uri="{FF2B5EF4-FFF2-40B4-BE49-F238E27FC236}">
                  <a16:creationId xmlns:a16="http://schemas.microsoft.com/office/drawing/2014/main" xmlns="" id="{E7BC07FF-35FF-52A8-6171-C3DBFDBA0591}"/>
                </a:ext>
              </a:extLst>
            </p:cNvPr>
            <p:cNvSpPr/>
            <p:nvPr/>
          </p:nvSpPr>
          <p:spPr>
            <a:xfrm>
              <a:off x="2434995" y="3826769"/>
              <a:ext cx="45879" cy="59022"/>
            </a:xfrm>
            <a:custGeom>
              <a:avLst/>
              <a:gdLst/>
              <a:ahLst/>
              <a:cxnLst/>
              <a:rect l="l" t="t" r="r" b="b"/>
              <a:pathLst>
                <a:path w="199" h="256" extrusionOk="0">
                  <a:moveTo>
                    <a:pt x="23" y="1"/>
                  </a:moveTo>
                  <a:cubicBezTo>
                    <a:pt x="14" y="1"/>
                    <a:pt x="6" y="4"/>
                    <a:pt x="0" y="9"/>
                  </a:cubicBezTo>
                  <a:lnTo>
                    <a:pt x="0" y="35"/>
                  </a:lnTo>
                  <a:cubicBezTo>
                    <a:pt x="11" y="104"/>
                    <a:pt x="48" y="160"/>
                    <a:pt x="93" y="219"/>
                  </a:cubicBezTo>
                  <a:cubicBezTo>
                    <a:pt x="104" y="230"/>
                    <a:pt x="118" y="244"/>
                    <a:pt x="129" y="255"/>
                  </a:cubicBezTo>
                  <a:lnTo>
                    <a:pt x="174" y="255"/>
                  </a:lnTo>
                  <a:cubicBezTo>
                    <a:pt x="174" y="255"/>
                    <a:pt x="188" y="255"/>
                    <a:pt x="199" y="244"/>
                  </a:cubicBezTo>
                  <a:lnTo>
                    <a:pt x="199" y="219"/>
                  </a:lnTo>
                  <a:cubicBezTo>
                    <a:pt x="199" y="186"/>
                    <a:pt x="188" y="138"/>
                    <a:pt x="151" y="127"/>
                  </a:cubicBezTo>
                  <a:cubicBezTo>
                    <a:pt x="140" y="116"/>
                    <a:pt x="118" y="104"/>
                    <a:pt x="104" y="90"/>
                  </a:cubicBezTo>
                  <a:cubicBezTo>
                    <a:pt x="93" y="79"/>
                    <a:pt x="81" y="57"/>
                    <a:pt x="81" y="46"/>
                  </a:cubicBezTo>
                  <a:cubicBezTo>
                    <a:pt x="70" y="35"/>
                    <a:pt x="70" y="9"/>
                    <a:pt x="48" y="9"/>
                  </a:cubicBezTo>
                  <a:cubicBezTo>
                    <a:pt x="41" y="4"/>
                    <a:pt x="32" y="1"/>
                    <a:pt x="23" y="1"/>
                  </a:cubicBezTo>
                  <a:close/>
                </a:path>
              </a:pathLst>
            </a:custGeom>
            <a:solidFill>
              <a:srgbClr val="78D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118;p17">
              <a:extLst>
                <a:ext uri="{FF2B5EF4-FFF2-40B4-BE49-F238E27FC236}">
                  <a16:creationId xmlns:a16="http://schemas.microsoft.com/office/drawing/2014/main" xmlns="" id="{119838DB-D7BB-C38C-86F0-EFE456B5B00C}"/>
                </a:ext>
              </a:extLst>
            </p:cNvPr>
            <p:cNvSpPr/>
            <p:nvPr/>
          </p:nvSpPr>
          <p:spPr>
            <a:xfrm>
              <a:off x="2429692" y="3821005"/>
              <a:ext cx="56485" cy="69858"/>
            </a:xfrm>
            <a:custGeom>
              <a:avLst/>
              <a:gdLst/>
              <a:ahLst/>
              <a:cxnLst/>
              <a:rect l="l" t="t" r="r" b="b"/>
              <a:pathLst>
                <a:path w="245" h="303" extrusionOk="0">
                  <a:moveTo>
                    <a:pt x="57" y="46"/>
                  </a:moveTo>
                  <a:cubicBezTo>
                    <a:pt x="71" y="60"/>
                    <a:pt x="71" y="71"/>
                    <a:pt x="82" y="82"/>
                  </a:cubicBezTo>
                  <a:cubicBezTo>
                    <a:pt x="93" y="93"/>
                    <a:pt x="93" y="115"/>
                    <a:pt x="116" y="129"/>
                  </a:cubicBezTo>
                  <a:cubicBezTo>
                    <a:pt x="127" y="152"/>
                    <a:pt x="152" y="152"/>
                    <a:pt x="163" y="163"/>
                  </a:cubicBezTo>
                  <a:cubicBezTo>
                    <a:pt x="185" y="185"/>
                    <a:pt x="197" y="211"/>
                    <a:pt x="197" y="244"/>
                  </a:cubicBezTo>
                  <a:lnTo>
                    <a:pt x="197" y="255"/>
                  </a:lnTo>
                  <a:lnTo>
                    <a:pt x="163" y="255"/>
                  </a:lnTo>
                  <a:cubicBezTo>
                    <a:pt x="152" y="244"/>
                    <a:pt x="152" y="244"/>
                    <a:pt x="141" y="233"/>
                  </a:cubicBezTo>
                  <a:cubicBezTo>
                    <a:pt x="93" y="174"/>
                    <a:pt x="57" y="115"/>
                    <a:pt x="46" y="60"/>
                  </a:cubicBezTo>
                  <a:lnTo>
                    <a:pt x="46" y="46"/>
                  </a:lnTo>
                  <a:close/>
                  <a:moveTo>
                    <a:pt x="46" y="1"/>
                  </a:moveTo>
                  <a:cubicBezTo>
                    <a:pt x="34" y="1"/>
                    <a:pt x="23" y="1"/>
                    <a:pt x="12" y="23"/>
                  </a:cubicBezTo>
                  <a:cubicBezTo>
                    <a:pt x="1" y="34"/>
                    <a:pt x="1" y="46"/>
                    <a:pt x="1" y="60"/>
                  </a:cubicBezTo>
                  <a:lnTo>
                    <a:pt x="1" y="71"/>
                  </a:lnTo>
                  <a:cubicBezTo>
                    <a:pt x="12" y="141"/>
                    <a:pt x="57" y="211"/>
                    <a:pt x="104" y="255"/>
                  </a:cubicBezTo>
                  <a:cubicBezTo>
                    <a:pt x="116" y="269"/>
                    <a:pt x="127" y="280"/>
                    <a:pt x="141" y="292"/>
                  </a:cubicBezTo>
                  <a:cubicBezTo>
                    <a:pt x="152" y="303"/>
                    <a:pt x="163" y="303"/>
                    <a:pt x="185" y="303"/>
                  </a:cubicBezTo>
                  <a:lnTo>
                    <a:pt x="197" y="303"/>
                  </a:lnTo>
                  <a:cubicBezTo>
                    <a:pt x="211" y="303"/>
                    <a:pt x="222" y="303"/>
                    <a:pt x="233" y="280"/>
                  </a:cubicBezTo>
                  <a:cubicBezTo>
                    <a:pt x="244" y="269"/>
                    <a:pt x="244" y="255"/>
                    <a:pt x="244" y="244"/>
                  </a:cubicBezTo>
                  <a:cubicBezTo>
                    <a:pt x="244" y="199"/>
                    <a:pt x="222" y="152"/>
                    <a:pt x="185" y="129"/>
                  </a:cubicBezTo>
                  <a:cubicBezTo>
                    <a:pt x="174" y="115"/>
                    <a:pt x="152" y="104"/>
                    <a:pt x="152" y="93"/>
                  </a:cubicBezTo>
                  <a:cubicBezTo>
                    <a:pt x="141" y="93"/>
                    <a:pt x="127" y="82"/>
                    <a:pt x="127" y="60"/>
                  </a:cubicBezTo>
                  <a:cubicBezTo>
                    <a:pt x="116" y="46"/>
                    <a:pt x="104" y="23"/>
                    <a:pt x="93" y="12"/>
                  </a:cubicBezTo>
                  <a:cubicBezTo>
                    <a:pt x="82" y="1"/>
                    <a:pt x="71" y="1"/>
                    <a:pt x="46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119;p17">
              <a:extLst>
                <a:ext uri="{FF2B5EF4-FFF2-40B4-BE49-F238E27FC236}">
                  <a16:creationId xmlns:a16="http://schemas.microsoft.com/office/drawing/2014/main" xmlns="" id="{B35FCA8A-D5F8-2567-28C7-0D0CC8AACF10}"/>
                </a:ext>
              </a:extLst>
            </p:cNvPr>
            <p:cNvSpPr/>
            <p:nvPr/>
          </p:nvSpPr>
          <p:spPr>
            <a:xfrm>
              <a:off x="2416320" y="3804405"/>
              <a:ext cx="17752" cy="16831"/>
            </a:xfrm>
            <a:custGeom>
              <a:avLst/>
              <a:gdLst/>
              <a:ahLst/>
              <a:cxnLst/>
              <a:rect l="l" t="t" r="r" b="b"/>
              <a:pathLst>
                <a:path w="77" h="73" extrusionOk="0">
                  <a:moveTo>
                    <a:pt x="54" y="0"/>
                  </a:moveTo>
                  <a:cubicBezTo>
                    <a:pt x="46" y="0"/>
                    <a:pt x="38" y="5"/>
                    <a:pt x="34" y="14"/>
                  </a:cubicBezTo>
                  <a:cubicBezTo>
                    <a:pt x="11" y="25"/>
                    <a:pt x="0" y="62"/>
                    <a:pt x="34" y="73"/>
                  </a:cubicBezTo>
                  <a:lnTo>
                    <a:pt x="70" y="73"/>
                  </a:lnTo>
                  <a:lnTo>
                    <a:pt x="70" y="48"/>
                  </a:lnTo>
                  <a:cubicBezTo>
                    <a:pt x="77" y="13"/>
                    <a:pt x="66" y="0"/>
                    <a:pt x="54" y="0"/>
                  </a:cubicBezTo>
                  <a:close/>
                </a:path>
              </a:pathLst>
            </a:custGeom>
            <a:solidFill>
              <a:srgbClr val="78D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120;p17">
              <a:extLst>
                <a:ext uri="{FF2B5EF4-FFF2-40B4-BE49-F238E27FC236}">
                  <a16:creationId xmlns:a16="http://schemas.microsoft.com/office/drawing/2014/main" xmlns="" id="{BE8270AE-46AC-B4D2-CD7B-0F3F0DDBD70D}"/>
                </a:ext>
              </a:extLst>
            </p:cNvPr>
            <p:cNvSpPr/>
            <p:nvPr/>
          </p:nvSpPr>
          <p:spPr>
            <a:xfrm>
              <a:off x="2413553" y="3799102"/>
              <a:ext cx="24208" cy="27436"/>
            </a:xfrm>
            <a:custGeom>
              <a:avLst/>
              <a:gdLst/>
              <a:ahLst/>
              <a:cxnLst/>
              <a:rect l="l" t="t" r="r" b="b"/>
              <a:pathLst>
                <a:path w="105" h="119" extrusionOk="0">
                  <a:moveTo>
                    <a:pt x="57" y="48"/>
                  </a:moveTo>
                  <a:lnTo>
                    <a:pt x="57" y="59"/>
                  </a:lnTo>
                  <a:lnTo>
                    <a:pt x="57" y="71"/>
                  </a:lnTo>
                  <a:lnTo>
                    <a:pt x="46" y="71"/>
                  </a:lnTo>
                  <a:cubicBezTo>
                    <a:pt x="46" y="59"/>
                    <a:pt x="46" y="59"/>
                    <a:pt x="57" y="48"/>
                  </a:cubicBezTo>
                  <a:close/>
                  <a:moveTo>
                    <a:pt x="71" y="1"/>
                  </a:moveTo>
                  <a:cubicBezTo>
                    <a:pt x="46" y="1"/>
                    <a:pt x="35" y="1"/>
                    <a:pt x="23" y="15"/>
                  </a:cubicBezTo>
                  <a:cubicBezTo>
                    <a:pt x="12" y="26"/>
                    <a:pt x="1" y="48"/>
                    <a:pt x="1" y="71"/>
                  </a:cubicBezTo>
                  <a:cubicBezTo>
                    <a:pt x="1" y="71"/>
                    <a:pt x="1" y="85"/>
                    <a:pt x="12" y="96"/>
                  </a:cubicBezTo>
                  <a:cubicBezTo>
                    <a:pt x="12" y="107"/>
                    <a:pt x="23" y="107"/>
                    <a:pt x="35" y="118"/>
                  </a:cubicBezTo>
                  <a:lnTo>
                    <a:pt x="82" y="118"/>
                  </a:lnTo>
                  <a:cubicBezTo>
                    <a:pt x="93" y="107"/>
                    <a:pt x="104" y="107"/>
                    <a:pt x="104" y="96"/>
                  </a:cubicBezTo>
                  <a:lnTo>
                    <a:pt x="104" y="85"/>
                  </a:lnTo>
                  <a:lnTo>
                    <a:pt x="104" y="59"/>
                  </a:lnTo>
                  <a:lnTo>
                    <a:pt x="104" y="15"/>
                  </a:lnTo>
                  <a:cubicBezTo>
                    <a:pt x="93" y="1"/>
                    <a:pt x="82" y="1"/>
                    <a:pt x="71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121;p17">
              <a:extLst>
                <a:ext uri="{FF2B5EF4-FFF2-40B4-BE49-F238E27FC236}">
                  <a16:creationId xmlns:a16="http://schemas.microsoft.com/office/drawing/2014/main" xmlns="" id="{F8CA5D28-4C2F-5050-B679-EE5126E67D9D}"/>
                </a:ext>
              </a:extLst>
            </p:cNvPr>
            <p:cNvSpPr/>
            <p:nvPr/>
          </p:nvSpPr>
          <p:spPr>
            <a:xfrm>
              <a:off x="2303350" y="2990781"/>
              <a:ext cx="16369" cy="11067"/>
            </a:xfrm>
            <a:custGeom>
              <a:avLst/>
              <a:gdLst/>
              <a:ahLst/>
              <a:cxnLst/>
              <a:rect l="l" t="t" r="r" b="b"/>
              <a:pathLst>
                <a:path w="71" h="48" extrusionOk="0">
                  <a:moveTo>
                    <a:pt x="12" y="0"/>
                  </a:moveTo>
                  <a:cubicBezTo>
                    <a:pt x="1" y="0"/>
                    <a:pt x="1" y="0"/>
                    <a:pt x="1" y="11"/>
                  </a:cubicBezTo>
                  <a:lnTo>
                    <a:pt x="1" y="25"/>
                  </a:lnTo>
                  <a:lnTo>
                    <a:pt x="12" y="37"/>
                  </a:lnTo>
                  <a:cubicBezTo>
                    <a:pt x="23" y="37"/>
                    <a:pt x="34" y="48"/>
                    <a:pt x="46" y="48"/>
                  </a:cubicBezTo>
                  <a:lnTo>
                    <a:pt x="60" y="48"/>
                  </a:lnTo>
                  <a:lnTo>
                    <a:pt x="60" y="37"/>
                  </a:lnTo>
                  <a:cubicBezTo>
                    <a:pt x="60" y="37"/>
                    <a:pt x="71" y="25"/>
                    <a:pt x="60" y="25"/>
                  </a:cubicBezTo>
                  <a:cubicBezTo>
                    <a:pt x="60" y="11"/>
                    <a:pt x="60" y="11"/>
                    <a:pt x="46" y="0"/>
                  </a:cubicBezTo>
                  <a:close/>
                </a:path>
              </a:pathLst>
            </a:custGeom>
            <a:solidFill>
              <a:srgbClr val="78D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4" name="Google Shape;122;p17">
              <a:extLst>
                <a:ext uri="{FF2B5EF4-FFF2-40B4-BE49-F238E27FC236}">
                  <a16:creationId xmlns:a16="http://schemas.microsoft.com/office/drawing/2014/main" xmlns="" id="{7456C84B-E0D0-2FCD-B632-201BF62551D0}"/>
                </a:ext>
              </a:extLst>
            </p:cNvPr>
            <p:cNvSpPr/>
            <p:nvPr/>
          </p:nvSpPr>
          <p:spPr>
            <a:xfrm>
              <a:off x="2297586" y="2985478"/>
              <a:ext cx="24669" cy="21672"/>
            </a:xfrm>
            <a:custGeom>
              <a:avLst/>
              <a:gdLst/>
              <a:ahLst/>
              <a:cxnLst/>
              <a:rect l="l" t="t" r="r" b="b"/>
              <a:pathLst>
                <a:path w="107" h="94" extrusionOk="0">
                  <a:moveTo>
                    <a:pt x="26" y="1"/>
                  </a:moveTo>
                  <a:cubicBezTo>
                    <a:pt x="15" y="1"/>
                    <a:pt x="1" y="12"/>
                    <a:pt x="1" y="23"/>
                  </a:cubicBezTo>
                  <a:lnTo>
                    <a:pt x="1" y="34"/>
                  </a:lnTo>
                  <a:cubicBezTo>
                    <a:pt x="1" y="48"/>
                    <a:pt x="1" y="48"/>
                    <a:pt x="15" y="60"/>
                  </a:cubicBezTo>
                  <a:lnTo>
                    <a:pt x="15" y="71"/>
                  </a:lnTo>
                  <a:cubicBezTo>
                    <a:pt x="37" y="82"/>
                    <a:pt x="48" y="93"/>
                    <a:pt x="59" y="93"/>
                  </a:cubicBezTo>
                  <a:lnTo>
                    <a:pt x="96" y="93"/>
                  </a:lnTo>
                  <a:cubicBezTo>
                    <a:pt x="96" y="93"/>
                    <a:pt x="96" y="82"/>
                    <a:pt x="107" y="82"/>
                  </a:cubicBezTo>
                  <a:lnTo>
                    <a:pt x="107" y="71"/>
                  </a:lnTo>
                  <a:lnTo>
                    <a:pt x="107" y="48"/>
                  </a:lnTo>
                  <a:cubicBezTo>
                    <a:pt x="107" y="34"/>
                    <a:pt x="107" y="23"/>
                    <a:pt x="96" y="23"/>
                  </a:cubicBezTo>
                  <a:cubicBezTo>
                    <a:pt x="96" y="12"/>
                    <a:pt x="85" y="12"/>
                    <a:pt x="85" y="12"/>
                  </a:cubicBezTo>
                  <a:cubicBezTo>
                    <a:pt x="85" y="12"/>
                    <a:pt x="71" y="1"/>
                    <a:pt x="5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5" name="Google Shape;123;p17">
              <a:extLst>
                <a:ext uri="{FF2B5EF4-FFF2-40B4-BE49-F238E27FC236}">
                  <a16:creationId xmlns:a16="http://schemas.microsoft.com/office/drawing/2014/main" xmlns="" id="{C5222714-A8C6-C273-767B-2C3CB61B63BD}"/>
                </a:ext>
              </a:extLst>
            </p:cNvPr>
            <p:cNvSpPr/>
            <p:nvPr/>
          </p:nvSpPr>
          <p:spPr>
            <a:xfrm>
              <a:off x="2324791" y="3020292"/>
              <a:ext cx="18905" cy="13833"/>
            </a:xfrm>
            <a:custGeom>
              <a:avLst/>
              <a:gdLst/>
              <a:ahLst/>
              <a:cxnLst/>
              <a:rect l="l" t="t" r="r" b="b"/>
              <a:pathLst>
                <a:path w="82" h="60" extrusionOk="0">
                  <a:moveTo>
                    <a:pt x="22" y="1"/>
                  </a:moveTo>
                  <a:cubicBezTo>
                    <a:pt x="11" y="12"/>
                    <a:pt x="0" y="23"/>
                    <a:pt x="11" y="37"/>
                  </a:cubicBezTo>
                  <a:lnTo>
                    <a:pt x="11" y="48"/>
                  </a:lnTo>
                  <a:cubicBezTo>
                    <a:pt x="22" y="48"/>
                    <a:pt x="22" y="60"/>
                    <a:pt x="22" y="60"/>
                  </a:cubicBezTo>
                  <a:lnTo>
                    <a:pt x="59" y="60"/>
                  </a:lnTo>
                  <a:cubicBezTo>
                    <a:pt x="70" y="60"/>
                    <a:pt x="81" y="60"/>
                    <a:pt x="81" y="48"/>
                  </a:cubicBezTo>
                  <a:lnTo>
                    <a:pt x="81" y="23"/>
                  </a:lnTo>
                  <a:cubicBezTo>
                    <a:pt x="81" y="12"/>
                    <a:pt x="70" y="1"/>
                    <a:pt x="59" y="1"/>
                  </a:cubicBezTo>
                  <a:close/>
                </a:path>
              </a:pathLst>
            </a:custGeom>
            <a:solidFill>
              <a:srgbClr val="78D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6" name="Google Shape;124;p17">
              <a:extLst>
                <a:ext uri="{FF2B5EF4-FFF2-40B4-BE49-F238E27FC236}">
                  <a16:creationId xmlns:a16="http://schemas.microsoft.com/office/drawing/2014/main" xmlns="" id="{E1FA14D4-4E58-5186-B3A6-7DF40F83FB1B}"/>
                </a:ext>
              </a:extLst>
            </p:cNvPr>
            <p:cNvSpPr/>
            <p:nvPr/>
          </p:nvSpPr>
          <p:spPr>
            <a:xfrm>
              <a:off x="2322024" y="3015220"/>
              <a:ext cx="27435" cy="24208"/>
            </a:xfrm>
            <a:custGeom>
              <a:avLst/>
              <a:gdLst/>
              <a:ahLst/>
              <a:cxnLst/>
              <a:rect l="l" t="t" r="r" b="b"/>
              <a:pathLst>
                <a:path w="119" h="105" extrusionOk="0">
                  <a:moveTo>
                    <a:pt x="71" y="45"/>
                  </a:moveTo>
                  <a:lnTo>
                    <a:pt x="71" y="59"/>
                  </a:lnTo>
                  <a:lnTo>
                    <a:pt x="48" y="59"/>
                  </a:lnTo>
                  <a:lnTo>
                    <a:pt x="48" y="45"/>
                  </a:lnTo>
                  <a:close/>
                  <a:moveTo>
                    <a:pt x="23" y="1"/>
                  </a:moveTo>
                  <a:cubicBezTo>
                    <a:pt x="1" y="12"/>
                    <a:pt x="1" y="34"/>
                    <a:pt x="1" y="45"/>
                  </a:cubicBezTo>
                  <a:lnTo>
                    <a:pt x="1" y="59"/>
                  </a:lnTo>
                  <a:cubicBezTo>
                    <a:pt x="1" y="70"/>
                    <a:pt x="1" y="82"/>
                    <a:pt x="12" y="82"/>
                  </a:cubicBezTo>
                  <a:cubicBezTo>
                    <a:pt x="12" y="93"/>
                    <a:pt x="23" y="93"/>
                    <a:pt x="34" y="104"/>
                  </a:cubicBezTo>
                  <a:lnTo>
                    <a:pt x="71" y="104"/>
                  </a:lnTo>
                  <a:cubicBezTo>
                    <a:pt x="82" y="104"/>
                    <a:pt x="104" y="93"/>
                    <a:pt x="104" y="82"/>
                  </a:cubicBezTo>
                  <a:cubicBezTo>
                    <a:pt x="118" y="82"/>
                    <a:pt x="118" y="70"/>
                    <a:pt x="118" y="59"/>
                  </a:cubicBezTo>
                  <a:lnTo>
                    <a:pt x="118" y="34"/>
                  </a:lnTo>
                  <a:cubicBezTo>
                    <a:pt x="118" y="34"/>
                    <a:pt x="104" y="23"/>
                    <a:pt x="104" y="12"/>
                  </a:cubicBezTo>
                  <a:cubicBezTo>
                    <a:pt x="93" y="12"/>
                    <a:pt x="93" y="12"/>
                    <a:pt x="9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7" name="Google Shape;125;p17">
              <a:extLst>
                <a:ext uri="{FF2B5EF4-FFF2-40B4-BE49-F238E27FC236}">
                  <a16:creationId xmlns:a16="http://schemas.microsoft.com/office/drawing/2014/main" xmlns="" id="{BE8A75AE-8865-76CE-CCD8-A4F90D278C4C}"/>
                </a:ext>
              </a:extLst>
            </p:cNvPr>
            <p:cNvSpPr/>
            <p:nvPr/>
          </p:nvSpPr>
          <p:spPr>
            <a:xfrm>
              <a:off x="2384043" y="3109286"/>
              <a:ext cx="37580" cy="40347"/>
            </a:xfrm>
            <a:custGeom>
              <a:avLst/>
              <a:gdLst/>
              <a:ahLst/>
              <a:cxnLst/>
              <a:rect l="l" t="t" r="r" b="b"/>
              <a:pathLst>
                <a:path w="163" h="175" extrusionOk="0">
                  <a:moveTo>
                    <a:pt x="34" y="1"/>
                  </a:moveTo>
                  <a:cubicBezTo>
                    <a:pt x="23" y="1"/>
                    <a:pt x="12" y="1"/>
                    <a:pt x="12" y="12"/>
                  </a:cubicBezTo>
                  <a:cubicBezTo>
                    <a:pt x="0" y="12"/>
                    <a:pt x="0" y="23"/>
                    <a:pt x="0" y="23"/>
                  </a:cubicBezTo>
                  <a:cubicBezTo>
                    <a:pt x="0" y="46"/>
                    <a:pt x="23" y="71"/>
                    <a:pt x="34" y="82"/>
                  </a:cubicBezTo>
                  <a:cubicBezTo>
                    <a:pt x="70" y="127"/>
                    <a:pt x="104" y="152"/>
                    <a:pt x="151" y="174"/>
                  </a:cubicBezTo>
                  <a:lnTo>
                    <a:pt x="163" y="174"/>
                  </a:lnTo>
                  <a:lnTo>
                    <a:pt x="163" y="141"/>
                  </a:lnTo>
                  <a:cubicBezTo>
                    <a:pt x="163" y="127"/>
                    <a:pt x="151" y="127"/>
                    <a:pt x="140" y="115"/>
                  </a:cubicBezTo>
                  <a:cubicBezTo>
                    <a:pt x="115" y="82"/>
                    <a:pt x="93" y="57"/>
                    <a:pt x="70" y="23"/>
                  </a:cubicBezTo>
                  <a:cubicBezTo>
                    <a:pt x="70" y="23"/>
                    <a:pt x="70" y="12"/>
                    <a:pt x="59" y="12"/>
                  </a:cubicBezTo>
                  <a:cubicBezTo>
                    <a:pt x="59" y="1"/>
                    <a:pt x="45" y="1"/>
                    <a:pt x="34" y="1"/>
                  </a:cubicBezTo>
                  <a:close/>
                </a:path>
              </a:pathLst>
            </a:custGeom>
            <a:solidFill>
              <a:srgbClr val="78D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126;p17">
              <a:extLst>
                <a:ext uri="{FF2B5EF4-FFF2-40B4-BE49-F238E27FC236}">
                  <a16:creationId xmlns:a16="http://schemas.microsoft.com/office/drawing/2014/main" xmlns="" id="{0FD57F37-B11F-AC56-DF10-4FE5DEE0A3D6}"/>
                </a:ext>
              </a:extLst>
            </p:cNvPr>
            <p:cNvSpPr/>
            <p:nvPr/>
          </p:nvSpPr>
          <p:spPr>
            <a:xfrm>
              <a:off x="2378279" y="3103522"/>
              <a:ext cx="48415" cy="54411"/>
            </a:xfrm>
            <a:custGeom>
              <a:avLst/>
              <a:gdLst/>
              <a:ahLst/>
              <a:cxnLst/>
              <a:rect l="l" t="t" r="r" b="b"/>
              <a:pathLst>
                <a:path w="210" h="236" extrusionOk="0">
                  <a:moveTo>
                    <a:pt x="59" y="48"/>
                  </a:moveTo>
                  <a:cubicBezTo>
                    <a:pt x="70" y="48"/>
                    <a:pt x="70" y="48"/>
                    <a:pt x="70" y="59"/>
                  </a:cubicBezTo>
                  <a:lnTo>
                    <a:pt x="84" y="59"/>
                  </a:lnTo>
                  <a:cubicBezTo>
                    <a:pt x="95" y="96"/>
                    <a:pt x="118" y="129"/>
                    <a:pt x="154" y="152"/>
                  </a:cubicBezTo>
                  <a:cubicBezTo>
                    <a:pt x="163" y="163"/>
                    <a:pt x="165" y="173"/>
                    <a:pt x="165" y="176"/>
                  </a:cubicBezTo>
                  <a:lnTo>
                    <a:pt x="165" y="176"/>
                  </a:lnTo>
                  <a:cubicBezTo>
                    <a:pt x="129" y="154"/>
                    <a:pt x="100" y="124"/>
                    <a:pt x="70" y="96"/>
                  </a:cubicBezTo>
                  <a:cubicBezTo>
                    <a:pt x="70" y="82"/>
                    <a:pt x="59" y="82"/>
                    <a:pt x="59" y="71"/>
                  </a:cubicBezTo>
                  <a:cubicBezTo>
                    <a:pt x="48" y="59"/>
                    <a:pt x="48" y="59"/>
                    <a:pt x="48" y="48"/>
                  </a:cubicBezTo>
                  <a:close/>
                  <a:moveTo>
                    <a:pt x="59" y="1"/>
                  </a:moveTo>
                  <a:cubicBezTo>
                    <a:pt x="48" y="1"/>
                    <a:pt x="25" y="1"/>
                    <a:pt x="14" y="12"/>
                  </a:cubicBezTo>
                  <a:cubicBezTo>
                    <a:pt x="0" y="26"/>
                    <a:pt x="0" y="37"/>
                    <a:pt x="0" y="48"/>
                  </a:cubicBezTo>
                  <a:cubicBezTo>
                    <a:pt x="0" y="71"/>
                    <a:pt x="14" y="82"/>
                    <a:pt x="14" y="96"/>
                  </a:cubicBezTo>
                  <a:cubicBezTo>
                    <a:pt x="25" y="107"/>
                    <a:pt x="37" y="118"/>
                    <a:pt x="37" y="129"/>
                  </a:cubicBezTo>
                  <a:cubicBezTo>
                    <a:pt x="84" y="166"/>
                    <a:pt x="118" y="199"/>
                    <a:pt x="165" y="222"/>
                  </a:cubicBezTo>
                  <a:lnTo>
                    <a:pt x="188" y="222"/>
                  </a:lnTo>
                  <a:lnTo>
                    <a:pt x="199" y="236"/>
                  </a:lnTo>
                  <a:lnTo>
                    <a:pt x="210" y="210"/>
                  </a:lnTo>
                  <a:lnTo>
                    <a:pt x="210" y="188"/>
                  </a:lnTo>
                  <a:lnTo>
                    <a:pt x="210" y="166"/>
                  </a:lnTo>
                  <a:cubicBezTo>
                    <a:pt x="199" y="140"/>
                    <a:pt x="188" y="129"/>
                    <a:pt x="188" y="118"/>
                  </a:cubicBezTo>
                  <a:cubicBezTo>
                    <a:pt x="165" y="96"/>
                    <a:pt x="140" y="71"/>
                    <a:pt x="118" y="37"/>
                  </a:cubicBezTo>
                  <a:cubicBezTo>
                    <a:pt x="118" y="37"/>
                    <a:pt x="106" y="26"/>
                    <a:pt x="106" y="12"/>
                  </a:cubicBezTo>
                  <a:cubicBezTo>
                    <a:pt x="95" y="12"/>
                    <a:pt x="70" y="1"/>
                    <a:pt x="7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9" name="Google Shape;127;p17">
              <a:extLst>
                <a:ext uri="{FF2B5EF4-FFF2-40B4-BE49-F238E27FC236}">
                  <a16:creationId xmlns:a16="http://schemas.microsoft.com/office/drawing/2014/main" xmlns="" id="{214C705A-671E-5A12-D20E-98D315E1636A}"/>
                </a:ext>
              </a:extLst>
            </p:cNvPr>
            <p:cNvSpPr/>
            <p:nvPr/>
          </p:nvSpPr>
          <p:spPr>
            <a:xfrm>
              <a:off x="2456205" y="3112283"/>
              <a:ext cx="16369" cy="13372"/>
            </a:xfrm>
            <a:custGeom>
              <a:avLst/>
              <a:gdLst/>
              <a:ahLst/>
              <a:cxnLst/>
              <a:rect l="l" t="t" r="r" b="b"/>
              <a:pathLst>
                <a:path w="71" h="58" extrusionOk="0">
                  <a:moveTo>
                    <a:pt x="40" y="1"/>
                  </a:moveTo>
                  <a:cubicBezTo>
                    <a:pt x="24" y="1"/>
                    <a:pt x="12" y="17"/>
                    <a:pt x="12" y="33"/>
                  </a:cubicBezTo>
                  <a:cubicBezTo>
                    <a:pt x="1" y="44"/>
                    <a:pt x="12" y="58"/>
                    <a:pt x="12" y="58"/>
                  </a:cubicBezTo>
                  <a:lnTo>
                    <a:pt x="48" y="58"/>
                  </a:lnTo>
                  <a:cubicBezTo>
                    <a:pt x="70" y="58"/>
                    <a:pt x="70" y="21"/>
                    <a:pt x="59" y="10"/>
                  </a:cubicBezTo>
                  <a:cubicBezTo>
                    <a:pt x="53" y="4"/>
                    <a:pt x="46" y="1"/>
                    <a:pt x="40" y="1"/>
                  </a:cubicBezTo>
                  <a:close/>
                </a:path>
              </a:pathLst>
            </a:custGeom>
            <a:solidFill>
              <a:srgbClr val="78D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0" name="Google Shape;128;p17">
              <a:extLst>
                <a:ext uri="{FF2B5EF4-FFF2-40B4-BE49-F238E27FC236}">
                  <a16:creationId xmlns:a16="http://schemas.microsoft.com/office/drawing/2014/main" xmlns="" id="{18227F97-388A-9A2F-7362-90F4D8ABADDB}"/>
                </a:ext>
              </a:extLst>
            </p:cNvPr>
            <p:cNvSpPr/>
            <p:nvPr/>
          </p:nvSpPr>
          <p:spPr>
            <a:xfrm>
              <a:off x="2451133" y="3106058"/>
              <a:ext cx="27205" cy="24900"/>
            </a:xfrm>
            <a:custGeom>
              <a:avLst/>
              <a:gdLst/>
              <a:ahLst/>
              <a:cxnLst/>
              <a:rect l="l" t="t" r="r" b="b"/>
              <a:pathLst>
                <a:path w="118" h="108" extrusionOk="0">
                  <a:moveTo>
                    <a:pt x="59" y="48"/>
                  </a:moveTo>
                  <a:lnTo>
                    <a:pt x="70" y="60"/>
                  </a:lnTo>
                  <a:lnTo>
                    <a:pt x="48" y="60"/>
                  </a:lnTo>
                  <a:cubicBezTo>
                    <a:pt x="59" y="60"/>
                    <a:pt x="59" y="48"/>
                    <a:pt x="59" y="48"/>
                  </a:cubicBezTo>
                  <a:close/>
                  <a:moveTo>
                    <a:pt x="59" y="1"/>
                  </a:moveTo>
                  <a:cubicBezTo>
                    <a:pt x="48" y="1"/>
                    <a:pt x="34" y="15"/>
                    <a:pt x="23" y="26"/>
                  </a:cubicBezTo>
                  <a:cubicBezTo>
                    <a:pt x="11" y="37"/>
                    <a:pt x="11" y="48"/>
                    <a:pt x="11" y="60"/>
                  </a:cubicBezTo>
                  <a:lnTo>
                    <a:pt x="0" y="60"/>
                  </a:lnTo>
                  <a:cubicBezTo>
                    <a:pt x="0" y="71"/>
                    <a:pt x="11" y="85"/>
                    <a:pt x="11" y="85"/>
                  </a:cubicBezTo>
                  <a:cubicBezTo>
                    <a:pt x="11" y="96"/>
                    <a:pt x="23" y="107"/>
                    <a:pt x="34" y="107"/>
                  </a:cubicBezTo>
                  <a:lnTo>
                    <a:pt x="70" y="107"/>
                  </a:lnTo>
                  <a:cubicBezTo>
                    <a:pt x="81" y="107"/>
                    <a:pt x="92" y="96"/>
                    <a:pt x="104" y="96"/>
                  </a:cubicBezTo>
                  <a:cubicBezTo>
                    <a:pt x="104" y="85"/>
                    <a:pt x="118" y="71"/>
                    <a:pt x="118" y="60"/>
                  </a:cubicBezTo>
                  <a:cubicBezTo>
                    <a:pt x="118" y="37"/>
                    <a:pt x="104" y="26"/>
                    <a:pt x="92" y="15"/>
                  </a:cubicBezTo>
                  <a:cubicBezTo>
                    <a:pt x="81" y="1"/>
                    <a:pt x="70" y="1"/>
                    <a:pt x="5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1" name="Google Shape;129;p17">
              <a:extLst>
                <a:ext uri="{FF2B5EF4-FFF2-40B4-BE49-F238E27FC236}">
                  <a16:creationId xmlns:a16="http://schemas.microsoft.com/office/drawing/2014/main" xmlns="" id="{03AF6361-C1F5-B8AF-A0B8-444DACF04A3F}"/>
                </a:ext>
              </a:extLst>
            </p:cNvPr>
            <p:cNvSpPr/>
            <p:nvPr/>
          </p:nvSpPr>
          <p:spPr>
            <a:xfrm>
              <a:off x="2478108" y="3059717"/>
              <a:ext cx="120808" cy="65939"/>
            </a:xfrm>
            <a:custGeom>
              <a:avLst/>
              <a:gdLst/>
              <a:ahLst/>
              <a:cxnLst/>
              <a:rect l="l" t="t" r="r" b="b"/>
              <a:pathLst>
                <a:path w="524" h="286" extrusionOk="0">
                  <a:moveTo>
                    <a:pt x="443" y="0"/>
                  </a:moveTo>
                  <a:cubicBezTo>
                    <a:pt x="414" y="0"/>
                    <a:pt x="381" y="9"/>
                    <a:pt x="350" y="17"/>
                  </a:cubicBezTo>
                  <a:cubicBezTo>
                    <a:pt x="303" y="40"/>
                    <a:pt x="266" y="62"/>
                    <a:pt x="221" y="87"/>
                  </a:cubicBezTo>
                  <a:cubicBezTo>
                    <a:pt x="210" y="98"/>
                    <a:pt x="174" y="98"/>
                    <a:pt x="163" y="110"/>
                  </a:cubicBezTo>
                  <a:cubicBezTo>
                    <a:pt x="152" y="132"/>
                    <a:pt x="140" y="146"/>
                    <a:pt x="126" y="157"/>
                  </a:cubicBezTo>
                  <a:cubicBezTo>
                    <a:pt x="104" y="168"/>
                    <a:pt x="71" y="168"/>
                    <a:pt x="71" y="191"/>
                  </a:cubicBezTo>
                  <a:cubicBezTo>
                    <a:pt x="57" y="191"/>
                    <a:pt x="57" y="202"/>
                    <a:pt x="57" y="202"/>
                  </a:cubicBezTo>
                  <a:cubicBezTo>
                    <a:pt x="57" y="227"/>
                    <a:pt x="34" y="227"/>
                    <a:pt x="23" y="238"/>
                  </a:cubicBezTo>
                  <a:cubicBezTo>
                    <a:pt x="12" y="249"/>
                    <a:pt x="12" y="249"/>
                    <a:pt x="12" y="261"/>
                  </a:cubicBezTo>
                  <a:cubicBezTo>
                    <a:pt x="1" y="272"/>
                    <a:pt x="12" y="286"/>
                    <a:pt x="23" y="286"/>
                  </a:cubicBezTo>
                  <a:cubicBezTo>
                    <a:pt x="34" y="286"/>
                    <a:pt x="45" y="286"/>
                    <a:pt x="57" y="272"/>
                  </a:cubicBezTo>
                  <a:cubicBezTo>
                    <a:pt x="104" y="249"/>
                    <a:pt x="152" y="202"/>
                    <a:pt x="210" y="191"/>
                  </a:cubicBezTo>
                  <a:cubicBezTo>
                    <a:pt x="233" y="191"/>
                    <a:pt x="266" y="191"/>
                    <a:pt x="291" y="179"/>
                  </a:cubicBezTo>
                  <a:cubicBezTo>
                    <a:pt x="303" y="168"/>
                    <a:pt x="303" y="157"/>
                    <a:pt x="325" y="157"/>
                  </a:cubicBezTo>
                  <a:lnTo>
                    <a:pt x="361" y="157"/>
                  </a:lnTo>
                  <a:cubicBezTo>
                    <a:pt x="372" y="146"/>
                    <a:pt x="384" y="146"/>
                    <a:pt x="395" y="132"/>
                  </a:cubicBezTo>
                  <a:lnTo>
                    <a:pt x="395" y="110"/>
                  </a:lnTo>
                  <a:cubicBezTo>
                    <a:pt x="406" y="98"/>
                    <a:pt x="420" y="98"/>
                    <a:pt x="431" y="87"/>
                  </a:cubicBezTo>
                  <a:cubicBezTo>
                    <a:pt x="442" y="87"/>
                    <a:pt x="454" y="87"/>
                    <a:pt x="476" y="76"/>
                  </a:cubicBezTo>
                  <a:cubicBezTo>
                    <a:pt x="476" y="76"/>
                    <a:pt x="490" y="76"/>
                    <a:pt x="501" y="62"/>
                  </a:cubicBezTo>
                  <a:cubicBezTo>
                    <a:pt x="512" y="62"/>
                    <a:pt x="512" y="51"/>
                    <a:pt x="523" y="40"/>
                  </a:cubicBezTo>
                  <a:cubicBezTo>
                    <a:pt x="523" y="40"/>
                    <a:pt x="512" y="28"/>
                    <a:pt x="512" y="17"/>
                  </a:cubicBezTo>
                  <a:cubicBezTo>
                    <a:pt x="501" y="17"/>
                    <a:pt x="490" y="6"/>
                    <a:pt x="476" y="6"/>
                  </a:cubicBezTo>
                  <a:cubicBezTo>
                    <a:pt x="466" y="2"/>
                    <a:pt x="455" y="0"/>
                    <a:pt x="443" y="0"/>
                  </a:cubicBezTo>
                  <a:close/>
                </a:path>
              </a:pathLst>
            </a:custGeom>
            <a:solidFill>
              <a:srgbClr val="78D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2" name="Google Shape;130;p17">
              <a:extLst>
                <a:ext uri="{FF2B5EF4-FFF2-40B4-BE49-F238E27FC236}">
                  <a16:creationId xmlns:a16="http://schemas.microsoft.com/office/drawing/2014/main" xmlns="" id="{CE696EA7-CC32-8987-48CE-E4FFB1BDD5D1}"/>
                </a:ext>
              </a:extLst>
            </p:cNvPr>
            <p:cNvSpPr/>
            <p:nvPr/>
          </p:nvSpPr>
          <p:spPr>
            <a:xfrm>
              <a:off x="2474880" y="3055106"/>
              <a:ext cx="129108" cy="75853"/>
            </a:xfrm>
            <a:custGeom>
              <a:avLst/>
              <a:gdLst/>
              <a:ahLst/>
              <a:cxnLst/>
              <a:rect l="l" t="t" r="r" b="b"/>
              <a:pathLst>
                <a:path w="560" h="329" extrusionOk="0">
                  <a:moveTo>
                    <a:pt x="490" y="48"/>
                  </a:moveTo>
                  <a:cubicBezTo>
                    <a:pt x="504" y="48"/>
                    <a:pt x="504" y="60"/>
                    <a:pt x="504" y="60"/>
                  </a:cubicBezTo>
                  <a:lnTo>
                    <a:pt x="515" y="60"/>
                  </a:lnTo>
                  <a:cubicBezTo>
                    <a:pt x="515" y="60"/>
                    <a:pt x="504" y="60"/>
                    <a:pt x="504" y="71"/>
                  </a:cubicBezTo>
                  <a:cubicBezTo>
                    <a:pt x="490" y="71"/>
                    <a:pt x="490" y="71"/>
                    <a:pt x="479" y="82"/>
                  </a:cubicBezTo>
                  <a:cubicBezTo>
                    <a:pt x="468" y="82"/>
                    <a:pt x="456" y="82"/>
                    <a:pt x="445" y="96"/>
                  </a:cubicBezTo>
                  <a:cubicBezTo>
                    <a:pt x="420" y="96"/>
                    <a:pt x="409" y="107"/>
                    <a:pt x="398" y="118"/>
                  </a:cubicBezTo>
                  <a:cubicBezTo>
                    <a:pt x="386" y="130"/>
                    <a:pt x="386" y="141"/>
                    <a:pt x="386" y="141"/>
                  </a:cubicBezTo>
                  <a:cubicBezTo>
                    <a:pt x="386" y="141"/>
                    <a:pt x="375" y="141"/>
                    <a:pt x="364" y="152"/>
                  </a:cubicBezTo>
                  <a:lnTo>
                    <a:pt x="328" y="152"/>
                  </a:lnTo>
                  <a:cubicBezTo>
                    <a:pt x="305" y="166"/>
                    <a:pt x="294" y="177"/>
                    <a:pt x="294" y="177"/>
                  </a:cubicBezTo>
                  <a:cubicBezTo>
                    <a:pt x="280" y="177"/>
                    <a:pt x="269" y="188"/>
                    <a:pt x="258" y="188"/>
                  </a:cubicBezTo>
                  <a:lnTo>
                    <a:pt x="224" y="188"/>
                  </a:lnTo>
                  <a:cubicBezTo>
                    <a:pt x="188" y="199"/>
                    <a:pt x="154" y="211"/>
                    <a:pt x="129" y="236"/>
                  </a:cubicBezTo>
                  <a:cubicBezTo>
                    <a:pt x="111" y="245"/>
                    <a:pt x="93" y="261"/>
                    <a:pt x="73" y="267"/>
                  </a:cubicBezTo>
                  <a:lnTo>
                    <a:pt x="73" y="267"/>
                  </a:lnTo>
                  <a:cubicBezTo>
                    <a:pt x="86" y="257"/>
                    <a:pt x="96" y="246"/>
                    <a:pt x="96" y="236"/>
                  </a:cubicBezTo>
                  <a:cubicBezTo>
                    <a:pt x="96" y="222"/>
                    <a:pt x="96" y="222"/>
                    <a:pt x="107" y="211"/>
                  </a:cubicBezTo>
                  <a:lnTo>
                    <a:pt x="118" y="199"/>
                  </a:lnTo>
                  <a:lnTo>
                    <a:pt x="154" y="199"/>
                  </a:lnTo>
                  <a:cubicBezTo>
                    <a:pt x="166" y="188"/>
                    <a:pt x="177" y="177"/>
                    <a:pt x="177" y="166"/>
                  </a:cubicBezTo>
                  <a:cubicBezTo>
                    <a:pt x="188" y="166"/>
                    <a:pt x="188" y="152"/>
                    <a:pt x="199" y="152"/>
                  </a:cubicBezTo>
                  <a:cubicBezTo>
                    <a:pt x="199" y="141"/>
                    <a:pt x="199" y="141"/>
                    <a:pt x="210" y="141"/>
                  </a:cubicBezTo>
                  <a:cubicBezTo>
                    <a:pt x="224" y="130"/>
                    <a:pt x="235" y="130"/>
                    <a:pt x="247" y="130"/>
                  </a:cubicBezTo>
                  <a:cubicBezTo>
                    <a:pt x="294" y="107"/>
                    <a:pt x="339" y="71"/>
                    <a:pt x="375" y="60"/>
                  </a:cubicBezTo>
                  <a:cubicBezTo>
                    <a:pt x="398" y="48"/>
                    <a:pt x="420" y="48"/>
                    <a:pt x="445" y="48"/>
                  </a:cubicBezTo>
                  <a:close/>
                  <a:moveTo>
                    <a:pt x="445" y="1"/>
                  </a:moveTo>
                  <a:cubicBezTo>
                    <a:pt x="420" y="1"/>
                    <a:pt x="386" y="1"/>
                    <a:pt x="364" y="12"/>
                  </a:cubicBezTo>
                  <a:cubicBezTo>
                    <a:pt x="305" y="37"/>
                    <a:pt x="269" y="71"/>
                    <a:pt x="224" y="82"/>
                  </a:cubicBezTo>
                  <a:cubicBezTo>
                    <a:pt x="224" y="82"/>
                    <a:pt x="210" y="96"/>
                    <a:pt x="199" y="96"/>
                  </a:cubicBezTo>
                  <a:cubicBezTo>
                    <a:pt x="188" y="96"/>
                    <a:pt x="177" y="107"/>
                    <a:pt x="166" y="118"/>
                  </a:cubicBezTo>
                  <a:cubicBezTo>
                    <a:pt x="154" y="130"/>
                    <a:pt x="140" y="130"/>
                    <a:pt x="140" y="141"/>
                  </a:cubicBezTo>
                  <a:lnTo>
                    <a:pt x="129" y="152"/>
                  </a:lnTo>
                  <a:cubicBezTo>
                    <a:pt x="118" y="152"/>
                    <a:pt x="107" y="152"/>
                    <a:pt x="96" y="166"/>
                  </a:cubicBezTo>
                  <a:cubicBezTo>
                    <a:pt x="85" y="166"/>
                    <a:pt x="85" y="166"/>
                    <a:pt x="71" y="177"/>
                  </a:cubicBezTo>
                  <a:cubicBezTo>
                    <a:pt x="71" y="177"/>
                    <a:pt x="59" y="188"/>
                    <a:pt x="59" y="199"/>
                  </a:cubicBezTo>
                  <a:cubicBezTo>
                    <a:pt x="48" y="211"/>
                    <a:pt x="48" y="211"/>
                    <a:pt x="48" y="222"/>
                  </a:cubicBezTo>
                  <a:cubicBezTo>
                    <a:pt x="37" y="236"/>
                    <a:pt x="26" y="236"/>
                    <a:pt x="26" y="247"/>
                  </a:cubicBezTo>
                  <a:cubicBezTo>
                    <a:pt x="15" y="247"/>
                    <a:pt x="15" y="247"/>
                    <a:pt x="15" y="258"/>
                  </a:cubicBezTo>
                  <a:cubicBezTo>
                    <a:pt x="1" y="258"/>
                    <a:pt x="1" y="269"/>
                    <a:pt x="1" y="281"/>
                  </a:cubicBezTo>
                  <a:cubicBezTo>
                    <a:pt x="1" y="292"/>
                    <a:pt x="1" y="306"/>
                    <a:pt x="15" y="317"/>
                  </a:cubicBezTo>
                  <a:cubicBezTo>
                    <a:pt x="15" y="317"/>
                    <a:pt x="26" y="328"/>
                    <a:pt x="37" y="328"/>
                  </a:cubicBezTo>
                  <a:lnTo>
                    <a:pt x="48" y="328"/>
                  </a:lnTo>
                  <a:cubicBezTo>
                    <a:pt x="59" y="328"/>
                    <a:pt x="71" y="317"/>
                    <a:pt x="85" y="317"/>
                  </a:cubicBezTo>
                  <a:cubicBezTo>
                    <a:pt x="107" y="306"/>
                    <a:pt x="129" y="281"/>
                    <a:pt x="154" y="269"/>
                  </a:cubicBezTo>
                  <a:cubicBezTo>
                    <a:pt x="177" y="258"/>
                    <a:pt x="199" y="247"/>
                    <a:pt x="224" y="236"/>
                  </a:cubicBezTo>
                  <a:lnTo>
                    <a:pt x="269" y="236"/>
                  </a:lnTo>
                  <a:cubicBezTo>
                    <a:pt x="280" y="236"/>
                    <a:pt x="294" y="222"/>
                    <a:pt x="305" y="222"/>
                  </a:cubicBezTo>
                  <a:cubicBezTo>
                    <a:pt x="328" y="211"/>
                    <a:pt x="339" y="199"/>
                    <a:pt x="339" y="199"/>
                  </a:cubicBezTo>
                  <a:lnTo>
                    <a:pt x="375" y="199"/>
                  </a:lnTo>
                  <a:cubicBezTo>
                    <a:pt x="386" y="188"/>
                    <a:pt x="409" y="188"/>
                    <a:pt x="420" y="166"/>
                  </a:cubicBezTo>
                  <a:cubicBezTo>
                    <a:pt x="434" y="152"/>
                    <a:pt x="434" y="152"/>
                    <a:pt x="434" y="141"/>
                  </a:cubicBezTo>
                  <a:cubicBezTo>
                    <a:pt x="434" y="141"/>
                    <a:pt x="445" y="141"/>
                    <a:pt x="456" y="130"/>
                  </a:cubicBezTo>
                  <a:cubicBezTo>
                    <a:pt x="468" y="130"/>
                    <a:pt x="479" y="130"/>
                    <a:pt x="490" y="118"/>
                  </a:cubicBezTo>
                  <a:cubicBezTo>
                    <a:pt x="504" y="118"/>
                    <a:pt x="515" y="107"/>
                    <a:pt x="526" y="107"/>
                  </a:cubicBezTo>
                  <a:lnTo>
                    <a:pt x="537" y="96"/>
                  </a:lnTo>
                  <a:cubicBezTo>
                    <a:pt x="549" y="82"/>
                    <a:pt x="549" y="82"/>
                    <a:pt x="560" y="71"/>
                  </a:cubicBezTo>
                  <a:lnTo>
                    <a:pt x="560" y="60"/>
                  </a:lnTo>
                  <a:cubicBezTo>
                    <a:pt x="560" y="48"/>
                    <a:pt x="549" y="26"/>
                    <a:pt x="537" y="26"/>
                  </a:cubicBezTo>
                  <a:cubicBezTo>
                    <a:pt x="526" y="12"/>
                    <a:pt x="515" y="1"/>
                    <a:pt x="50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131;p17">
              <a:extLst>
                <a:ext uri="{FF2B5EF4-FFF2-40B4-BE49-F238E27FC236}">
                  <a16:creationId xmlns:a16="http://schemas.microsoft.com/office/drawing/2014/main" xmlns="" id="{29F7BC9B-2460-15F4-EA88-18232DE97AD4}"/>
                </a:ext>
              </a:extLst>
            </p:cNvPr>
            <p:cNvSpPr/>
            <p:nvPr/>
          </p:nvSpPr>
          <p:spPr>
            <a:xfrm>
              <a:off x="2531596" y="3119661"/>
              <a:ext cx="11297" cy="13833"/>
            </a:xfrm>
            <a:custGeom>
              <a:avLst/>
              <a:gdLst/>
              <a:ahLst/>
              <a:cxnLst/>
              <a:rect l="l" t="t" r="r" b="b"/>
              <a:pathLst>
                <a:path w="49" h="60" extrusionOk="0">
                  <a:moveTo>
                    <a:pt x="12" y="1"/>
                  </a:moveTo>
                  <a:lnTo>
                    <a:pt x="1" y="12"/>
                  </a:lnTo>
                  <a:lnTo>
                    <a:pt x="1" y="37"/>
                  </a:lnTo>
                  <a:lnTo>
                    <a:pt x="1" y="48"/>
                  </a:lnTo>
                  <a:cubicBezTo>
                    <a:pt x="1" y="59"/>
                    <a:pt x="12" y="59"/>
                    <a:pt x="23" y="59"/>
                  </a:cubicBezTo>
                  <a:lnTo>
                    <a:pt x="34" y="59"/>
                  </a:lnTo>
                  <a:lnTo>
                    <a:pt x="48" y="48"/>
                  </a:lnTo>
                  <a:lnTo>
                    <a:pt x="48" y="26"/>
                  </a:lnTo>
                  <a:lnTo>
                    <a:pt x="48" y="12"/>
                  </a:lnTo>
                  <a:lnTo>
                    <a:pt x="48" y="1"/>
                  </a:lnTo>
                  <a:close/>
                </a:path>
              </a:pathLst>
            </a:custGeom>
            <a:solidFill>
              <a:srgbClr val="78D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4" name="Google Shape;132;p17">
              <a:extLst>
                <a:ext uri="{FF2B5EF4-FFF2-40B4-BE49-F238E27FC236}">
                  <a16:creationId xmlns:a16="http://schemas.microsoft.com/office/drawing/2014/main" xmlns="" id="{64C59430-AF7A-511A-44CE-9DAFC237B08F}"/>
                </a:ext>
              </a:extLst>
            </p:cNvPr>
            <p:cNvSpPr/>
            <p:nvPr/>
          </p:nvSpPr>
          <p:spPr>
            <a:xfrm>
              <a:off x="2526523" y="3114588"/>
              <a:ext cx="21441" cy="23978"/>
            </a:xfrm>
            <a:custGeom>
              <a:avLst/>
              <a:gdLst/>
              <a:ahLst/>
              <a:cxnLst/>
              <a:rect l="l" t="t" r="r" b="b"/>
              <a:pathLst>
                <a:path w="93" h="104" extrusionOk="0">
                  <a:moveTo>
                    <a:pt x="23" y="0"/>
                  </a:moveTo>
                  <a:lnTo>
                    <a:pt x="11" y="11"/>
                  </a:lnTo>
                  <a:lnTo>
                    <a:pt x="0" y="11"/>
                  </a:lnTo>
                  <a:lnTo>
                    <a:pt x="0" y="34"/>
                  </a:lnTo>
                  <a:lnTo>
                    <a:pt x="0" y="59"/>
                  </a:lnTo>
                  <a:lnTo>
                    <a:pt x="0" y="81"/>
                  </a:lnTo>
                  <a:cubicBezTo>
                    <a:pt x="11" y="92"/>
                    <a:pt x="11" y="104"/>
                    <a:pt x="23" y="104"/>
                  </a:cubicBezTo>
                  <a:lnTo>
                    <a:pt x="45" y="104"/>
                  </a:lnTo>
                  <a:cubicBezTo>
                    <a:pt x="56" y="104"/>
                    <a:pt x="70" y="104"/>
                    <a:pt x="81" y="92"/>
                  </a:cubicBezTo>
                  <a:lnTo>
                    <a:pt x="81" y="81"/>
                  </a:lnTo>
                  <a:cubicBezTo>
                    <a:pt x="93" y="70"/>
                    <a:pt x="93" y="59"/>
                    <a:pt x="93" y="48"/>
                  </a:cubicBezTo>
                  <a:lnTo>
                    <a:pt x="93" y="23"/>
                  </a:lnTo>
                  <a:cubicBezTo>
                    <a:pt x="93" y="23"/>
                    <a:pt x="93" y="11"/>
                    <a:pt x="81" y="11"/>
                  </a:cubicBezTo>
                  <a:lnTo>
                    <a:pt x="70" y="11"/>
                  </a:lnTo>
                  <a:lnTo>
                    <a:pt x="70" y="0"/>
                  </a:lnTo>
                  <a:lnTo>
                    <a:pt x="45" y="0"/>
                  </a:lnTo>
                  <a:cubicBezTo>
                    <a:pt x="35" y="0"/>
                    <a:pt x="34" y="0"/>
                    <a:pt x="26" y="8"/>
                  </a:cubicBezTo>
                  <a:lnTo>
                    <a:pt x="26" y="8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133;p17">
              <a:extLst>
                <a:ext uri="{FF2B5EF4-FFF2-40B4-BE49-F238E27FC236}">
                  <a16:creationId xmlns:a16="http://schemas.microsoft.com/office/drawing/2014/main" xmlns="" id="{15A7366F-5D0C-A71D-1EEE-8DCDBC4059DF}"/>
                </a:ext>
              </a:extLst>
            </p:cNvPr>
            <p:cNvSpPr/>
            <p:nvPr/>
          </p:nvSpPr>
          <p:spPr>
            <a:xfrm>
              <a:off x="2517993" y="2069489"/>
              <a:ext cx="57176" cy="48647"/>
            </a:xfrm>
            <a:custGeom>
              <a:avLst/>
              <a:gdLst/>
              <a:ahLst/>
              <a:cxnLst/>
              <a:rect l="l" t="t" r="r" b="b"/>
              <a:pathLst>
                <a:path w="248" h="211" extrusionOk="0">
                  <a:moveTo>
                    <a:pt x="107" y="0"/>
                  </a:moveTo>
                  <a:cubicBezTo>
                    <a:pt x="93" y="12"/>
                    <a:pt x="93" y="23"/>
                    <a:pt x="93" y="37"/>
                  </a:cubicBezTo>
                  <a:cubicBezTo>
                    <a:pt x="82" y="48"/>
                    <a:pt x="93" y="59"/>
                    <a:pt x="82" y="70"/>
                  </a:cubicBezTo>
                  <a:cubicBezTo>
                    <a:pt x="82" y="82"/>
                    <a:pt x="71" y="93"/>
                    <a:pt x="48" y="93"/>
                  </a:cubicBezTo>
                  <a:cubicBezTo>
                    <a:pt x="37" y="107"/>
                    <a:pt x="23" y="107"/>
                    <a:pt x="12" y="107"/>
                  </a:cubicBezTo>
                  <a:cubicBezTo>
                    <a:pt x="1" y="118"/>
                    <a:pt x="1" y="129"/>
                    <a:pt x="1" y="140"/>
                  </a:cubicBezTo>
                  <a:cubicBezTo>
                    <a:pt x="1" y="151"/>
                    <a:pt x="1" y="163"/>
                    <a:pt x="12" y="163"/>
                  </a:cubicBezTo>
                  <a:cubicBezTo>
                    <a:pt x="37" y="188"/>
                    <a:pt x="71" y="188"/>
                    <a:pt x="107" y="188"/>
                  </a:cubicBezTo>
                  <a:lnTo>
                    <a:pt x="130" y="188"/>
                  </a:lnTo>
                  <a:cubicBezTo>
                    <a:pt x="141" y="199"/>
                    <a:pt x="141" y="210"/>
                    <a:pt x="152" y="210"/>
                  </a:cubicBezTo>
                  <a:lnTo>
                    <a:pt x="163" y="210"/>
                  </a:lnTo>
                  <a:cubicBezTo>
                    <a:pt x="177" y="199"/>
                    <a:pt x="188" y="188"/>
                    <a:pt x="188" y="177"/>
                  </a:cubicBezTo>
                  <a:cubicBezTo>
                    <a:pt x="199" y="163"/>
                    <a:pt x="199" y="163"/>
                    <a:pt x="199" y="151"/>
                  </a:cubicBezTo>
                  <a:cubicBezTo>
                    <a:pt x="199" y="140"/>
                    <a:pt x="233" y="129"/>
                    <a:pt x="247" y="107"/>
                  </a:cubicBezTo>
                  <a:lnTo>
                    <a:pt x="247" y="59"/>
                  </a:lnTo>
                  <a:cubicBezTo>
                    <a:pt x="233" y="37"/>
                    <a:pt x="222" y="23"/>
                    <a:pt x="199" y="23"/>
                  </a:cubicBezTo>
                  <a:cubicBezTo>
                    <a:pt x="177" y="12"/>
                    <a:pt x="152" y="0"/>
                    <a:pt x="130" y="0"/>
                  </a:cubicBezTo>
                  <a:close/>
                </a:path>
              </a:pathLst>
            </a:custGeom>
            <a:solidFill>
              <a:srgbClr val="78D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6" name="Google Shape;134;p17">
              <a:extLst>
                <a:ext uri="{FF2B5EF4-FFF2-40B4-BE49-F238E27FC236}">
                  <a16:creationId xmlns:a16="http://schemas.microsoft.com/office/drawing/2014/main" xmlns="" id="{3CB61217-66D7-9763-C74B-17BFC4624F7C}"/>
                </a:ext>
              </a:extLst>
            </p:cNvPr>
            <p:cNvSpPr/>
            <p:nvPr/>
          </p:nvSpPr>
          <p:spPr>
            <a:xfrm>
              <a:off x="2512921" y="2064416"/>
              <a:ext cx="67321" cy="58792"/>
            </a:xfrm>
            <a:custGeom>
              <a:avLst/>
              <a:gdLst/>
              <a:ahLst/>
              <a:cxnLst/>
              <a:rect l="l" t="t" r="r" b="b"/>
              <a:pathLst>
                <a:path w="292" h="255" extrusionOk="0">
                  <a:moveTo>
                    <a:pt x="152" y="45"/>
                  </a:moveTo>
                  <a:cubicBezTo>
                    <a:pt x="174" y="45"/>
                    <a:pt x="199" y="59"/>
                    <a:pt x="210" y="59"/>
                  </a:cubicBezTo>
                  <a:cubicBezTo>
                    <a:pt x="221" y="70"/>
                    <a:pt x="233" y="81"/>
                    <a:pt x="244" y="92"/>
                  </a:cubicBezTo>
                  <a:lnTo>
                    <a:pt x="244" y="104"/>
                  </a:lnTo>
                  <a:lnTo>
                    <a:pt x="244" y="115"/>
                  </a:lnTo>
                  <a:cubicBezTo>
                    <a:pt x="244" y="129"/>
                    <a:pt x="233" y="129"/>
                    <a:pt x="221" y="140"/>
                  </a:cubicBezTo>
                  <a:cubicBezTo>
                    <a:pt x="221" y="140"/>
                    <a:pt x="199" y="151"/>
                    <a:pt x="199" y="173"/>
                  </a:cubicBezTo>
                  <a:lnTo>
                    <a:pt x="199" y="185"/>
                  </a:lnTo>
                  <a:cubicBezTo>
                    <a:pt x="188" y="196"/>
                    <a:pt x="186" y="198"/>
                    <a:pt x="180" y="204"/>
                  </a:cubicBezTo>
                  <a:lnTo>
                    <a:pt x="180" y="204"/>
                  </a:lnTo>
                  <a:lnTo>
                    <a:pt x="174" y="199"/>
                  </a:lnTo>
                  <a:cubicBezTo>
                    <a:pt x="163" y="185"/>
                    <a:pt x="152" y="185"/>
                    <a:pt x="140" y="185"/>
                  </a:cubicBezTo>
                  <a:lnTo>
                    <a:pt x="104" y="185"/>
                  </a:lnTo>
                  <a:cubicBezTo>
                    <a:pt x="82" y="185"/>
                    <a:pt x="59" y="185"/>
                    <a:pt x="45" y="173"/>
                  </a:cubicBezTo>
                  <a:lnTo>
                    <a:pt x="45" y="162"/>
                  </a:lnTo>
                  <a:lnTo>
                    <a:pt x="45" y="151"/>
                  </a:lnTo>
                  <a:cubicBezTo>
                    <a:pt x="59" y="151"/>
                    <a:pt x="70" y="151"/>
                    <a:pt x="82" y="140"/>
                  </a:cubicBezTo>
                  <a:cubicBezTo>
                    <a:pt x="93" y="140"/>
                    <a:pt x="115" y="129"/>
                    <a:pt x="129" y="104"/>
                  </a:cubicBezTo>
                  <a:cubicBezTo>
                    <a:pt x="140" y="92"/>
                    <a:pt x="129" y="70"/>
                    <a:pt x="140" y="59"/>
                  </a:cubicBezTo>
                  <a:lnTo>
                    <a:pt x="140" y="45"/>
                  </a:lnTo>
                  <a:close/>
                  <a:moveTo>
                    <a:pt x="140" y="0"/>
                  </a:moveTo>
                  <a:cubicBezTo>
                    <a:pt x="140" y="0"/>
                    <a:pt x="129" y="0"/>
                    <a:pt x="115" y="11"/>
                  </a:cubicBezTo>
                  <a:cubicBezTo>
                    <a:pt x="104" y="11"/>
                    <a:pt x="93" y="22"/>
                    <a:pt x="93" y="34"/>
                  </a:cubicBezTo>
                  <a:lnTo>
                    <a:pt x="93" y="59"/>
                  </a:lnTo>
                  <a:cubicBezTo>
                    <a:pt x="93" y="70"/>
                    <a:pt x="82" y="81"/>
                    <a:pt x="82" y="81"/>
                  </a:cubicBezTo>
                  <a:cubicBezTo>
                    <a:pt x="82" y="92"/>
                    <a:pt x="82" y="92"/>
                    <a:pt x="70" y="92"/>
                  </a:cubicBezTo>
                  <a:cubicBezTo>
                    <a:pt x="59" y="104"/>
                    <a:pt x="45" y="104"/>
                    <a:pt x="23" y="115"/>
                  </a:cubicBezTo>
                  <a:lnTo>
                    <a:pt x="12" y="129"/>
                  </a:lnTo>
                  <a:cubicBezTo>
                    <a:pt x="1" y="140"/>
                    <a:pt x="1" y="151"/>
                    <a:pt x="1" y="162"/>
                  </a:cubicBezTo>
                  <a:cubicBezTo>
                    <a:pt x="1" y="185"/>
                    <a:pt x="1" y="199"/>
                    <a:pt x="12" y="210"/>
                  </a:cubicBezTo>
                  <a:cubicBezTo>
                    <a:pt x="34" y="232"/>
                    <a:pt x="70" y="232"/>
                    <a:pt x="104" y="232"/>
                  </a:cubicBezTo>
                  <a:lnTo>
                    <a:pt x="140" y="232"/>
                  </a:lnTo>
                  <a:lnTo>
                    <a:pt x="152" y="243"/>
                  </a:lnTo>
                  <a:cubicBezTo>
                    <a:pt x="152" y="243"/>
                    <a:pt x="163" y="243"/>
                    <a:pt x="174" y="255"/>
                  </a:cubicBezTo>
                  <a:lnTo>
                    <a:pt x="185" y="255"/>
                  </a:lnTo>
                  <a:lnTo>
                    <a:pt x="199" y="243"/>
                  </a:lnTo>
                  <a:cubicBezTo>
                    <a:pt x="221" y="243"/>
                    <a:pt x="233" y="221"/>
                    <a:pt x="233" y="199"/>
                  </a:cubicBezTo>
                  <a:cubicBezTo>
                    <a:pt x="244" y="199"/>
                    <a:pt x="244" y="185"/>
                    <a:pt x="244" y="185"/>
                  </a:cubicBezTo>
                  <a:cubicBezTo>
                    <a:pt x="244" y="185"/>
                    <a:pt x="244" y="173"/>
                    <a:pt x="255" y="173"/>
                  </a:cubicBezTo>
                  <a:cubicBezTo>
                    <a:pt x="255" y="162"/>
                    <a:pt x="269" y="162"/>
                    <a:pt x="280" y="140"/>
                  </a:cubicBezTo>
                  <a:cubicBezTo>
                    <a:pt x="291" y="129"/>
                    <a:pt x="291" y="115"/>
                    <a:pt x="291" y="104"/>
                  </a:cubicBezTo>
                  <a:cubicBezTo>
                    <a:pt x="291" y="92"/>
                    <a:pt x="291" y="81"/>
                    <a:pt x="280" y="70"/>
                  </a:cubicBezTo>
                  <a:cubicBezTo>
                    <a:pt x="269" y="45"/>
                    <a:pt x="255" y="34"/>
                    <a:pt x="233" y="22"/>
                  </a:cubicBezTo>
                  <a:cubicBezTo>
                    <a:pt x="210" y="11"/>
                    <a:pt x="185" y="0"/>
                    <a:pt x="15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7" name="Google Shape;135;p17">
              <a:extLst>
                <a:ext uri="{FF2B5EF4-FFF2-40B4-BE49-F238E27FC236}">
                  <a16:creationId xmlns:a16="http://schemas.microsoft.com/office/drawing/2014/main" xmlns="" id="{97FE51AF-26C8-FA24-73F2-296C98A59B45}"/>
                </a:ext>
              </a:extLst>
            </p:cNvPr>
            <p:cNvSpPr/>
            <p:nvPr/>
          </p:nvSpPr>
          <p:spPr>
            <a:xfrm>
              <a:off x="2571711" y="2102458"/>
              <a:ext cx="11066" cy="10375"/>
            </a:xfrm>
            <a:custGeom>
              <a:avLst/>
              <a:gdLst/>
              <a:ahLst/>
              <a:cxnLst/>
              <a:rect l="l" t="t" r="r" b="b"/>
              <a:pathLst>
                <a:path w="48" h="45" extrusionOk="0">
                  <a:moveTo>
                    <a:pt x="31" y="0"/>
                  </a:moveTo>
                  <a:cubicBezTo>
                    <a:pt x="25" y="0"/>
                    <a:pt x="20" y="3"/>
                    <a:pt x="14" y="8"/>
                  </a:cubicBezTo>
                  <a:lnTo>
                    <a:pt x="0" y="8"/>
                  </a:lnTo>
                  <a:lnTo>
                    <a:pt x="0" y="34"/>
                  </a:lnTo>
                  <a:lnTo>
                    <a:pt x="0" y="45"/>
                  </a:lnTo>
                  <a:lnTo>
                    <a:pt x="25" y="45"/>
                  </a:lnTo>
                  <a:cubicBezTo>
                    <a:pt x="36" y="45"/>
                    <a:pt x="48" y="45"/>
                    <a:pt x="48" y="34"/>
                  </a:cubicBezTo>
                  <a:lnTo>
                    <a:pt x="48" y="8"/>
                  </a:lnTo>
                  <a:cubicBezTo>
                    <a:pt x="42" y="3"/>
                    <a:pt x="36" y="0"/>
                    <a:pt x="31" y="0"/>
                  </a:cubicBezTo>
                  <a:close/>
                </a:path>
              </a:pathLst>
            </a:custGeom>
            <a:solidFill>
              <a:srgbClr val="78D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8" name="Google Shape;136;p17">
              <a:extLst>
                <a:ext uri="{FF2B5EF4-FFF2-40B4-BE49-F238E27FC236}">
                  <a16:creationId xmlns:a16="http://schemas.microsoft.com/office/drawing/2014/main" xmlns="" id="{C6C43D12-9A58-6061-9B81-DA437DE2D24E}"/>
                </a:ext>
              </a:extLst>
            </p:cNvPr>
            <p:cNvSpPr/>
            <p:nvPr/>
          </p:nvSpPr>
          <p:spPr>
            <a:xfrm>
              <a:off x="2566409" y="2096463"/>
              <a:ext cx="21441" cy="21672"/>
            </a:xfrm>
            <a:custGeom>
              <a:avLst/>
              <a:gdLst/>
              <a:ahLst/>
              <a:cxnLst/>
              <a:rect l="l" t="t" r="r" b="b"/>
              <a:pathLst>
                <a:path w="93" h="94" extrusionOk="0">
                  <a:moveTo>
                    <a:pt x="59" y="1"/>
                  </a:moveTo>
                  <a:cubicBezTo>
                    <a:pt x="52" y="1"/>
                    <a:pt x="39" y="6"/>
                    <a:pt x="30" y="12"/>
                  </a:cubicBezTo>
                  <a:lnTo>
                    <a:pt x="30" y="12"/>
                  </a:lnTo>
                  <a:cubicBezTo>
                    <a:pt x="20" y="12"/>
                    <a:pt x="12" y="14"/>
                    <a:pt x="12" y="23"/>
                  </a:cubicBezTo>
                  <a:cubicBezTo>
                    <a:pt x="1" y="34"/>
                    <a:pt x="1" y="46"/>
                    <a:pt x="1" y="46"/>
                  </a:cubicBezTo>
                  <a:lnTo>
                    <a:pt x="1" y="60"/>
                  </a:lnTo>
                  <a:cubicBezTo>
                    <a:pt x="1" y="60"/>
                    <a:pt x="1" y="71"/>
                    <a:pt x="12" y="82"/>
                  </a:cubicBezTo>
                  <a:lnTo>
                    <a:pt x="23" y="93"/>
                  </a:lnTo>
                  <a:lnTo>
                    <a:pt x="48" y="93"/>
                  </a:lnTo>
                  <a:cubicBezTo>
                    <a:pt x="71" y="93"/>
                    <a:pt x="82" y="93"/>
                    <a:pt x="93" y="71"/>
                  </a:cubicBezTo>
                  <a:lnTo>
                    <a:pt x="93" y="46"/>
                  </a:lnTo>
                  <a:lnTo>
                    <a:pt x="93" y="23"/>
                  </a:lnTo>
                  <a:lnTo>
                    <a:pt x="82" y="23"/>
                  </a:lnTo>
                  <a:lnTo>
                    <a:pt x="82" y="12"/>
                  </a:lnTo>
                  <a:cubicBezTo>
                    <a:pt x="71" y="12"/>
                    <a:pt x="59" y="1"/>
                    <a:pt x="5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9" name="Google Shape;137;p17">
              <a:extLst>
                <a:ext uri="{FF2B5EF4-FFF2-40B4-BE49-F238E27FC236}">
                  <a16:creationId xmlns:a16="http://schemas.microsoft.com/office/drawing/2014/main" xmlns="" id="{07C44F8B-36F7-2C7A-78E4-B224D24A67BB}"/>
                </a:ext>
              </a:extLst>
            </p:cNvPr>
            <p:cNvSpPr/>
            <p:nvPr/>
          </p:nvSpPr>
          <p:spPr>
            <a:xfrm>
              <a:off x="2561337" y="2120441"/>
              <a:ext cx="10605" cy="11067"/>
            </a:xfrm>
            <a:custGeom>
              <a:avLst/>
              <a:gdLst/>
              <a:ahLst/>
              <a:cxnLst/>
              <a:rect l="l" t="t" r="r" b="b"/>
              <a:pathLst>
                <a:path w="46" h="48" extrusionOk="0">
                  <a:moveTo>
                    <a:pt x="11" y="0"/>
                  </a:moveTo>
                  <a:cubicBezTo>
                    <a:pt x="0" y="12"/>
                    <a:pt x="0" y="26"/>
                    <a:pt x="0" y="37"/>
                  </a:cubicBezTo>
                  <a:lnTo>
                    <a:pt x="0" y="48"/>
                  </a:lnTo>
                  <a:cubicBezTo>
                    <a:pt x="11" y="48"/>
                    <a:pt x="23" y="48"/>
                    <a:pt x="34" y="37"/>
                  </a:cubicBezTo>
                  <a:cubicBezTo>
                    <a:pt x="45" y="37"/>
                    <a:pt x="45" y="12"/>
                    <a:pt x="34" y="0"/>
                  </a:cubicBezTo>
                  <a:close/>
                </a:path>
              </a:pathLst>
            </a:custGeom>
            <a:solidFill>
              <a:srgbClr val="78D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0" name="Google Shape;138;p17">
              <a:extLst>
                <a:ext uri="{FF2B5EF4-FFF2-40B4-BE49-F238E27FC236}">
                  <a16:creationId xmlns:a16="http://schemas.microsoft.com/office/drawing/2014/main" xmlns="" id="{378A1A96-9491-4238-61D7-DAA69AB02913}"/>
                </a:ext>
              </a:extLst>
            </p:cNvPr>
            <p:cNvSpPr/>
            <p:nvPr/>
          </p:nvSpPr>
          <p:spPr>
            <a:xfrm>
              <a:off x="2555573" y="2115369"/>
              <a:ext cx="19597" cy="21442"/>
            </a:xfrm>
            <a:custGeom>
              <a:avLst/>
              <a:gdLst/>
              <a:ahLst/>
              <a:cxnLst/>
              <a:rect l="l" t="t" r="r" b="b"/>
              <a:pathLst>
                <a:path w="85" h="93" extrusionOk="0">
                  <a:moveTo>
                    <a:pt x="48" y="0"/>
                  </a:moveTo>
                  <a:cubicBezTo>
                    <a:pt x="36" y="0"/>
                    <a:pt x="25" y="0"/>
                    <a:pt x="25" y="11"/>
                  </a:cubicBezTo>
                  <a:cubicBezTo>
                    <a:pt x="0" y="22"/>
                    <a:pt x="0" y="34"/>
                    <a:pt x="0" y="59"/>
                  </a:cubicBezTo>
                  <a:lnTo>
                    <a:pt x="0" y="70"/>
                  </a:lnTo>
                  <a:lnTo>
                    <a:pt x="14" y="81"/>
                  </a:lnTo>
                  <a:cubicBezTo>
                    <a:pt x="25" y="92"/>
                    <a:pt x="36" y="92"/>
                    <a:pt x="36" y="92"/>
                  </a:cubicBezTo>
                  <a:cubicBezTo>
                    <a:pt x="59" y="92"/>
                    <a:pt x="70" y="92"/>
                    <a:pt x="84" y="81"/>
                  </a:cubicBezTo>
                  <a:lnTo>
                    <a:pt x="84" y="48"/>
                  </a:lnTo>
                  <a:cubicBezTo>
                    <a:pt x="84" y="34"/>
                    <a:pt x="84" y="22"/>
                    <a:pt x="70" y="11"/>
                  </a:cubicBezTo>
                  <a:lnTo>
                    <a:pt x="5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Google Shape;139;p17">
              <a:extLst>
                <a:ext uri="{FF2B5EF4-FFF2-40B4-BE49-F238E27FC236}">
                  <a16:creationId xmlns:a16="http://schemas.microsoft.com/office/drawing/2014/main" xmlns="" id="{C5595931-70D7-9C61-00FA-EA993FCD54B5}"/>
                </a:ext>
              </a:extLst>
            </p:cNvPr>
            <p:cNvSpPr/>
            <p:nvPr/>
          </p:nvSpPr>
          <p:spPr>
            <a:xfrm>
              <a:off x="2601222" y="2064878"/>
              <a:ext cx="99598" cy="85997"/>
            </a:xfrm>
            <a:custGeom>
              <a:avLst/>
              <a:gdLst/>
              <a:ahLst/>
              <a:cxnLst/>
              <a:rect l="l" t="t" r="r" b="b"/>
              <a:pathLst>
                <a:path w="432" h="373" extrusionOk="0">
                  <a:moveTo>
                    <a:pt x="12" y="1"/>
                  </a:moveTo>
                  <a:cubicBezTo>
                    <a:pt x="9" y="1"/>
                    <a:pt x="6" y="4"/>
                    <a:pt x="1" y="9"/>
                  </a:cubicBezTo>
                  <a:lnTo>
                    <a:pt x="1" y="20"/>
                  </a:lnTo>
                  <a:cubicBezTo>
                    <a:pt x="1" y="43"/>
                    <a:pt x="1" y="79"/>
                    <a:pt x="12" y="102"/>
                  </a:cubicBezTo>
                  <a:cubicBezTo>
                    <a:pt x="26" y="113"/>
                    <a:pt x="37" y="127"/>
                    <a:pt x="48" y="149"/>
                  </a:cubicBezTo>
                  <a:cubicBezTo>
                    <a:pt x="59" y="160"/>
                    <a:pt x="71" y="197"/>
                    <a:pt x="59" y="219"/>
                  </a:cubicBezTo>
                  <a:cubicBezTo>
                    <a:pt x="59" y="219"/>
                    <a:pt x="48" y="230"/>
                    <a:pt x="59" y="241"/>
                  </a:cubicBezTo>
                  <a:cubicBezTo>
                    <a:pt x="59" y="253"/>
                    <a:pt x="71" y="253"/>
                    <a:pt x="82" y="253"/>
                  </a:cubicBezTo>
                  <a:cubicBezTo>
                    <a:pt x="96" y="267"/>
                    <a:pt x="107" y="289"/>
                    <a:pt x="107" y="300"/>
                  </a:cubicBezTo>
                  <a:cubicBezTo>
                    <a:pt x="129" y="336"/>
                    <a:pt x="177" y="370"/>
                    <a:pt x="222" y="370"/>
                  </a:cubicBezTo>
                  <a:cubicBezTo>
                    <a:pt x="228" y="372"/>
                    <a:pt x="235" y="373"/>
                    <a:pt x="243" y="373"/>
                  </a:cubicBezTo>
                  <a:cubicBezTo>
                    <a:pt x="275" y="373"/>
                    <a:pt x="312" y="355"/>
                    <a:pt x="339" y="336"/>
                  </a:cubicBezTo>
                  <a:cubicBezTo>
                    <a:pt x="375" y="300"/>
                    <a:pt x="398" y="253"/>
                    <a:pt x="420" y="219"/>
                  </a:cubicBezTo>
                  <a:lnTo>
                    <a:pt x="431" y="208"/>
                  </a:lnTo>
                  <a:cubicBezTo>
                    <a:pt x="431" y="208"/>
                    <a:pt x="420" y="197"/>
                    <a:pt x="409" y="197"/>
                  </a:cubicBezTo>
                  <a:cubicBezTo>
                    <a:pt x="387" y="197"/>
                    <a:pt x="350" y="208"/>
                    <a:pt x="328" y="208"/>
                  </a:cubicBezTo>
                  <a:cubicBezTo>
                    <a:pt x="291" y="208"/>
                    <a:pt x="269" y="183"/>
                    <a:pt x="247" y="160"/>
                  </a:cubicBezTo>
                  <a:lnTo>
                    <a:pt x="236" y="149"/>
                  </a:lnTo>
                  <a:cubicBezTo>
                    <a:pt x="222" y="138"/>
                    <a:pt x="210" y="138"/>
                    <a:pt x="199" y="138"/>
                  </a:cubicBezTo>
                  <a:lnTo>
                    <a:pt x="152" y="138"/>
                  </a:lnTo>
                  <a:lnTo>
                    <a:pt x="140" y="127"/>
                  </a:lnTo>
                  <a:lnTo>
                    <a:pt x="129" y="113"/>
                  </a:lnTo>
                  <a:cubicBezTo>
                    <a:pt x="107" y="79"/>
                    <a:pt x="82" y="57"/>
                    <a:pt x="59" y="32"/>
                  </a:cubicBezTo>
                  <a:cubicBezTo>
                    <a:pt x="48" y="20"/>
                    <a:pt x="37" y="9"/>
                    <a:pt x="26" y="9"/>
                  </a:cubicBezTo>
                  <a:cubicBezTo>
                    <a:pt x="19" y="4"/>
                    <a:pt x="15" y="1"/>
                    <a:pt x="12" y="1"/>
                  </a:cubicBezTo>
                  <a:close/>
                </a:path>
              </a:pathLst>
            </a:custGeom>
            <a:solidFill>
              <a:srgbClr val="78D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2" name="Google Shape;140;p17">
              <a:extLst>
                <a:ext uri="{FF2B5EF4-FFF2-40B4-BE49-F238E27FC236}">
                  <a16:creationId xmlns:a16="http://schemas.microsoft.com/office/drawing/2014/main" xmlns="" id="{B96FF59D-37C8-64B0-AEA6-2661666C8C4D}"/>
                </a:ext>
              </a:extLst>
            </p:cNvPr>
            <p:cNvSpPr/>
            <p:nvPr/>
          </p:nvSpPr>
          <p:spPr>
            <a:xfrm>
              <a:off x="2596150" y="2061650"/>
              <a:ext cx="110433" cy="93836"/>
            </a:xfrm>
            <a:custGeom>
              <a:avLst/>
              <a:gdLst/>
              <a:ahLst/>
              <a:cxnLst/>
              <a:rect l="l" t="t" r="r" b="b"/>
              <a:pathLst>
                <a:path w="479" h="407" extrusionOk="0">
                  <a:moveTo>
                    <a:pt x="48" y="46"/>
                  </a:moveTo>
                  <a:cubicBezTo>
                    <a:pt x="56" y="47"/>
                    <a:pt x="63" y="50"/>
                    <a:pt x="70" y="57"/>
                  </a:cubicBezTo>
                  <a:cubicBezTo>
                    <a:pt x="93" y="82"/>
                    <a:pt x="104" y="104"/>
                    <a:pt x="129" y="141"/>
                  </a:cubicBezTo>
                  <a:cubicBezTo>
                    <a:pt x="129" y="141"/>
                    <a:pt x="129" y="152"/>
                    <a:pt x="140" y="152"/>
                  </a:cubicBezTo>
                  <a:cubicBezTo>
                    <a:pt x="140" y="163"/>
                    <a:pt x="151" y="163"/>
                    <a:pt x="162" y="163"/>
                  </a:cubicBezTo>
                  <a:cubicBezTo>
                    <a:pt x="162" y="174"/>
                    <a:pt x="174" y="174"/>
                    <a:pt x="174" y="174"/>
                  </a:cubicBezTo>
                  <a:lnTo>
                    <a:pt x="232" y="174"/>
                  </a:lnTo>
                  <a:cubicBezTo>
                    <a:pt x="244" y="174"/>
                    <a:pt x="244" y="185"/>
                    <a:pt x="258" y="197"/>
                  </a:cubicBezTo>
                  <a:cubicBezTo>
                    <a:pt x="280" y="222"/>
                    <a:pt x="302" y="233"/>
                    <a:pt x="339" y="244"/>
                  </a:cubicBezTo>
                  <a:lnTo>
                    <a:pt x="361" y="244"/>
                  </a:lnTo>
                  <a:cubicBezTo>
                    <a:pt x="377" y="244"/>
                    <a:pt x="394" y="239"/>
                    <a:pt x="410" y="235"/>
                  </a:cubicBezTo>
                  <a:lnTo>
                    <a:pt x="410" y="235"/>
                  </a:lnTo>
                  <a:cubicBezTo>
                    <a:pt x="400" y="250"/>
                    <a:pt x="392" y="265"/>
                    <a:pt x="383" y="281"/>
                  </a:cubicBezTo>
                  <a:cubicBezTo>
                    <a:pt x="372" y="303"/>
                    <a:pt x="361" y="314"/>
                    <a:pt x="350" y="325"/>
                  </a:cubicBezTo>
                  <a:cubicBezTo>
                    <a:pt x="327" y="350"/>
                    <a:pt x="291" y="362"/>
                    <a:pt x="258" y="362"/>
                  </a:cubicBezTo>
                  <a:lnTo>
                    <a:pt x="244" y="362"/>
                  </a:lnTo>
                  <a:cubicBezTo>
                    <a:pt x="210" y="362"/>
                    <a:pt x="174" y="336"/>
                    <a:pt x="151" y="303"/>
                  </a:cubicBezTo>
                  <a:cubicBezTo>
                    <a:pt x="151" y="303"/>
                    <a:pt x="140" y="292"/>
                    <a:pt x="140" y="281"/>
                  </a:cubicBezTo>
                  <a:cubicBezTo>
                    <a:pt x="129" y="267"/>
                    <a:pt x="129" y="255"/>
                    <a:pt x="118" y="244"/>
                  </a:cubicBezTo>
                  <a:lnTo>
                    <a:pt x="104" y="244"/>
                  </a:lnTo>
                  <a:lnTo>
                    <a:pt x="104" y="233"/>
                  </a:lnTo>
                  <a:lnTo>
                    <a:pt x="104" y="211"/>
                  </a:lnTo>
                  <a:cubicBezTo>
                    <a:pt x="104" y="185"/>
                    <a:pt x="93" y="163"/>
                    <a:pt x="81" y="141"/>
                  </a:cubicBezTo>
                  <a:cubicBezTo>
                    <a:pt x="70" y="127"/>
                    <a:pt x="59" y="116"/>
                    <a:pt x="59" y="104"/>
                  </a:cubicBezTo>
                  <a:cubicBezTo>
                    <a:pt x="48" y="104"/>
                    <a:pt x="48" y="82"/>
                    <a:pt x="48" y="57"/>
                  </a:cubicBezTo>
                  <a:lnTo>
                    <a:pt x="48" y="46"/>
                  </a:lnTo>
                  <a:close/>
                  <a:moveTo>
                    <a:pt x="34" y="1"/>
                  </a:moveTo>
                  <a:cubicBezTo>
                    <a:pt x="34" y="1"/>
                    <a:pt x="23" y="1"/>
                    <a:pt x="11" y="12"/>
                  </a:cubicBezTo>
                  <a:cubicBezTo>
                    <a:pt x="0" y="23"/>
                    <a:pt x="0" y="34"/>
                    <a:pt x="0" y="34"/>
                  </a:cubicBezTo>
                  <a:lnTo>
                    <a:pt x="0" y="57"/>
                  </a:lnTo>
                  <a:cubicBezTo>
                    <a:pt x="0" y="82"/>
                    <a:pt x="0" y="104"/>
                    <a:pt x="11" y="127"/>
                  </a:cubicBezTo>
                  <a:cubicBezTo>
                    <a:pt x="23" y="152"/>
                    <a:pt x="34" y="163"/>
                    <a:pt x="48" y="174"/>
                  </a:cubicBezTo>
                  <a:cubicBezTo>
                    <a:pt x="59" y="185"/>
                    <a:pt x="70" y="197"/>
                    <a:pt x="59" y="211"/>
                  </a:cubicBezTo>
                  <a:lnTo>
                    <a:pt x="59" y="222"/>
                  </a:lnTo>
                  <a:lnTo>
                    <a:pt x="59" y="244"/>
                  </a:lnTo>
                  <a:lnTo>
                    <a:pt x="59" y="267"/>
                  </a:lnTo>
                  <a:cubicBezTo>
                    <a:pt x="59" y="281"/>
                    <a:pt x="70" y="281"/>
                    <a:pt x="70" y="281"/>
                  </a:cubicBezTo>
                  <a:cubicBezTo>
                    <a:pt x="81" y="292"/>
                    <a:pt x="81" y="292"/>
                    <a:pt x="93" y="292"/>
                  </a:cubicBezTo>
                  <a:lnTo>
                    <a:pt x="104" y="303"/>
                  </a:lnTo>
                  <a:cubicBezTo>
                    <a:pt x="104" y="314"/>
                    <a:pt x="104" y="314"/>
                    <a:pt x="118" y="325"/>
                  </a:cubicBezTo>
                  <a:cubicBezTo>
                    <a:pt x="140" y="373"/>
                    <a:pt x="188" y="406"/>
                    <a:pt x="232" y="406"/>
                  </a:cubicBezTo>
                  <a:lnTo>
                    <a:pt x="258" y="406"/>
                  </a:lnTo>
                  <a:cubicBezTo>
                    <a:pt x="302" y="406"/>
                    <a:pt x="350" y="395"/>
                    <a:pt x="383" y="362"/>
                  </a:cubicBezTo>
                  <a:cubicBezTo>
                    <a:pt x="397" y="350"/>
                    <a:pt x="409" y="325"/>
                    <a:pt x="420" y="303"/>
                  </a:cubicBezTo>
                  <a:cubicBezTo>
                    <a:pt x="442" y="281"/>
                    <a:pt x="453" y="267"/>
                    <a:pt x="467" y="244"/>
                  </a:cubicBezTo>
                  <a:lnTo>
                    <a:pt x="478" y="233"/>
                  </a:lnTo>
                  <a:lnTo>
                    <a:pt x="478" y="222"/>
                  </a:lnTo>
                  <a:cubicBezTo>
                    <a:pt x="478" y="222"/>
                    <a:pt x="478" y="211"/>
                    <a:pt x="467" y="211"/>
                  </a:cubicBezTo>
                  <a:cubicBezTo>
                    <a:pt x="467" y="197"/>
                    <a:pt x="453" y="197"/>
                    <a:pt x="453" y="197"/>
                  </a:cubicBezTo>
                  <a:lnTo>
                    <a:pt x="442" y="185"/>
                  </a:lnTo>
                  <a:lnTo>
                    <a:pt x="431" y="185"/>
                  </a:lnTo>
                  <a:cubicBezTo>
                    <a:pt x="409" y="185"/>
                    <a:pt x="372" y="197"/>
                    <a:pt x="361" y="197"/>
                  </a:cubicBezTo>
                  <a:lnTo>
                    <a:pt x="350" y="197"/>
                  </a:lnTo>
                  <a:cubicBezTo>
                    <a:pt x="327" y="197"/>
                    <a:pt x="302" y="185"/>
                    <a:pt x="291" y="163"/>
                  </a:cubicBezTo>
                  <a:cubicBezTo>
                    <a:pt x="280" y="163"/>
                    <a:pt x="280" y="152"/>
                    <a:pt x="269" y="141"/>
                  </a:cubicBezTo>
                  <a:cubicBezTo>
                    <a:pt x="258" y="127"/>
                    <a:pt x="232" y="127"/>
                    <a:pt x="232" y="127"/>
                  </a:cubicBezTo>
                  <a:lnTo>
                    <a:pt x="174" y="127"/>
                  </a:lnTo>
                  <a:cubicBezTo>
                    <a:pt x="174" y="127"/>
                    <a:pt x="174" y="116"/>
                    <a:pt x="162" y="116"/>
                  </a:cubicBezTo>
                  <a:cubicBezTo>
                    <a:pt x="151" y="82"/>
                    <a:pt x="129" y="46"/>
                    <a:pt x="93" y="23"/>
                  </a:cubicBezTo>
                  <a:cubicBezTo>
                    <a:pt x="81" y="12"/>
                    <a:pt x="70" y="1"/>
                    <a:pt x="4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141;p17">
              <a:extLst>
                <a:ext uri="{FF2B5EF4-FFF2-40B4-BE49-F238E27FC236}">
                  <a16:creationId xmlns:a16="http://schemas.microsoft.com/office/drawing/2014/main" xmlns="" id="{8F7599CF-5A90-F025-A2D0-3A1AE8FA3477}"/>
                </a:ext>
              </a:extLst>
            </p:cNvPr>
            <p:cNvSpPr/>
            <p:nvPr/>
          </p:nvSpPr>
          <p:spPr>
            <a:xfrm>
              <a:off x="2703817" y="2025222"/>
              <a:ext cx="74929" cy="87611"/>
            </a:xfrm>
            <a:custGeom>
              <a:avLst/>
              <a:gdLst/>
              <a:ahLst/>
              <a:cxnLst/>
              <a:rect l="l" t="t" r="r" b="b"/>
              <a:pathLst>
                <a:path w="325" h="380" extrusionOk="0">
                  <a:moveTo>
                    <a:pt x="232" y="0"/>
                  </a:moveTo>
                  <a:cubicBezTo>
                    <a:pt x="225" y="0"/>
                    <a:pt x="217" y="5"/>
                    <a:pt x="210" y="5"/>
                  </a:cubicBezTo>
                  <a:lnTo>
                    <a:pt x="210" y="30"/>
                  </a:lnTo>
                  <a:cubicBezTo>
                    <a:pt x="185" y="53"/>
                    <a:pt x="185" y="100"/>
                    <a:pt x="162" y="123"/>
                  </a:cubicBezTo>
                  <a:cubicBezTo>
                    <a:pt x="140" y="145"/>
                    <a:pt x="115" y="159"/>
                    <a:pt x="93" y="181"/>
                  </a:cubicBezTo>
                  <a:cubicBezTo>
                    <a:pt x="81" y="181"/>
                    <a:pt x="70" y="192"/>
                    <a:pt x="70" y="204"/>
                  </a:cubicBezTo>
                  <a:lnTo>
                    <a:pt x="70" y="240"/>
                  </a:lnTo>
                  <a:cubicBezTo>
                    <a:pt x="70" y="262"/>
                    <a:pt x="45" y="299"/>
                    <a:pt x="23" y="321"/>
                  </a:cubicBezTo>
                  <a:cubicBezTo>
                    <a:pt x="11" y="321"/>
                    <a:pt x="11" y="321"/>
                    <a:pt x="0" y="332"/>
                  </a:cubicBezTo>
                  <a:cubicBezTo>
                    <a:pt x="0" y="332"/>
                    <a:pt x="0" y="343"/>
                    <a:pt x="11" y="343"/>
                  </a:cubicBezTo>
                  <a:cubicBezTo>
                    <a:pt x="11" y="369"/>
                    <a:pt x="45" y="380"/>
                    <a:pt x="70" y="380"/>
                  </a:cubicBezTo>
                  <a:cubicBezTo>
                    <a:pt x="93" y="380"/>
                    <a:pt x="115" y="355"/>
                    <a:pt x="126" y="332"/>
                  </a:cubicBezTo>
                  <a:cubicBezTo>
                    <a:pt x="140" y="332"/>
                    <a:pt x="140" y="321"/>
                    <a:pt x="151" y="310"/>
                  </a:cubicBezTo>
                  <a:cubicBezTo>
                    <a:pt x="162" y="310"/>
                    <a:pt x="174" y="299"/>
                    <a:pt x="185" y="299"/>
                  </a:cubicBezTo>
                  <a:cubicBezTo>
                    <a:pt x="189" y="294"/>
                    <a:pt x="193" y="293"/>
                    <a:pt x="197" y="293"/>
                  </a:cubicBezTo>
                  <a:cubicBezTo>
                    <a:pt x="205" y="293"/>
                    <a:pt x="214" y="299"/>
                    <a:pt x="221" y="299"/>
                  </a:cubicBezTo>
                  <a:lnTo>
                    <a:pt x="221" y="321"/>
                  </a:lnTo>
                  <a:cubicBezTo>
                    <a:pt x="232" y="332"/>
                    <a:pt x="255" y="332"/>
                    <a:pt x="266" y="332"/>
                  </a:cubicBezTo>
                  <a:lnTo>
                    <a:pt x="280" y="332"/>
                  </a:lnTo>
                  <a:lnTo>
                    <a:pt x="280" y="321"/>
                  </a:lnTo>
                  <a:cubicBezTo>
                    <a:pt x="291" y="310"/>
                    <a:pt x="291" y="285"/>
                    <a:pt x="280" y="262"/>
                  </a:cubicBezTo>
                  <a:cubicBezTo>
                    <a:pt x="280" y="240"/>
                    <a:pt x="280" y="215"/>
                    <a:pt x="302" y="204"/>
                  </a:cubicBezTo>
                  <a:lnTo>
                    <a:pt x="313" y="192"/>
                  </a:lnTo>
                  <a:cubicBezTo>
                    <a:pt x="313" y="181"/>
                    <a:pt x="325" y="170"/>
                    <a:pt x="313" y="159"/>
                  </a:cubicBezTo>
                  <a:cubicBezTo>
                    <a:pt x="313" y="145"/>
                    <a:pt x="302" y="134"/>
                    <a:pt x="291" y="134"/>
                  </a:cubicBezTo>
                  <a:lnTo>
                    <a:pt x="280" y="123"/>
                  </a:lnTo>
                  <a:cubicBezTo>
                    <a:pt x="280" y="111"/>
                    <a:pt x="291" y="100"/>
                    <a:pt x="280" y="89"/>
                  </a:cubicBezTo>
                  <a:cubicBezTo>
                    <a:pt x="280" y="64"/>
                    <a:pt x="255" y="64"/>
                    <a:pt x="255" y="41"/>
                  </a:cubicBezTo>
                  <a:lnTo>
                    <a:pt x="255" y="19"/>
                  </a:lnTo>
                  <a:cubicBezTo>
                    <a:pt x="255" y="5"/>
                    <a:pt x="244" y="5"/>
                    <a:pt x="244" y="5"/>
                  </a:cubicBezTo>
                  <a:cubicBezTo>
                    <a:pt x="240" y="1"/>
                    <a:pt x="236" y="0"/>
                    <a:pt x="232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Google Shape;142;p17">
              <a:extLst>
                <a:ext uri="{FF2B5EF4-FFF2-40B4-BE49-F238E27FC236}">
                  <a16:creationId xmlns:a16="http://schemas.microsoft.com/office/drawing/2014/main" xmlns="" id="{E5606A15-ED9D-54AB-25CD-E7CCA010ECBB}"/>
                </a:ext>
              </a:extLst>
            </p:cNvPr>
            <p:cNvSpPr/>
            <p:nvPr/>
          </p:nvSpPr>
          <p:spPr>
            <a:xfrm>
              <a:off x="2698054" y="2021072"/>
              <a:ext cx="83229" cy="97064"/>
            </a:xfrm>
            <a:custGeom>
              <a:avLst/>
              <a:gdLst/>
              <a:ahLst/>
              <a:cxnLst/>
              <a:rect l="l" t="t" r="r" b="b"/>
              <a:pathLst>
                <a:path w="361" h="421" extrusionOk="0">
                  <a:moveTo>
                    <a:pt x="257" y="48"/>
                  </a:moveTo>
                  <a:lnTo>
                    <a:pt x="257" y="59"/>
                  </a:lnTo>
                  <a:lnTo>
                    <a:pt x="257" y="71"/>
                  </a:lnTo>
                  <a:cubicBezTo>
                    <a:pt x="257" y="82"/>
                    <a:pt x="269" y="93"/>
                    <a:pt x="280" y="93"/>
                  </a:cubicBezTo>
                  <a:lnTo>
                    <a:pt x="280" y="107"/>
                  </a:lnTo>
                  <a:lnTo>
                    <a:pt x="280" y="118"/>
                  </a:lnTo>
                  <a:lnTo>
                    <a:pt x="280" y="141"/>
                  </a:lnTo>
                  <a:lnTo>
                    <a:pt x="280" y="152"/>
                  </a:lnTo>
                  <a:lnTo>
                    <a:pt x="291" y="163"/>
                  </a:lnTo>
                  <a:lnTo>
                    <a:pt x="305" y="163"/>
                  </a:lnTo>
                  <a:lnTo>
                    <a:pt x="316" y="177"/>
                  </a:lnTo>
                  <a:lnTo>
                    <a:pt x="316" y="188"/>
                  </a:lnTo>
                  <a:lnTo>
                    <a:pt x="305" y="199"/>
                  </a:lnTo>
                  <a:cubicBezTo>
                    <a:pt x="291" y="222"/>
                    <a:pt x="280" y="247"/>
                    <a:pt x="280" y="258"/>
                  </a:cubicBezTo>
                  <a:lnTo>
                    <a:pt x="280" y="280"/>
                  </a:lnTo>
                  <a:cubicBezTo>
                    <a:pt x="291" y="292"/>
                    <a:pt x="291" y="303"/>
                    <a:pt x="291" y="317"/>
                  </a:cubicBezTo>
                  <a:cubicBezTo>
                    <a:pt x="291" y="322"/>
                    <a:pt x="291" y="325"/>
                    <a:pt x="290" y="328"/>
                  </a:cubicBezTo>
                  <a:lnTo>
                    <a:pt x="269" y="328"/>
                  </a:lnTo>
                  <a:cubicBezTo>
                    <a:pt x="269" y="328"/>
                    <a:pt x="269" y="317"/>
                    <a:pt x="257" y="303"/>
                  </a:cubicBezTo>
                  <a:lnTo>
                    <a:pt x="246" y="292"/>
                  </a:lnTo>
                  <a:lnTo>
                    <a:pt x="199" y="292"/>
                  </a:lnTo>
                  <a:cubicBezTo>
                    <a:pt x="187" y="292"/>
                    <a:pt x="176" y="303"/>
                    <a:pt x="165" y="317"/>
                  </a:cubicBezTo>
                  <a:cubicBezTo>
                    <a:pt x="151" y="328"/>
                    <a:pt x="140" y="339"/>
                    <a:pt x="140" y="339"/>
                  </a:cubicBezTo>
                  <a:cubicBezTo>
                    <a:pt x="129" y="361"/>
                    <a:pt x="106" y="373"/>
                    <a:pt x="95" y="373"/>
                  </a:cubicBezTo>
                  <a:lnTo>
                    <a:pt x="81" y="373"/>
                  </a:lnTo>
                  <a:cubicBezTo>
                    <a:pt x="81" y="373"/>
                    <a:pt x="70" y="373"/>
                    <a:pt x="59" y="361"/>
                  </a:cubicBezTo>
                  <a:cubicBezTo>
                    <a:pt x="95" y="339"/>
                    <a:pt x="118" y="303"/>
                    <a:pt x="118" y="258"/>
                  </a:cubicBezTo>
                  <a:lnTo>
                    <a:pt x="118" y="247"/>
                  </a:lnTo>
                  <a:lnTo>
                    <a:pt x="118" y="233"/>
                  </a:lnTo>
                  <a:lnTo>
                    <a:pt x="118" y="222"/>
                  </a:lnTo>
                  <a:cubicBezTo>
                    <a:pt x="118" y="222"/>
                    <a:pt x="129" y="222"/>
                    <a:pt x="129" y="210"/>
                  </a:cubicBezTo>
                  <a:cubicBezTo>
                    <a:pt x="151" y="199"/>
                    <a:pt x="187" y="188"/>
                    <a:pt x="199" y="152"/>
                  </a:cubicBezTo>
                  <a:cubicBezTo>
                    <a:pt x="221" y="118"/>
                    <a:pt x="235" y="82"/>
                    <a:pt x="246" y="48"/>
                  </a:cubicBezTo>
                  <a:close/>
                  <a:moveTo>
                    <a:pt x="257" y="1"/>
                  </a:moveTo>
                  <a:cubicBezTo>
                    <a:pt x="246" y="1"/>
                    <a:pt x="235" y="1"/>
                    <a:pt x="221" y="12"/>
                  </a:cubicBezTo>
                  <a:cubicBezTo>
                    <a:pt x="210" y="12"/>
                    <a:pt x="210" y="23"/>
                    <a:pt x="210" y="37"/>
                  </a:cubicBezTo>
                  <a:cubicBezTo>
                    <a:pt x="187" y="71"/>
                    <a:pt x="187" y="107"/>
                    <a:pt x="165" y="129"/>
                  </a:cubicBezTo>
                  <a:cubicBezTo>
                    <a:pt x="151" y="152"/>
                    <a:pt x="129" y="163"/>
                    <a:pt x="106" y="177"/>
                  </a:cubicBezTo>
                  <a:cubicBezTo>
                    <a:pt x="106" y="177"/>
                    <a:pt x="95" y="188"/>
                    <a:pt x="81" y="188"/>
                  </a:cubicBezTo>
                  <a:cubicBezTo>
                    <a:pt x="81" y="199"/>
                    <a:pt x="70" y="210"/>
                    <a:pt x="70" y="222"/>
                  </a:cubicBezTo>
                  <a:lnTo>
                    <a:pt x="70" y="233"/>
                  </a:lnTo>
                  <a:lnTo>
                    <a:pt x="70" y="258"/>
                  </a:lnTo>
                  <a:cubicBezTo>
                    <a:pt x="70" y="280"/>
                    <a:pt x="59" y="303"/>
                    <a:pt x="36" y="317"/>
                  </a:cubicBezTo>
                  <a:cubicBezTo>
                    <a:pt x="36" y="317"/>
                    <a:pt x="25" y="317"/>
                    <a:pt x="25" y="328"/>
                  </a:cubicBezTo>
                  <a:cubicBezTo>
                    <a:pt x="11" y="328"/>
                    <a:pt x="11" y="328"/>
                    <a:pt x="11" y="339"/>
                  </a:cubicBezTo>
                  <a:lnTo>
                    <a:pt x="0" y="350"/>
                  </a:lnTo>
                  <a:cubicBezTo>
                    <a:pt x="0" y="361"/>
                    <a:pt x="11" y="361"/>
                    <a:pt x="11" y="373"/>
                  </a:cubicBezTo>
                  <a:cubicBezTo>
                    <a:pt x="11" y="387"/>
                    <a:pt x="25" y="398"/>
                    <a:pt x="36" y="409"/>
                  </a:cubicBezTo>
                  <a:cubicBezTo>
                    <a:pt x="59" y="420"/>
                    <a:pt x="70" y="420"/>
                    <a:pt x="81" y="420"/>
                  </a:cubicBezTo>
                  <a:lnTo>
                    <a:pt x="95" y="420"/>
                  </a:lnTo>
                  <a:cubicBezTo>
                    <a:pt x="129" y="409"/>
                    <a:pt x="151" y="398"/>
                    <a:pt x="176" y="373"/>
                  </a:cubicBezTo>
                  <a:cubicBezTo>
                    <a:pt x="187" y="361"/>
                    <a:pt x="187" y="350"/>
                    <a:pt x="187" y="350"/>
                  </a:cubicBezTo>
                  <a:cubicBezTo>
                    <a:pt x="199" y="339"/>
                    <a:pt x="210" y="339"/>
                    <a:pt x="210" y="339"/>
                  </a:cubicBezTo>
                  <a:lnTo>
                    <a:pt x="221" y="339"/>
                  </a:lnTo>
                  <a:lnTo>
                    <a:pt x="235" y="350"/>
                  </a:lnTo>
                  <a:cubicBezTo>
                    <a:pt x="235" y="361"/>
                    <a:pt x="246" y="373"/>
                    <a:pt x="257" y="373"/>
                  </a:cubicBezTo>
                  <a:lnTo>
                    <a:pt x="316" y="373"/>
                  </a:lnTo>
                  <a:lnTo>
                    <a:pt x="327" y="361"/>
                  </a:lnTo>
                  <a:lnTo>
                    <a:pt x="327" y="350"/>
                  </a:lnTo>
                  <a:cubicBezTo>
                    <a:pt x="338" y="339"/>
                    <a:pt x="338" y="328"/>
                    <a:pt x="338" y="317"/>
                  </a:cubicBezTo>
                  <a:cubicBezTo>
                    <a:pt x="338" y="303"/>
                    <a:pt x="327" y="292"/>
                    <a:pt x="327" y="280"/>
                  </a:cubicBezTo>
                  <a:lnTo>
                    <a:pt x="327" y="258"/>
                  </a:lnTo>
                  <a:cubicBezTo>
                    <a:pt x="327" y="247"/>
                    <a:pt x="338" y="233"/>
                    <a:pt x="338" y="233"/>
                  </a:cubicBezTo>
                  <a:lnTo>
                    <a:pt x="350" y="222"/>
                  </a:lnTo>
                  <a:cubicBezTo>
                    <a:pt x="361" y="210"/>
                    <a:pt x="361" y="199"/>
                    <a:pt x="361" y="188"/>
                  </a:cubicBezTo>
                  <a:lnTo>
                    <a:pt x="361" y="163"/>
                  </a:lnTo>
                  <a:cubicBezTo>
                    <a:pt x="361" y="144"/>
                    <a:pt x="345" y="133"/>
                    <a:pt x="327" y="130"/>
                  </a:cubicBezTo>
                  <a:lnTo>
                    <a:pt x="327" y="130"/>
                  </a:lnTo>
                  <a:lnTo>
                    <a:pt x="327" y="118"/>
                  </a:lnTo>
                  <a:lnTo>
                    <a:pt x="327" y="93"/>
                  </a:lnTo>
                  <a:cubicBezTo>
                    <a:pt x="327" y="82"/>
                    <a:pt x="316" y="71"/>
                    <a:pt x="316" y="71"/>
                  </a:cubicBezTo>
                  <a:lnTo>
                    <a:pt x="305" y="59"/>
                  </a:lnTo>
                  <a:lnTo>
                    <a:pt x="305" y="48"/>
                  </a:lnTo>
                  <a:lnTo>
                    <a:pt x="305" y="37"/>
                  </a:lnTo>
                  <a:cubicBezTo>
                    <a:pt x="305" y="12"/>
                    <a:pt x="291" y="1"/>
                    <a:pt x="269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5" name="Google Shape;143;p17">
              <a:extLst>
                <a:ext uri="{FF2B5EF4-FFF2-40B4-BE49-F238E27FC236}">
                  <a16:creationId xmlns:a16="http://schemas.microsoft.com/office/drawing/2014/main" xmlns="" id="{7D17E560-0263-5FFA-CE4F-8B740957A2AE}"/>
                </a:ext>
              </a:extLst>
            </p:cNvPr>
            <p:cNvSpPr/>
            <p:nvPr/>
          </p:nvSpPr>
          <p:spPr>
            <a:xfrm>
              <a:off x="2759841" y="2112602"/>
              <a:ext cx="18905" cy="21672"/>
            </a:xfrm>
            <a:custGeom>
              <a:avLst/>
              <a:gdLst/>
              <a:ahLst/>
              <a:cxnLst/>
              <a:rect l="l" t="t" r="r" b="b"/>
              <a:pathLst>
                <a:path w="82" h="94" extrusionOk="0">
                  <a:moveTo>
                    <a:pt x="59" y="1"/>
                  </a:moveTo>
                  <a:cubicBezTo>
                    <a:pt x="48" y="1"/>
                    <a:pt x="37" y="1"/>
                    <a:pt x="23" y="12"/>
                  </a:cubicBezTo>
                  <a:lnTo>
                    <a:pt x="12" y="23"/>
                  </a:lnTo>
                  <a:cubicBezTo>
                    <a:pt x="12" y="46"/>
                    <a:pt x="1" y="60"/>
                    <a:pt x="12" y="71"/>
                  </a:cubicBezTo>
                  <a:cubicBezTo>
                    <a:pt x="12" y="93"/>
                    <a:pt x="37" y="93"/>
                    <a:pt x="48" y="93"/>
                  </a:cubicBezTo>
                  <a:cubicBezTo>
                    <a:pt x="59" y="82"/>
                    <a:pt x="70" y="82"/>
                    <a:pt x="82" y="71"/>
                  </a:cubicBezTo>
                  <a:lnTo>
                    <a:pt x="82" y="12"/>
                  </a:lnTo>
                  <a:lnTo>
                    <a:pt x="82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" name="Google Shape;144;p17">
              <a:extLst>
                <a:ext uri="{FF2B5EF4-FFF2-40B4-BE49-F238E27FC236}">
                  <a16:creationId xmlns:a16="http://schemas.microsoft.com/office/drawing/2014/main" xmlns="" id="{5E4ACEB9-B68F-E43A-BFD5-AE172C5676B9}"/>
                </a:ext>
              </a:extLst>
            </p:cNvPr>
            <p:cNvSpPr/>
            <p:nvPr/>
          </p:nvSpPr>
          <p:spPr>
            <a:xfrm>
              <a:off x="2757305" y="2106838"/>
              <a:ext cx="27205" cy="32508"/>
            </a:xfrm>
            <a:custGeom>
              <a:avLst/>
              <a:gdLst/>
              <a:ahLst/>
              <a:cxnLst/>
              <a:rect l="l" t="t" r="r" b="b"/>
              <a:pathLst>
                <a:path w="118" h="141" extrusionOk="0">
                  <a:moveTo>
                    <a:pt x="70" y="48"/>
                  </a:moveTo>
                  <a:lnTo>
                    <a:pt x="70" y="59"/>
                  </a:lnTo>
                  <a:lnTo>
                    <a:pt x="70" y="85"/>
                  </a:lnTo>
                  <a:lnTo>
                    <a:pt x="59" y="96"/>
                  </a:lnTo>
                  <a:lnTo>
                    <a:pt x="48" y="96"/>
                  </a:lnTo>
                  <a:lnTo>
                    <a:pt x="48" y="85"/>
                  </a:lnTo>
                  <a:lnTo>
                    <a:pt x="48" y="59"/>
                  </a:lnTo>
                  <a:cubicBezTo>
                    <a:pt x="48" y="59"/>
                    <a:pt x="48" y="48"/>
                    <a:pt x="59" y="48"/>
                  </a:cubicBezTo>
                  <a:close/>
                  <a:moveTo>
                    <a:pt x="70" y="1"/>
                  </a:moveTo>
                  <a:cubicBezTo>
                    <a:pt x="59" y="1"/>
                    <a:pt x="34" y="1"/>
                    <a:pt x="23" y="15"/>
                  </a:cubicBezTo>
                  <a:cubicBezTo>
                    <a:pt x="12" y="26"/>
                    <a:pt x="12" y="37"/>
                    <a:pt x="0" y="48"/>
                  </a:cubicBezTo>
                  <a:lnTo>
                    <a:pt x="0" y="85"/>
                  </a:lnTo>
                  <a:lnTo>
                    <a:pt x="0" y="107"/>
                  </a:lnTo>
                  <a:cubicBezTo>
                    <a:pt x="0" y="107"/>
                    <a:pt x="0" y="118"/>
                    <a:pt x="12" y="118"/>
                  </a:cubicBezTo>
                  <a:cubicBezTo>
                    <a:pt x="12" y="129"/>
                    <a:pt x="23" y="129"/>
                    <a:pt x="34" y="129"/>
                  </a:cubicBezTo>
                  <a:cubicBezTo>
                    <a:pt x="34" y="140"/>
                    <a:pt x="48" y="140"/>
                    <a:pt x="48" y="140"/>
                  </a:cubicBezTo>
                  <a:lnTo>
                    <a:pt x="59" y="140"/>
                  </a:lnTo>
                  <a:cubicBezTo>
                    <a:pt x="81" y="129"/>
                    <a:pt x="93" y="118"/>
                    <a:pt x="104" y="107"/>
                  </a:cubicBezTo>
                  <a:cubicBezTo>
                    <a:pt x="118" y="96"/>
                    <a:pt x="118" y="71"/>
                    <a:pt x="118" y="59"/>
                  </a:cubicBezTo>
                  <a:lnTo>
                    <a:pt x="118" y="37"/>
                  </a:lnTo>
                  <a:lnTo>
                    <a:pt x="118" y="26"/>
                  </a:lnTo>
                  <a:lnTo>
                    <a:pt x="118" y="15"/>
                  </a:lnTo>
                  <a:cubicBezTo>
                    <a:pt x="104" y="15"/>
                    <a:pt x="104" y="1"/>
                    <a:pt x="93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" name="Google Shape;145;p17">
              <a:extLst>
                <a:ext uri="{FF2B5EF4-FFF2-40B4-BE49-F238E27FC236}">
                  <a16:creationId xmlns:a16="http://schemas.microsoft.com/office/drawing/2014/main" xmlns="" id="{094C0536-6703-969D-AB45-176B5F57A355}"/>
                </a:ext>
              </a:extLst>
            </p:cNvPr>
            <p:cNvSpPr/>
            <p:nvPr/>
          </p:nvSpPr>
          <p:spPr>
            <a:xfrm>
              <a:off x="2752003" y="2139116"/>
              <a:ext cx="10605" cy="11297"/>
            </a:xfrm>
            <a:custGeom>
              <a:avLst/>
              <a:gdLst/>
              <a:ahLst/>
              <a:cxnLst/>
              <a:rect l="l" t="t" r="r" b="b"/>
              <a:pathLst>
                <a:path w="46" h="49" extrusionOk="0">
                  <a:moveTo>
                    <a:pt x="12" y="0"/>
                  </a:moveTo>
                  <a:lnTo>
                    <a:pt x="1" y="14"/>
                  </a:lnTo>
                  <a:lnTo>
                    <a:pt x="1" y="37"/>
                  </a:lnTo>
                  <a:cubicBezTo>
                    <a:pt x="1" y="37"/>
                    <a:pt x="1" y="48"/>
                    <a:pt x="12" y="48"/>
                  </a:cubicBezTo>
                  <a:lnTo>
                    <a:pt x="46" y="48"/>
                  </a:lnTo>
                  <a:lnTo>
                    <a:pt x="46" y="14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8" name="Google Shape;146;p17">
              <a:extLst>
                <a:ext uri="{FF2B5EF4-FFF2-40B4-BE49-F238E27FC236}">
                  <a16:creationId xmlns:a16="http://schemas.microsoft.com/office/drawing/2014/main" xmlns="" id="{4DBE83EE-4765-A2D8-FAE4-389BEFE757A8}"/>
                </a:ext>
              </a:extLst>
            </p:cNvPr>
            <p:cNvSpPr/>
            <p:nvPr/>
          </p:nvSpPr>
          <p:spPr>
            <a:xfrm>
              <a:off x="2746239" y="2134044"/>
              <a:ext cx="22133" cy="21442"/>
            </a:xfrm>
            <a:custGeom>
              <a:avLst/>
              <a:gdLst/>
              <a:ahLst/>
              <a:cxnLst/>
              <a:rect l="l" t="t" r="r" b="b"/>
              <a:pathLst>
                <a:path w="96" h="93" extrusionOk="0">
                  <a:moveTo>
                    <a:pt x="48" y="0"/>
                  </a:moveTo>
                  <a:cubicBezTo>
                    <a:pt x="37" y="0"/>
                    <a:pt x="26" y="0"/>
                    <a:pt x="12" y="11"/>
                  </a:cubicBezTo>
                  <a:lnTo>
                    <a:pt x="1" y="22"/>
                  </a:lnTo>
                  <a:lnTo>
                    <a:pt x="1" y="48"/>
                  </a:lnTo>
                  <a:lnTo>
                    <a:pt x="1" y="59"/>
                  </a:lnTo>
                  <a:cubicBezTo>
                    <a:pt x="1" y="70"/>
                    <a:pt x="12" y="81"/>
                    <a:pt x="26" y="92"/>
                  </a:cubicBezTo>
                  <a:lnTo>
                    <a:pt x="82" y="92"/>
                  </a:lnTo>
                  <a:lnTo>
                    <a:pt x="96" y="70"/>
                  </a:lnTo>
                  <a:lnTo>
                    <a:pt x="96" y="59"/>
                  </a:lnTo>
                  <a:lnTo>
                    <a:pt x="96" y="36"/>
                  </a:lnTo>
                  <a:lnTo>
                    <a:pt x="96" y="22"/>
                  </a:lnTo>
                  <a:lnTo>
                    <a:pt x="82" y="11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9" name="Google Shape;147;p17">
              <a:extLst>
                <a:ext uri="{FF2B5EF4-FFF2-40B4-BE49-F238E27FC236}">
                  <a16:creationId xmlns:a16="http://schemas.microsoft.com/office/drawing/2014/main" xmlns="" id="{A4A8A955-1177-1922-E2A7-A57EA0273D7B}"/>
                </a:ext>
              </a:extLst>
            </p:cNvPr>
            <p:cNvSpPr/>
            <p:nvPr/>
          </p:nvSpPr>
          <p:spPr>
            <a:xfrm>
              <a:off x="2792119" y="2126205"/>
              <a:ext cx="35044" cy="42883"/>
            </a:xfrm>
            <a:custGeom>
              <a:avLst/>
              <a:gdLst/>
              <a:ahLst/>
              <a:cxnLst/>
              <a:rect l="l" t="t" r="r" b="b"/>
              <a:pathLst>
                <a:path w="152" h="186" extrusionOk="0">
                  <a:moveTo>
                    <a:pt x="93" y="1"/>
                  </a:moveTo>
                  <a:lnTo>
                    <a:pt x="81" y="12"/>
                  </a:lnTo>
                  <a:lnTo>
                    <a:pt x="70" y="12"/>
                  </a:lnTo>
                  <a:cubicBezTo>
                    <a:pt x="70" y="23"/>
                    <a:pt x="59" y="34"/>
                    <a:pt x="70" y="45"/>
                  </a:cubicBezTo>
                  <a:lnTo>
                    <a:pt x="70" y="82"/>
                  </a:lnTo>
                  <a:cubicBezTo>
                    <a:pt x="81" y="93"/>
                    <a:pt x="81" y="104"/>
                    <a:pt x="70" y="115"/>
                  </a:cubicBezTo>
                  <a:cubicBezTo>
                    <a:pt x="59" y="126"/>
                    <a:pt x="48" y="126"/>
                    <a:pt x="37" y="140"/>
                  </a:cubicBezTo>
                  <a:lnTo>
                    <a:pt x="23" y="152"/>
                  </a:lnTo>
                  <a:cubicBezTo>
                    <a:pt x="12" y="163"/>
                    <a:pt x="0" y="174"/>
                    <a:pt x="0" y="185"/>
                  </a:cubicBezTo>
                  <a:lnTo>
                    <a:pt x="59" y="185"/>
                  </a:lnTo>
                  <a:cubicBezTo>
                    <a:pt x="81" y="174"/>
                    <a:pt x="93" y="152"/>
                    <a:pt x="129" y="126"/>
                  </a:cubicBezTo>
                  <a:lnTo>
                    <a:pt x="140" y="126"/>
                  </a:lnTo>
                  <a:cubicBezTo>
                    <a:pt x="140" y="115"/>
                    <a:pt x="151" y="104"/>
                    <a:pt x="151" y="93"/>
                  </a:cubicBezTo>
                  <a:cubicBezTo>
                    <a:pt x="151" y="70"/>
                    <a:pt x="151" y="34"/>
                    <a:pt x="140" y="12"/>
                  </a:cubicBezTo>
                  <a:lnTo>
                    <a:pt x="129" y="12"/>
                  </a:lnTo>
                  <a:cubicBezTo>
                    <a:pt x="118" y="1"/>
                    <a:pt x="118" y="1"/>
                    <a:pt x="107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0" name="Google Shape;148;p17">
              <a:extLst>
                <a:ext uri="{FF2B5EF4-FFF2-40B4-BE49-F238E27FC236}">
                  <a16:creationId xmlns:a16="http://schemas.microsoft.com/office/drawing/2014/main" xmlns="" id="{0A1DC80E-9153-EA18-4C34-E33F765A2988}"/>
                </a:ext>
              </a:extLst>
            </p:cNvPr>
            <p:cNvSpPr/>
            <p:nvPr/>
          </p:nvSpPr>
          <p:spPr>
            <a:xfrm>
              <a:off x="2786816" y="2120441"/>
              <a:ext cx="46110" cy="54411"/>
            </a:xfrm>
            <a:custGeom>
              <a:avLst/>
              <a:gdLst/>
              <a:ahLst/>
              <a:cxnLst/>
              <a:rect l="l" t="t" r="r" b="b"/>
              <a:pathLst>
                <a:path w="200" h="236" extrusionOk="0">
                  <a:moveTo>
                    <a:pt x="141" y="48"/>
                  </a:moveTo>
                  <a:lnTo>
                    <a:pt x="141" y="59"/>
                  </a:lnTo>
                  <a:cubicBezTo>
                    <a:pt x="152" y="59"/>
                    <a:pt x="152" y="70"/>
                    <a:pt x="152" y="95"/>
                  </a:cubicBezTo>
                  <a:lnTo>
                    <a:pt x="152" y="118"/>
                  </a:lnTo>
                  <a:cubicBezTo>
                    <a:pt x="152" y="129"/>
                    <a:pt x="152" y="129"/>
                    <a:pt x="141" y="129"/>
                  </a:cubicBezTo>
                  <a:lnTo>
                    <a:pt x="130" y="140"/>
                  </a:lnTo>
                  <a:cubicBezTo>
                    <a:pt x="124" y="144"/>
                    <a:pt x="119" y="149"/>
                    <a:pt x="115" y="153"/>
                  </a:cubicBezTo>
                  <a:lnTo>
                    <a:pt x="115" y="153"/>
                  </a:lnTo>
                  <a:cubicBezTo>
                    <a:pt x="115" y="153"/>
                    <a:pt x="115" y="152"/>
                    <a:pt x="116" y="151"/>
                  </a:cubicBezTo>
                  <a:lnTo>
                    <a:pt x="116" y="118"/>
                  </a:lnTo>
                  <a:lnTo>
                    <a:pt x="116" y="107"/>
                  </a:lnTo>
                  <a:lnTo>
                    <a:pt x="116" y="70"/>
                  </a:lnTo>
                  <a:lnTo>
                    <a:pt x="116" y="59"/>
                  </a:lnTo>
                  <a:lnTo>
                    <a:pt x="116" y="48"/>
                  </a:lnTo>
                  <a:close/>
                  <a:moveTo>
                    <a:pt x="82" y="180"/>
                  </a:moveTo>
                  <a:lnTo>
                    <a:pt x="82" y="180"/>
                  </a:lnTo>
                  <a:cubicBezTo>
                    <a:pt x="80" y="185"/>
                    <a:pt x="77" y="188"/>
                    <a:pt x="71" y="188"/>
                  </a:cubicBezTo>
                  <a:cubicBezTo>
                    <a:pt x="74" y="185"/>
                    <a:pt x="78" y="182"/>
                    <a:pt x="82" y="180"/>
                  </a:cubicBezTo>
                  <a:close/>
                  <a:moveTo>
                    <a:pt x="116" y="0"/>
                  </a:moveTo>
                  <a:lnTo>
                    <a:pt x="104" y="12"/>
                  </a:lnTo>
                  <a:lnTo>
                    <a:pt x="82" y="12"/>
                  </a:lnTo>
                  <a:cubicBezTo>
                    <a:pt x="71" y="37"/>
                    <a:pt x="71" y="48"/>
                    <a:pt x="71" y="59"/>
                  </a:cubicBezTo>
                  <a:lnTo>
                    <a:pt x="71" y="70"/>
                  </a:lnTo>
                  <a:lnTo>
                    <a:pt x="71" y="107"/>
                  </a:lnTo>
                  <a:lnTo>
                    <a:pt x="71" y="118"/>
                  </a:lnTo>
                  <a:lnTo>
                    <a:pt x="71" y="129"/>
                  </a:lnTo>
                  <a:cubicBezTo>
                    <a:pt x="71" y="129"/>
                    <a:pt x="71" y="140"/>
                    <a:pt x="46" y="140"/>
                  </a:cubicBezTo>
                  <a:cubicBezTo>
                    <a:pt x="46" y="151"/>
                    <a:pt x="35" y="151"/>
                    <a:pt x="23" y="165"/>
                  </a:cubicBezTo>
                  <a:cubicBezTo>
                    <a:pt x="23" y="165"/>
                    <a:pt x="12" y="165"/>
                    <a:pt x="12" y="177"/>
                  </a:cubicBezTo>
                  <a:cubicBezTo>
                    <a:pt x="12" y="188"/>
                    <a:pt x="1" y="188"/>
                    <a:pt x="1" y="199"/>
                  </a:cubicBezTo>
                  <a:lnTo>
                    <a:pt x="1" y="210"/>
                  </a:lnTo>
                  <a:lnTo>
                    <a:pt x="12" y="235"/>
                  </a:lnTo>
                  <a:lnTo>
                    <a:pt x="82" y="235"/>
                  </a:lnTo>
                  <a:cubicBezTo>
                    <a:pt x="104" y="221"/>
                    <a:pt x="116" y="210"/>
                    <a:pt x="130" y="199"/>
                  </a:cubicBezTo>
                  <a:cubicBezTo>
                    <a:pt x="141" y="188"/>
                    <a:pt x="152" y="188"/>
                    <a:pt x="163" y="177"/>
                  </a:cubicBezTo>
                  <a:cubicBezTo>
                    <a:pt x="163" y="177"/>
                    <a:pt x="174" y="177"/>
                    <a:pt x="174" y="165"/>
                  </a:cubicBezTo>
                  <a:cubicBezTo>
                    <a:pt x="186" y="151"/>
                    <a:pt x="200" y="129"/>
                    <a:pt x="200" y="118"/>
                  </a:cubicBezTo>
                  <a:lnTo>
                    <a:pt x="200" y="95"/>
                  </a:lnTo>
                  <a:cubicBezTo>
                    <a:pt x="200" y="70"/>
                    <a:pt x="200" y="48"/>
                    <a:pt x="174" y="26"/>
                  </a:cubicBezTo>
                  <a:cubicBezTo>
                    <a:pt x="174" y="26"/>
                    <a:pt x="163" y="12"/>
                    <a:pt x="152" y="12"/>
                  </a:cubicBezTo>
                  <a:cubicBezTo>
                    <a:pt x="152" y="0"/>
                    <a:pt x="141" y="0"/>
                    <a:pt x="130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1" name="Google Shape;149;p17">
              <a:extLst>
                <a:ext uri="{FF2B5EF4-FFF2-40B4-BE49-F238E27FC236}">
                  <a16:creationId xmlns:a16="http://schemas.microsoft.com/office/drawing/2014/main" xmlns="" id="{D6CB7F1E-5D43-CB71-9BE1-F1E644A7C375}"/>
                </a:ext>
              </a:extLst>
            </p:cNvPr>
            <p:cNvSpPr/>
            <p:nvPr/>
          </p:nvSpPr>
          <p:spPr>
            <a:xfrm>
              <a:off x="2786816" y="1981187"/>
              <a:ext cx="32508" cy="44497"/>
            </a:xfrm>
            <a:custGeom>
              <a:avLst/>
              <a:gdLst/>
              <a:ahLst/>
              <a:cxnLst/>
              <a:rect l="l" t="t" r="r" b="b"/>
              <a:pathLst>
                <a:path w="141" h="193" extrusionOk="0">
                  <a:moveTo>
                    <a:pt x="82" y="0"/>
                  </a:moveTo>
                  <a:cubicBezTo>
                    <a:pt x="82" y="0"/>
                    <a:pt x="71" y="12"/>
                    <a:pt x="60" y="12"/>
                  </a:cubicBezTo>
                  <a:cubicBezTo>
                    <a:pt x="46" y="34"/>
                    <a:pt x="35" y="56"/>
                    <a:pt x="12" y="81"/>
                  </a:cubicBezTo>
                  <a:cubicBezTo>
                    <a:pt x="12" y="93"/>
                    <a:pt x="1" y="104"/>
                    <a:pt x="1" y="115"/>
                  </a:cubicBezTo>
                  <a:cubicBezTo>
                    <a:pt x="1" y="126"/>
                    <a:pt x="12" y="151"/>
                    <a:pt x="12" y="163"/>
                  </a:cubicBezTo>
                  <a:lnTo>
                    <a:pt x="23" y="174"/>
                  </a:lnTo>
                  <a:cubicBezTo>
                    <a:pt x="36" y="187"/>
                    <a:pt x="51" y="192"/>
                    <a:pt x="64" y="192"/>
                  </a:cubicBezTo>
                  <a:cubicBezTo>
                    <a:pt x="74" y="192"/>
                    <a:pt x="84" y="190"/>
                    <a:pt x="93" y="185"/>
                  </a:cubicBezTo>
                  <a:cubicBezTo>
                    <a:pt x="104" y="185"/>
                    <a:pt x="104" y="174"/>
                    <a:pt x="116" y="174"/>
                  </a:cubicBezTo>
                  <a:cubicBezTo>
                    <a:pt x="130" y="163"/>
                    <a:pt x="141" y="151"/>
                    <a:pt x="141" y="140"/>
                  </a:cubicBezTo>
                  <a:lnTo>
                    <a:pt x="141" y="93"/>
                  </a:lnTo>
                  <a:cubicBezTo>
                    <a:pt x="130" y="81"/>
                    <a:pt x="130" y="81"/>
                    <a:pt x="130" y="70"/>
                  </a:cubicBezTo>
                  <a:cubicBezTo>
                    <a:pt x="116" y="56"/>
                    <a:pt x="104" y="56"/>
                    <a:pt x="93" y="45"/>
                  </a:cubicBezTo>
                  <a:cubicBezTo>
                    <a:pt x="82" y="34"/>
                    <a:pt x="93" y="12"/>
                    <a:pt x="82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2" name="Google Shape;150;p17">
              <a:extLst>
                <a:ext uri="{FF2B5EF4-FFF2-40B4-BE49-F238E27FC236}">
                  <a16:creationId xmlns:a16="http://schemas.microsoft.com/office/drawing/2014/main" xmlns="" id="{E7333A0A-8E3C-D468-70CE-6096829E3F5F}"/>
                </a:ext>
              </a:extLst>
            </p:cNvPr>
            <p:cNvSpPr/>
            <p:nvPr/>
          </p:nvSpPr>
          <p:spPr>
            <a:xfrm>
              <a:off x="2781052" y="1975423"/>
              <a:ext cx="43574" cy="54411"/>
            </a:xfrm>
            <a:custGeom>
              <a:avLst/>
              <a:gdLst/>
              <a:ahLst/>
              <a:cxnLst/>
              <a:rect l="l" t="t" r="r" b="b"/>
              <a:pathLst>
                <a:path w="189" h="236" extrusionOk="0">
                  <a:moveTo>
                    <a:pt x="96" y="66"/>
                  </a:moveTo>
                  <a:lnTo>
                    <a:pt x="96" y="81"/>
                  </a:lnTo>
                  <a:cubicBezTo>
                    <a:pt x="107" y="95"/>
                    <a:pt x="118" y="95"/>
                    <a:pt x="118" y="106"/>
                  </a:cubicBezTo>
                  <a:lnTo>
                    <a:pt x="129" y="106"/>
                  </a:lnTo>
                  <a:cubicBezTo>
                    <a:pt x="129" y="106"/>
                    <a:pt x="129" y="118"/>
                    <a:pt x="141" y="118"/>
                  </a:cubicBezTo>
                  <a:lnTo>
                    <a:pt x="141" y="151"/>
                  </a:lnTo>
                  <a:lnTo>
                    <a:pt x="141" y="165"/>
                  </a:lnTo>
                  <a:cubicBezTo>
                    <a:pt x="141" y="165"/>
                    <a:pt x="129" y="176"/>
                    <a:pt x="129" y="188"/>
                  </a:cubicBezTo>
                  <a:lnTo>
                    <a:pt x="71" y="188"/>
                  </a:lnTo>
                  <a:cubicBezTo>
                    <a:pt x="71" y="188"/>
                    <a:pt x="60" y="188"/>
                    <a:pt x="60" y="176"/>
                  </a:cubicBezTo>
                  <a:cubicBezTo>
                    <a:pt x="60" y="165"/>
                    <a:pt x="48" y="151"/>
                    <a:pt x="48" y="140"/>
                  </a:cubicBezTo>
                  <a:cubicBezTo>
                    <a:pt x="48" y="140"/>
                    <a:pt x="60" y="129"/>
                    <a:pt x="60" y="118"/>
                  </a:cubicBezTo>
                  <a:cubicBezTo>
                    <a:pt x="68" y="101"/>
                    <a:pt x="84" y="83"/>
                    <a:pt x="96" y="66"/>
                  </a:cubicBezTo>
                  <a:close/>
                  <a:moveTo>
                    <a:pt x="107" y="0"/>
                  </a:moveTo>
                  <a:cubicBezTo>
                    <a:pt x="96" y="0"/>
                    <a:pt x="85" y="11"/>
                    <a:pt x="85" y="11"/>
                  </a:cubicBezTo>
                  <a:cubicBezTo>
                    <a:pt x="71" y="11"/>
                    <a:pt x="71" y="25"/>
                    <a:pt x="71" y="25"/>
                  </a:cubicBezTo>
                  <a:cubicBezTo>
                    <a:pt x="48" y="48"/>
                    <a:pt x="37" y="70"/>
                    <a:pt x="26" y="95"/>
                  </a:cubicBezTo>
                  <a:cubicBezTo>
                    <a:pt x="15" y="106"/>
                    <a:pt x="1" y="118"/>
                    <a:pt x="1" y="140"/>
                  </a:cubicBezTo>
                  <a:cubicBezTo>
                    <a:pt x="1" y="165"/>
                    <a:pt x="15" y="188"/>
                    <a:pt x="26" y="199"/>
                  </a:cubicBezTo>
                  <a:cubicBezTo>
                    <a:pt x="26" y="210"/>
                    <a:pt x="26" y="210"/>
                    <a:pt x="37" y="221"/>
                  </a:cubicBezTo>
                  <a:cubicBezTo>
                    <a:pt x="48" y="235"/>
                    <a:pt x="71" y="235"/>
                    <a:pt x="85" y="235"/>
                  </a:cubicBezTo>
                  <a:lnTo>
                    <a:pt x="129" y="235"/>
                  </a:lnTo>
                  <a:cubicBezTo>
                    <a:pt x="141" y="235"/>
                    <a:pt x="141" y="221"/>
                    <a:pt x="155" y="221"/>
                  </a:cubicBezTo>
                  <a:cubicBezTo>
                    <a:pt x="177" y="210"/>
                    <a:pt x="188" y="188"/>
                    <a:pt x="188" y="165"/>
                  </a:cubicBezTo>
                  <a:lnTo>
                    <a:pt x="188" y="151"/>
                  </a:lnTo>
                  <a:lnTo>
                    <a:pt x="188" y="118"/>
                  </a:lnTo>
                  <a:cubicBezTo>
                    <a:pt x="177" y="106"/>
                    <a:pt x="177" y="95"/>
                    <a:pt x="166" y="81"/>
                  </a:cubicBezTo>
                  <a:cubicBezTo>
                    <a:pt x="166" y="70"/>
                    <a:pt x="155" y="59"/>
                    <a:pt x="141" y="59"/>
                  </a:cubicBezTo>
                  <a:lnTo>
                    <a:pt x="141" y="48"/>
                  </a:lnTo>
                  <a:lnTo>
                    <a:pt x="141" y="37"/>
                  </a:lnTo>
                  <a:cubicBezTo>
                    <a:pt x="141" y="25"/>
                    <a:pt x="129" y="11"/>
                    <a:pt x="129" y="11"/>
                  </a:cubicBezTo>
                  <a:lnTo>
                    <a:pt x="118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3" name="Google Shape;151;p17">
              <a:extLst>
                <a:ext uri="{FF2B5EF4-FFF2-40B4-BE49-F238E27FC236}">
                  <a16:creationId xmlns:a16="http://schemas.microsoft.com/office/drawing/2014/main" xmlns="" id="{E241B789-9FB7-349C-EC6F-8B54528F4731}"/>
                </a:ext>
              </a:extLst>
            </p:cNvPr>
            <p:cNvSpPr/>
            <p:nvPr/>
          </p:nvSpPr>
          <p:spPr>
            <a:xfrm>
              <a:off x="2824396" y="1952828"/>
              <a:ext cx="32277" cy="49800"/>
            </a:xfrm>
            <a:custGeom>
              <a:avLst/>
              <a:gdLst/>
              <a:ahLst/>
              <a:cxnLst/>
              <a:rect l="l" t="t" r="r" b="b"/>
              <a:pathLst>
                <a:path w="140" h="216" extrusionOk="0">
                  <a:moveTo>
                    <a:pt x="115" y="1"/>
                  </a:moveTo>
                  <a:cubicBezTo>
                    <a:pt x="113" y="1"/>
                    <a:pt x="110" y="2"/>
                    <a:pt x="106" y="6"/>
                  </a:cubicBezTo>
                  <a:cubicBezTo>
                    <a:pt x="92" y="6"/>
                    <a:pt x="92" y="6"/>
                    <a:pt x="81" y="17"/>
                  </a:cubicBezTo>
                  <a:cubicBezTo>
                    <a:pt x="59" y="28"/>
                    <a:pt x="37" y="54"/>
                    <a:pt x="37" y="87"/>
                  </a:cubicBezTo>
                  <a:cubicBezTo>
                    <a:pt x="37" y="98"/>
                    <a:pt x="37" y="109"/>
                    <a:pt x="23" y="123"/>
                  </a:cubicBezTo>
                  <a:cubicBezTo>
                    <a:pt x="23" y="135"/>
                    <a:pt x="11" y="135"/>
                    <a:pt x="11" y="146"/>
                  </a:cubicBezTo>
                  <a:cubicBezTo>
                    <a:pt x="0" y="146"/>
                    <a:pt x="0" y="168"/>
                    <a:pt x="0" y="179"/>
                  </a:cubicBezTo>
                  <a:cubicBezTo>
                    <a:pt x="0" y="193"/>
                    <a:pt x="0" y="204"/>
                    <a:pt x="11" y="216"/>
                  </a:cubicBezTo>
                  <a:lnTo>
                    <a:pt x="37" y="216"/>
                  </a:lnTo>
                  <a:cubicBezTo>
                    <a:pt x="81" y="204"/>
                    <a:pt x="118" y="157"/>
                    <a:pt x="129" y="109"/>
                  </a:cubicBezTo>
                  <a:cubicBezTo>
                    <a:pt x="140" y="87"/>
                    <a:pt x="140" y="54"/>
                    <a:pt x="140" y="17"/>
                  </a:cubicBezTo>
                  <a:lnTo>
                    <a:pt x="140" y="6"/>
                  </a:lnTo>
                  <a:lnTo>
                    <a:pt x="129" y="6"/>
                  </a:lnTo>
                  <a:cubicBezTo>
                    <a:pt x="121" y="6"/>
                    <a:pt x="119" y="1"/>
                    <a:pt x="115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4" name="Google Shape;152;p17">
              <a:extLst>
                <a:ext uri="{FF2B5EF4-FFF2-40B4-BE49-F238E27FC236}">
                  <a16:creationId xmlns:a16="http://schemas.microsoft.com/office/drawing/2014/main" xmlns="" id="{C552ACC6-0BB1-46D0-B4F4-239938980551}"/>
                </a:ext>
              </a:extLst>
            </p:cNvPr>
            <p:cNvSpPr/>
            <p:nvPr/>
          </p:nvSpPr>
          <p:spPr>
            <a:xfrm>
              <a:off x="2819093" y="1945681"/>
              <a:ext cx="42882" cy="62250"/>
            </a:xfrm>
            <a:custGeom>
              <a:avLst/>
              <a:gdLst/>
              <a:ahLst/>
              <a:cxnLst/>
              <a:rect l="l" t="t" r="r" b="b"/>
              <a:pathLst>
                <a:path w="186" h="270" extrusionOk="0">
                  <a:moveTo>
                    <a:pt x="129" y="48"/>
                  </a:moveTo>
                  <a:cubicBezTo>
                    <a:pt x="135" y="48"/>
                    <a:pt x="138" y="51"/>
                    <a:pt x="141" y="54"/>
                  </a:cubicBezTo>
                  <a:lnTo>
                    <a:pt x="141" y="54"/>
                  </a:lnTo>
                  <a:lnTo>
                    <a:pt x="141" y="85"/>
                  </a:lnTo>
                  <a:lnTo>
                    <a:pt x="141" y="140"/>
                  </a:lnTo>
                  <a:cubicBezTo>
                    <a:pt x="116" y="176"/>
                    <a:pt x="84" y="208"/>
                    <a:pt x="49" y="223"/>
                  </a:cubicBezTo>
                  <a:lnTo>
                    <a:pt x="49" y="223"/>
                  </a:lnTo>
                  <a:cubicBezTo>
                    <a:pt x="46" y="215"/>
                    <a:pt x="46" y="206"/>
                    <a:pt x="46" y="199"/>
                  </a:cubicBezTo>
                  <a:lnTo>
                    <a:pt x="46" y="188"/>
                  </a:lnTo>
                  <a:lnTo>
                    <a:pt x="60" y="188"/>
                  </a:lnTo>
                  <a:cubicBezTo>
                    <a:pt x="60" y="177"/>
                    <a:pt x="60" y="177"/>
                    <a:pt x="71" y="177"/>
                  </a:cubicBezTo>
                  <a:cubicBezTo>
                    <a:pt x="82" y="166"/>
                    <a:pt x="82" y="140"/>
                    <a:pt x="82" y="140"/>
                  </a:cubicBezTo>
                  <a:lnTo>
                    <a:pt x="82" y="118"/>
                  </a:lnTo>
                  <a:cubicBezTo>
                    <a:pt x="82" y="107"/>
                    <a:pt x="82" y="96"/>
                    <a:pt x="93" y="96"/>
                  </a:cubicBezTo>
                  <a:cubicBezTo>
                    <a:pt x="93" y="85"/>
                    <a:pt x="104" y="71"/>
                    <a:pt x="115" y="59"/>
                  </a:cubicBezTo>
                  <a:cubicBezTo>
                    <a:pt x="129" y="59"/>
                    <a:pt x="129" y="48"/>
                    <a:pt x="129" y="48"/>
                  </a:cubicBezTo>
                  <a:close/>
                  <a:moveTo>
                    <a:pt x="129" y="1"/>
                  </a:moveTo>
                  <a:lnTo>
                    <a:pt x="115" y="15"/>
                  </a:lnTo>
                  <a:cubicBezTo>
                    <a:pt x="104" y="15"/>
                    <a:pt x="93" y="26"/>
                    <a:pt x="93" y="26"/>
                  </a:cubicBezTo>
                  <a:cubicBezTo>
                    <a:pt x="82" y="37"/>
                    <a:pt x="71" y="48"/>
                    <a:pt x="60" y="59"/>
                  </a:cubicBezTo>
                  <a:cubicBezTo>
                    <a:pt x="46" y="71"/>
                    <a:pt x="34" y="96"/>
                    <a:pt x="34" y="118"/>
                  </a:cubicBezTo>
                  <a:lnTo>
                    <a:pt x="34" y="140"/>
                  </a:lnTo>
                  <a:cubicBezTo>
                    <a:pt x="23" y="140"/>
                    <a:pt x="23" y="154"/>
                    <a:pt x="12" y="154"/>
                  </a:cubicBezTo>
                  <a:cubicBezTo>
                    <a:pt x="1" y="166"/>
                    <a:pt x="1" y="188"/>
                    <a:pt x="1" y="199"/>
                  </a:cubicBezTo>
                  <a:lnTo>
                    <a:pt x="1" y="210"/>
                  </a:lnTo>
                  <a:cubicBezTo>
                    <a:pt x="1" y="224"/>
                    <a:pt x="12" y="247"/>
                    <a:pt x="12" y="258"/>
                  </a:cubicBezTo>
                  <a:lnTo>
                    <a:pt x="23" y="258"/>
                  </a:lnTo>
                  <a:lnTo>
                    <a:pt x="23" y="269"/>
                  </a:lnTo>
                  <a:lnTo>
                    <a:pt x="60" y="269"/>
                  </a:lnTo>
                  <a:cubicBezTo>
                    <a:pt x="115" y="247"/>
                    <a:pt x="163" y="210"/>
                    <a:pt x="174" y="154"/>
                  </a:cubicBezTo>
                  <a:cubicBezTo>
                    <a:pt x="185" y="129"/>
                    <a:pt x="185" y="107"/>
                    <a:pt x="185" y="85"/>
                  </a:cubicBezTo>
                  <a:lnTo>
                    <a:pt x="185" y="48"/>
                  </a:lnTo>
                  <a:lnTo>
                    <a:pt x="185" y="37"/>
                  </a:lnTo>
                  <a:cubicBezTo>
                    <a:pt x="185" y="37"/>
                    <a:pt x="185" y="26"/>
                    <a:pt x="174" y="26"/>
                  </a:cubicBezTo>
                  <a:lnTo>
                    <a:pt x="174" y="15"/>
                  </a:lnTo>
                  <a:lnTo>
                    <a:pt x="163" y="15"/>
                  </a:lnTo>
                  <a:cubicBezTo>
                    <a:pt x="152" y="15"/>
                    <a:pt x="141" y="1"/>
                    <a:pt x="129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5" name="Google Shape;153;p17">
              <a:extLst>
                <a:ext uri="{FF2B5EF4-FFF2-40B4-BE49-F238E27FC236}">
                  <a16:creationId xmlns:a16="http://schemas.microsoft.com/office/drawing/2014/main" xmlns="" id="{32BB9A4E-A5B8-2338-B622-17E1A1E7967A}"/>
                </a:ext>
              </a:extLst>
            </p:cNvPr>
            <p:cNvSpPr/>
            <p:nvPr/>
          </p:nvSpPr>
          <p:spPr>
            <a:xfrm>
              <a:off x="2845606" y="1910868"/>
              <a:ext cx="13833" cy="16369"/>
            </a:xfrm>
            <a:custGeom>
              <a:avLst/>
              <a:gdLst/>
              <a:ahLst/>
              <a:cxnLst/>
              <a:rect l="l" t="t" r="r" b="b"/>
              <a:pathLst>
                <a:path w="60" h="71" extrusionOk="0">
                  <a:moveTo>
                    <a:pt x="0" y="1"/>
                  </a:moveTo>
                  <a:lnTo>
                    <a:pt x="0" y="48"/>
                  </a:lnTo>
                  <a:lnTo>
                    <a:pt x="0" y="71"/>
                  </a:lnTo>
                  <a:lnTo>
                    <a:pt x="26" y="71"/>
                  </a:lnTo>
                  <a:cubicBezTo>
                    <a:pt x="37" y="71"/>
                    <a:pt x="48" y="71"/>
                    <a:pt x="48" y="59"/>
                  </a:cubicBezTo>
                  <a:cubicBezTo>
                    <a:pt x="59" y="48"/>
                    <a:pt x="59" y="48"/>
                    <a:pt x="59" y="37"/>
                  </a:cubicBezTo>
                  <a:cubicBezTo>
                    <a:pt x="59" y="37"/>
                    <a:pt x="59" y="26"/>
                    <a:pt x="48" y="26"/>
                  </a:cubicBezTo>
                  <a:cubicBezTo>
                    <a:pt x="48" y="26"/>
                    <a:pt x="48" y="12"/>
                    <a:pt x="37" y="12"/>
                  </a:cubicBezTo>
                  <a:cubicBezTo>
                    <a:pt x="26" y="1"/>
                    <a:pt x="26" y="1"/>
                    <a:pt x="14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" name="Google Shape;154;p17">
              <a:extLst>
                <a:ext uri="{FF2B5EF4-FFF2-40B4-BE49-F238E27FC236}">
                  <a16:creationId xmlns:a16="http://schemas.microsoft.com/office/drawing/2014/main" xmlns="" id="{2C9F69FD-6C03-D071-5E20-48F1090EC5CD}"/>
                </a:ext>
              </a:extLst>
            </p:cNvPr>
            <p:cNvSpPr/>
            <p:nvPr/>
          </p:nvSpPr>
          <p:spPr>
            <a:xfrm>
              <a:off x="2840534" y="1905796"/>
              <a:ext cx="24669" cy="27205"/>
            </a:xfrm>
            <a:custGeom>
              <a:avLst/>
              <a:gdLst/>
              <a:ahLst/>
              <a:cxnLst/>
              <a:rect l="l" t="t" r="r" b="b"/>
              <a:pathLst>
                <a:path w="107" h="118" extrusionOk="0">
                  <a:moveTo>
                    <a:pt x="59" y="59"/>
                  </a:moveTo>
                  <a:lnTo>
                    <a:pt x="59" y="70"/>
                  </a:lnTo>
                  <a:lnTo>
                    <a:pt x="48" y="70"/>
                  </a:lnTo>
                  <a:lnTo>
                    <a:pt x="48" y="59"/>
                  </a:lnTo>
                  <a:close/>
                  <a:moveTo>
                    <a:pt x="11" y="0"/>
                  </a:moveTo>
                  <a:lnTo>
                    <a:pt x="11" y="11"/>
                  </a:lnTo>
                  <a:lnTo>
                    <a:pt x="11" y="23"/>
                  </a:lnTo>
                  <a:cubicBezTo>
                    <a:pt x="0" y="34"/>
                    <a:pt x="0" y="48"/>
                    <a:pt x="0" y="59"/>
                  </a:cubicBezTo>
                  <a:lnTo>
                    <a:pt x="0" y="81"/>
                  </a:lnTo>
                  <a:cubicBezTo>
                    <a:pt x="0" y="81"/>
                    <a:pt x="0" y="93"/>
                    <a:pt x="11" y="104"/>
                  </a:cubicBezTo>
                  <a:cubicBezTo>
                    <a:pt x="22" y="118"/>
                    <a:pt x="36" y="118"/>
                    <a:pt x="48" y="118"/>
                  </a:cubicBezTo>
                  <a:cubicBezTo>
                    <a:pt x="70" y="118"/>
                    <a:pt x="92" y="104"/>
                    <a:pt x="92" y="93"/>
                  </a:cubicBezTo>
                  <a:cubicBezTo>
                    <a:pt x="106" y="81"/>
                    <a:pt x="106" y="70"/>
                    <a:pt x="106" y="70"/>
                  </a:cubicBezTo>
                  <a:lnTo>
                    <a:pt x="106" y="59"/>
                  </a:lnTo>
                  <a:cubicBezTo>
                    <a:pt x="106" y="59"/>
                    <a:pt x="106" y="48"/>
                    <a:pt x="92" y="34"/>
                  </a:cubicBezTo>
                  <a:cubicBezTo>
                    <a:pt x="92" y="23"/>
                    <a:pt x="81" y="23"/>
                    <a:pt x="70" y="11"/>
                  </a:cubicBezTo>
                  <a:cubicBezTo>
                    <a:pt x="70" y="11"/>
                    <a:pt x="59" y="0"/>
                    <a:pt x="36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" name="Google Shape;155;p17">
              <a:extLst>
                <a:ext uri="{FF2B5EF4-FFF2-40B4-BE49-F238E27FC236}">
                  <a16:creationId xmlns:a16="http://schemas.microsoft.com/office/drawing/2014/main" xmlns="" id="{6F3D7804-C922-07D1-C084-323F0F42B90F}"/>
                </a:ext>
              </a:extLst>
            </p:cNvPr>
            <p:cNvSpPr/>
            <p:nvPr/>
          </p:nvSpPr>
          <p:spPr>
            <a:xfrm>
              <a:off x="2902322" y="1983262"/>
              <a:ext cx="18905" cy="30433"/>
            </a:xfrm>
            <a:custGeom>
              <a:avLst/>
              <a:gdLst/>
              <a:ahLst/>
              <a:cxnLst/>
              <a:rect l="l" t="t" r="r" b="b"/>
              <a:pathLst>
                <a:path w="82" h="132" extrusionOk="0">
                  <a:moveTo>
                    <a:pt x="22" y="0"/>
                  </a:moveTo>
                  <a:cubicBezTo>
                    <a:pt x="1" y="0"/>
                    <a:pt x="1" y="28"/>
                    <a:pt x="1" y="47"/>
                  </a:cubicBezTo>
                  <a:lnTo>
                    <a:pt x="1" y="117"/>
                  </a:lnTo>
                  <a:lnTo>
                    <a:pt x="1" y="131"/>
                  </a:lnTo>
                  <a:lnTo>
                    <a:pt x="48" y="131"/>
                  </a:lnTo>
                  <a:cubicBezTo>
                    <a:pt x="59" y="117"/>
                    <a:pt x="70" y="106"/>
                    <a:pt x="70" y="84"/>
                  </a:cubicBezTo>
                  <a:cubicBezTo>
                    <a:pt x="82" y="72"/>
                    <a:pt x="70" y="47"/>
                    <a:pt x="70" y="36"/>
                  </a:cubicBezTo>
                  <a:cubicBezTo>
                    <a:pt x="59" y="25"/>
                    <a:pt x="59" y="25"/>
                    <a:pt x="48" y="14"/>
                  </a:cubicBezTo>
                  <a:lnTo>
                    <a:pt x="34" y="3"/>
                  </a:lnTo>
                  <a:cubicBezTo>
                    <a:pt x="29" y="1"/>
                    <a:pt x="26" y="0"/>
                    <a:pt x="22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" name="Google Shape;156;p17">
              <a:extLst>
                <a:ext uri="{FF2B5EF4-FFF2-40B4-BE49-F238E27FC236}">
                  <a16:creationId xmlns:a16="http://schemas.microsoft.com/office/drawing/2014/main" xmlns="" id="{75C22150-BDB4-016F-2159-A488E6F6DB17}"/>
                </a:ext>
              </a:extLst>
            </p:cNvPr>
            <p:cNvSpPr/>
            <p:nvPr/>
          </p:nvSpPr>
          <p:spPr>
            <a:xfrm>
              <a:off x="2897250" y="1977959"/>
              <a:ext cx="26513" cy="40808"/>
            </a:xfrm>
            <a:custGeom>
              <a:avLst/>
              <a:gdLst/>
              <a:ahLst/>
              <a:cxnLst/>
              <a:rect l="l" t="t" r="r" b="b"/>
              <a:pathLst>
                <a:path w="115" h="177" extrusionOk="0">
                  <a:moveTo>
                    <a:pt x="56" y="48"/>
                  </a:moveTo>
                  <a:lnTo>
                    <a:pt x="56" y="59"/>
                  </a:lnTo>
                  <a:cubicBezTo>
                    <a:pt x="56" y="59"/>
                    <a:pt x="70" y="59"/>
                    <a:pt x="70" y="70"/>
                  </a:cubicBezTo>
                  <a:lnTo>
                    <a:pt x="70" y="95"/>
                  </a:lnTo>
                  <a:lnTo>
                    <a:pt x="70" y="107"/>
                  </a:lnTo>
                  <a:cubicBezTo>
                    <a:pt x="70" y="118"/>
                    <a:pt x="56" y="129"/>
                    <a:pt x="56" y="129"/>
                  </a:cubicBezTo>
                  <a:lnTo>
                    <a:pt x="45" y="129"/>
                  </a:lnTo>
                  <a:lnTo>
                    <a:pt x="45" y="107"/>
                  </a:lnTo>
                  <a:lnTo>
                    <a:pt x="45" y="70"/>
                  </a:lnTo>
                  <a:lnTo>
                    <a:pt x="45" y="48"/>
                  </a:lnTo>
                  <a:close/>
                  <a:moveTo>
                    <a:pt x="45" y="0"/>
                  </a:moveTo>
                  <a:cubicBezTo>
                    <a:pt x="34" y="0"/>
                    <a:pt x="23" y="0"/>
                    <a:pt x="23" y="14"/>
                  </a:cubicBezTo>
                  <a:cubicBezTo>
                    <a:pt x="11" y="26"/>
                    <a:pt x="0" y="37"/>
                    <a:pt x="0" y="48"/>
                  </a:cubicBezTo>
                  <a:lnTo>
                    <a:pt x="0" y="70"/>
                  </a:lnTo>
                  <a:lnTo>
                    <a:pt x="0" y="107"/>
                  </a:lnTo>
                  <a:lnTo>
                    <a:pt x="0" y="140"/>
                  </a:lnTo>
                  <a:cubicBezTo>
                    <a:pt x="0" y="140"/>
                    <a:pt x="0" y="154"/>
                    <a:pt x="11" y="165"/>
                  </a:cubicBezTo>
                  <a:cubicBezTo>
                    <a:pt x="11" y="177"/>
                    <a:pt x="23" y="177"/>
                    <a:pt x="23" y="177"/>
                  </a:cubicBezTo>
                  <a:lnTo>
                    <a:pt x="81" y="177"/>
                  </a:lnTo>
                  <a:cubicBezTo>
                    <a:pt x="92" y="154"/>
                    <a:pt x="115" y="140"/>
                    <a:pt x="115" y="118"/>
                  </a:cubicBezTo>
                  <a:lnTo>
                    <a:pt x="115" y="95"/>
                  </a:lnTo>
                  <a:cubicBezTo>
                    <a:pt x="115" y="70"/>
                    <a:pt x="115" y="59"/>
                    <a:pt x="104" y="48"/>
                  </a:cubicBezTo>
                  <a:cubicBezTo>
                    <a:pt x="104" y="37"/>
                    <a:pt x="92" y="26"/>
                    <a:pt x="92" y="26"/>
                  </a:cubicBezTo>
                  <a:cubicBezTo>
                    <a:pt x="92" y="26"/>
                    <a:pt x="81" y="14"/>
                    <a:pt x="70" y="14"/>
                  </a:cubicBezTo>
                  <a:cubicBezTo>
                    <a:pt x="56" y="0"/>
                    <a:pt x="56" y="0"/>
                    <a:pt x="4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" name="Google Shape;157;p17">
              <a:extLst>
                <a:ext uri="{FF2B5EF4-FFF2-40B4-BE49-F238E27FC236}">
                  <a16:creationId xmlns:a16="http://schemas.microsoft.com/office/drawing/2014/main" xmlns="" id="{0B994F23-E51E-26C0-33A7-8BB543CB19BD}"/>
                </a:ext>
              </a:extLst>
            </p:cNvPr>
            <p:cNvSpPr/>
            <p:nvPr/>
          </p:nvSpPr>
          <p:spPr>
            <a:xfrm>
              <a:off x="2915925" y="2262923"/>
              <a:ext cx="18905" cy="16369"/>
            </a:xfrm>
            <a:custGeom>
              <a:avLst/>
              <a:gdLst/>
              <a:ahLst/>
              <a:cxnLst/>
              <a:rect l="l" t="t" r="r" b="b"/>
              <a:pathLst>
                <a:path w="82" h="71" extrusionOk="0">
                  <a:moveTo>
                    <a:pt x="34" y="0"/>
                  </a:moveTo>
                  <a:cubicBezTo>
                    <a:pt x="34" y="0"/>
                    <a:pt x="23" y="0"/>
                    <a:pt x="11" y="12"/>
                  </a:cubicBezTo>
                  <a:cubicBezTo>
                    <a:pt x="0" y="23"/>
                    <a:pt x="11" y="37"/>
                    <a:pt x="23" y="48"/>
                  </a:cubicBezTo>
                  <a:cubicBezTo>
                    <a:pt x="23" y="59"/>
                    <a:pt x="45" y="70"/>
                    <a:pt x="59" y="70"/>
                  </a:cubicBezTo>
                  <a:lnTo>
                    <a:pt x="81" y="70"/>
                  </a:lnTo>
                  <a:lnTo>
                    <a:pt x="81" y="59"/>
                  </a:lnTo>
                  <a:lnTo>
                    <a:pt x="81" y="12"/>
                  </a:lnTo>
                  <a:cubicBezTo>
                    <a:pt x="81" y="0"/>
                    <a:pt x="59" y="0"/>
                    <a:pt x="5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" name="Google Shape;158;p17">
              <a:extLst>
                <a:ext uri="{FF2B5EF4-FFF2-40B4-BE49-F238E27FC236}">
                  <a16:creationId xmlns:a16="http://schemas.microsoft.com/office/drawing/2014/main" xmlns="" id="{B168BE07-1ED4-5996-F312-368D6A93371B}"/>
                </a:ext>
              </a:extLst>
            </p:cNvPr>
            <p:cNvSpPr/>
            <p:nvPr/>
          </p:nvSpPr>
          <p:spPr>
            <a:xfrm>
              <a:off x="2913388" y="2257620"/>
              <a:ext cx="26513" cy="26744"/>
            </a:xfrm>
            <a:custGeom>
              <a:avLst/>
              <a:gdLst/>
              <a:ahLst/>
              <a:cxnLst/>
              <a:rect l="l" t="t" r="r" b="b"/>
              <a:pathLst>
                <a:path w="115" h="116" extrusionOk="0">
                  <a:moveTo>
                    <a:pt x="70" y="46"/>
                  </a:moveTo>
                  <a:lnTo>
                    <a:pt x="70" y="60"/>
                  </a:lnTo>
                  <a:lnTo>
                    <a:pt x="70" y="71"/>
                  </a:lnTo>
                  <a:cubicBezTo>
                    <a:pt x="56" y="71"/>
                    <a:pt x="45" y="71"/>
                    <a:pt x="45" y="60"/>
                  </a:cubicBezTo>
                  <a:lnTo>
                    <a:pt x="45" y="46"/>
                  </a:lnTo>
                  <a:close/>
                  <a:moveTo>
                    <a:pt x="45" y="1"/>
                  </a:moveTo>
                  <a:cubicBezTo>
                    <a:pt x="34" y="1"/>
                    <a:pt x="22" y="1"/>
                    <a:pt x="11" y="23"/>
                  </a:cubicBezTo>
                  <a:cubicBezTo>
                    <a:pt x="0" y="23"/>
                    <a:pt x="0" y="35"/>
                    <a:pt x="0" y="46"/>
                  </a:cubicBezTo>
                  <a:cubicBezTo>
                    <a:pt x="0" y="71"/>
                    <a:pt x="0" y="82"/>
                    <a:pt x="11" y="93"/>
                  </a:cubicBezTo>
                  <a:cubicBezTo>
                    <a:pt x="22" y="104"/>
                    <a:pt x="45" y="116"/>
                    <a:pt x="70" y="116"/>
                  </a:cubicBezTo>
                  <a:cubicBezTo>
                    <a:pt x="81" y="116"/>
                    <a:pt x="92" y="116"/>
                    <a:pt x="104" y="104"/>
                  </a:cubicBezTo>
                  <a:cubicBezTo>
                    <a:pt x="115" y="93"/>
                    <a:pt x="115" y="82"/>
                    <a:pt x="115" y="82"/>
                  </a:cubicBezTo>
                  <a:lnTo>
                    <a:pt x="115" y="60"/>
                  </a:lnTo>
                  <a:lnTo>
                    <a:pt x="115" y="35"/>
                  </a:lnTo>
                  <a:lnTo>
                    <a:pt x="115" y="23"/>
                  </a:lnTo>
                  <a:lnTo>
                    <a:pt x="104" y="12"/>
                  </a:lnTo>
                  <a:cubicBezTo>
                    <a:pt x="92" y="12"/>
                    <a:pt x="81" y="1"/>
                    <a:pt x="81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" name="Google Shape;159;p17">
              <a:extLst>
                <a:ext uri="{FF2B5EF4-FFF2-40B4-BE49-F238E27FC236}">
                  <a16:creationId xmlns:a16="http://schemas.microsoft.com/office/drawing/2014/main" xmlns="" id="{7C2FB031-2127-870E-174B-AF5B279358A0}"/>
                </a:ext>
              </a:extLst>
            </p:cNvPr>
            <p:cNvSpPr/>
            <p:nvPr/>
          </p:nvSpPr>
          <p:spPr>
            <a:xfrm>
              <a:off x="2955810" y="2174621"/>
              <a:ext cx="110433" cy="143866"/>
            </a:xfrm>
            <a:custGeom>
              <a:avLst/>
              <a:gdLst/>
              <a:ahLst/>
              <a:cxnLst/>
              <a:rect l="l" t="t" r="r" b="b"/>
              <a:pathLst>
                <a:path w="479" h="624" extrusionOk="0">
                  <a:moveTo>
                    <a:pt x="84" y="1"/>
                  </a:moveTo>
                  <a:cubicBezTo>
                    <a:pt x="79" y="1"/>
                    <a:pt x="74" y="4"/>
                    <a:pt x="71" y="11"/>
                  </a:cubicBezTo>
                  <a:cubicBezTo>
                    <a:pt x="71" y="23"/>
                    <a:pt x="82" y="45"/>
                    <a:pt x="82" y="45"/>
                  </a:cubicBezTo>
                  <a:cubicBezTo>
                    <a:pt x="82" y="81"/>
                    <a:pt x="82" y="104"/>
                    <a:pt x="71" y="126"/>
                  </a:cubicBezTo>
                  <a:cubicBezTo>
                    <a:pt x="59" y="140"/>
                    <a:pt x="48" y="151"/>
                    <a:pt x="48" y="162"/>
                  </a:cubicBezTo>
                  <a:cubicBezTo>
                    <a:pt x="26" y="196"/>
                    <a:pt x="12" y="232"/>
                    <a:pt x="1" y="266"/>
                  </a:cubicBezTo>
                  <a:cubicBezTo>
                    <a:pt x="1" y="291"/>
                    <a:pt x="1" y="325"/>
                    <a:pt x="26" y="336"/>
                  </a:cubicBezTo>
                  <a:cubicBezTo>
                    <a:pt x="37" y="350"/>
                    <a:pt x="59" y="350"/>
                    <a:pt x="71" y="361"/>
                  </a:cubicBezTo>
                  <a:cubicBezTo>
                    <a:pt x="82" y="372"/>
                    <a:pt x="82" y="395"/>
                    <a:pt x="82" y="420"/>
                  </a:cubicBezTo>
                  <a:cubicBezTo>
                    <a:pt x="71" y="442"/>
                    <a:pt x="71" y="464"/>
                    <a:pt x="71" y="476"/>
                  </a:cubicBezTo>
                  <a:lnTo>
                    <a:pt x="71" y="490"/>
                  </a:lnTo>
                  <a:lnTo>
                    <a:pt x="82" y="501"/>
                  </a:lnTo>
                  <a:cubicBezTo>
                    <a:pt x="96" y="501"/>
                    <a:pt x="118" y="501"/>
                    <a:pt x="129" y="476"/>
                  </a:cubicBezTo>
                  <a:cubicBezTo>
                    <a:pt x="129" y="464"/>
                    <a:pt x="140" y="453"/>
                    <a:pt x="140" y="442"/>
                  </a:cubicBezTo>
                  <a:cubicBezTo>
                    <a:pt x="152" y="420"/>
                    <a:pt x="177" y="420"/>
                    <a:pt x="199" y="420"/>
                  </a:cubicBezTo>
                  <a:cubicBezTo>
                    <a:pt x="210" y="420"/>
                    <a:pt x="222" y="420"/>
                    <a:pt x="235" y="431"/>
                  </a:cubicBezTo>
                  <a:cubicBezTo>
                    <a:pt x="247" y="442"/>
                    <a:pt x="247" y="464"/>
                    <a:pt x="235" y="476"/>
                  </a:cubicBezTo>
                  <a:cubicBezTo>
                    <a:pt x="222" y="490"/>
                    <a:pt x="210" y="490"/>
                    <a:pt x="199" y="501"/>
                  </a:cubicBezTo>
                  <a:cubicBezTo>
                    <a:pt x="177" y="501"/>
                    <a:pt x="166" y="512"/>
                    <a:pt x="152" y="512"/>
                  </a:cubicBezTo>
                  <a:lnTo>
                    <a:pt x="140" y="523"/>
                  </a:lnTo>
                  <a:lnTo>
                    <a:pt x="140" y="534"/>
                  </a:lnTo>
                  <a:cubicBezTo>
                    <a:pt x="140" y="560"/>
                    <a:pt x="166" y="571"/>
                    <a:pt x="177" y="582"/>
                  </a:cubicBezTo>
                  <a:cubicBezTo>
                    <a:pt x="199" y="593"/>
                    <a:pt x="222" y="604"/>
                    <a:pt x="247" y="604"/>
                  </a:cubicBezTo>
                  <a:cubicBezTo>
                    <a:pt x="258" y="610"/>
                    <a:pt x="269" y="613"/>
                    <a:pt x="281" y="613"/>
                  </a:cubicBezTo>
                  <a:cubicBezTo>
                    <a:pt x="292" y="613"/>
                    <a:pt x="304" y="610"/>
                    <a:pt x="317" y="604"/>
                  </a:cubicBezTo>
                  <a:lnTo>
                    <a:pt x="339" y="604"/>
                  </a:lnTo>
                  <a:cubicBezTo>
                    <a:pt x="350" y="617"/>
                    <a:pt x="365" y="623"/>
                    <a:pt x="379" y="623"/>
                  </a:cubicBezTo>
                  <a:cubicBezTo>
                    <a:pt x="394" y="623"/>
                    <a:pt x="409" y="617"/>
                    <a:pt x="420" y="604"/>
                  </a:cubicBezTo>
                  <a:cubicBezTo>
                    <a:pt x="420" y="604"/>
                    <a:pt x="431" y="582"/>
                    <a:pt x="445" y="582"/>
                  </a:cubicBezTo>
                  <a:cubicBezTo>
                    <a:pt x="445" y="571"/>
                    <a:pt x="456" y="571"/>
                    <a:pt x="468" y="571"/>
                  </a:cubicBezTo>
                  <a:cubicBezTo>
                    <a:pt x="479" y="560"/>
                    <a:pt x="479" y="534"/>
                    <a:pt x="479" y="523"/>
                  </a:cubicBezTo>
                  <a:cubicBezTo>
                    <a:pt x="468" y="490"/>
                    <a:pt x="456" y="453"/>
                    <a:pt x="431" y="431"/>
                  </a:cubicBezTo>
                  <a:cubicBezTo>
                    <a:pt x="409" y="406"/>
                    <a:pt x="375" y="395"/>
                    <a:pt x="339" y="383"/>
                  </a:cubicBezTo>
                  <a:cubicBezTo>
                    <a:pt x="317" y="361"/>
                    <a:pt x="291" y="336"/>
                    <a:pt x="280" y="313"/>
                  </a:cubicBezTo>
                  <a:cubicBezTo>
                    <a:pt x="269" y="291"/>
                    <a:pt x="280" y="266"/>
                    <a:pt x="269" y="244"/>
                  </a:cubicBezTo>
                  <a:cubicBezTo>
                    <a:pt x="269" y="210"/>
                    <a:pt x="247" y="185"/>
                    <a:pt x="222" y="174"/>
                  </a:cubicBezTo>
                  <a:cubicBezTo>
                    <a:pt x="210" y="174"/>
                    <a:pt x="199" y="162"/>
                    <a:pt x="199" y="162"/>
                  </a:cubicBezTo>
                  <a:cubicBezTo>
                    <a:pt x="166" y="151"/>
                    <a:pt x="152" y="115"/>
                    <a:pt x="140" y="93"/>
                  </a:cubicBezTo>
                  <a:cubicBezTo>
                    <a:pt x="129" y="70"/>
                    <a:pt x="129" y="45"/>
                    <a:pt x="107" y="23"/>
                  </a:cubicBezTo>
                  <a:cubicBezTo>
                    <a:pt x="107" y="15"/>
                    <a:pt x="95" y="1"/>
                    <a:pt x="84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" name="Google Shape;160;p17">
              <a:extLst>
                <a:ext uri="{FF2B5EF4-FFF2-40B4-BE49-F238E27FC236}">
                  <a16:creationId xmlns:a16="http://schemas.microsoft.com/office/drawing/2014/main" xmlns="" id="{6D342CE5-5D5C-4EBA-87D0-E3619E1A0B8E}"/>
                </a:ext>
              </a:extLst>
            </p:cNvPr>
            <p:cNvSpPr/>
            <p:nvPr/>
          </p:nvSpPr>
          <p:spPr>
            <a:xfrm>
              <a:off x="2950738" y="2168857"/>
              <a:ext cx="120808" cy="156086"/>
            </a:xfrm>
            <a:custGeom>
              <a:avLst/>
              <a:gdLst/>
              <a:ahLst/>
              <a:cxnLst/>
              <a:rect l="l" t="t" r="r" b="b"/>
              <a:pathLst>
                <a:path w="524" h="677" extrusionOk="0">
                  <a:moveTo>
                    <a:pt x="244" y="467"/>
                  </a:moveTo>
                  <a:lnTo>
                    <a:pt x="244" y="478"/>
                  </a:lnTo>
                  <a:lnTo>
                    <a:pt x="232" y="489"/>
                  </a:lnTo>
                  <a:cubicBezTo>
                    <a:pt x="232" y="489"/>
                    <a:pt x="221" y="501"/>
                    <a:pt x="210" y="501"/>
                  </a:cubicBezTo>
                  <a:cubicBezTo>
                    <a:pt x="199" y="501"/>
                    <a:pt x="174" y="515"/>
                    <a:pt x="162" y="526"/>
                  </a:cubicBezTo>
                  <a:cubicBezTo>
                    <a:pt x="174" y="515"/>
                    <a:pt x="174" y="501"/>
                    <a:pt x="174" y="489"/>
                  </a:cubicBezTo>
                  <a:cubicBezTo>
                    <a:pt x="188" y="489"/>
                    <a:pt x="188" y="478"/>
                    <a:pt x="188" y="478"/>
                  </a:cubicBezTo>
                  <a:lnTo>
                    <a:pt x="199" y="467"/>
                  </a:lnTo>
                  <a:close/>
                  <a:moveTo>
                    <a:pt x="129" y="85"/>
                  </a:moveTo>
                  <a:cubicBezTo>
                    <a:pt x="132" y="97"/>
                    <a:pt x="134" y="112"/>
                    <a:pt x="140" y="129"/>
                  </a:cubicBezTo>
                  <a:cubicBezTo>
                    <a:pt x="151" y="151"/>
                    <a:pt x="174" y="187"/>
                    <a:pt x="210" y="210"/>
                  </a:cubicBezTo>
                  <a:cubicBezTo>
                    <a:pt x="221" y="210"/>
                    <a:pt x="232" y="221"/>
                    <a:pt x="232" y="221"/>
                  </a:cubicBezTo>
                  <a:cubicBezTo>
                    <a:pt x="257" y="235"/>
                    <a:pt x="269" y="246"/>
                    <a:pt x="269" y="269"/>
                  </a:cubicBezTo>
                  <a:cubicBezTo>
                    <a:pt x="280" y="280"/>
                    <a:pt x="269" y="316"/>
                    <a:pt x="280" y="338"/>
                  </a:cubicBezTo>
                  <a:cubicBezTo>
                    <a:pt x="280" y="361"/>
                    <a:pt x="291" y="375"/>
                    <a:pt x="313" y="397"/>
                  </a:cubicBezTo>
                  <a:cubicBezTo>
                    <a:pt x="327" y="408"/>
                    <a:pt x="339" y="420"/>
                    <a:pt x="350" y="431"/>
                  </a:cubicBezTo>
                  <a:cubicBezTo>
                    <a:pt x="383" y="445"/>
                    <a:pt x="420" y="456"/>
                    <a:pt x="431" y="478"/>
                  </a:cubicBezTo>
                  <a:cubicBezTo>
                    <a:pt x="453" y="489"/>
                    <a:pt x="467" y="526"/>
                    <a:pt x="478" y="548"/>
                  </a:cubicBezTo>
                  <a:lnTo>
                    <a:pt x="478" y="559"/>
                  </a:lnTo>
                  <a:lnTo>
                    <a:pt x="467" y="571"/>
                  </a:lnTo>
                  <a:cubicBezTo>
                    <a:pt x="467" y="571"/>
                    <a:pt x="467" y="585"/>
                    <a:pt x="453" y="585"/>
                  </a:cubicBezTo>
                  <a:cubicBezTo>
                    <a:pt x="431" y="596"/>
                    <a:pt x="431" y="607"/>
                    <a:pt x="420" y="618"/>
                  </a:cubicBezTo>
                  <a:cubicBezTo>
                    <a:pt x="420" y="618"/>
                    <a:pt x="408" y="629"/>
                    <a:pt x="397" y="629"/>
                  </a:cubicBezTo>
                  <a:lnTo>
                    <a:pt x="383" y="618"/>
                  </a:lnTo>
                  <a:lnTo>
                    <a:pt x="372" y="618"/>
                  </a:lnTo>
                  <a:lnTo>
                    <a:pt x="372" y="607"/>
                  </a:lnTo>
                  <a:lnTo>
                    <a:pt x="327" y="607"/>
                  </a:lnTo>
                  <a:cubicBezTo>
                    <a:pt x="327" y="607"/>
                    <a:pt x="313" y="618"/>
                    <a:pt x="302" y="618"/>
                  </a:cubicBezTo>
                  <a:cubicBezTo>
                    <a:pt x="291" y="618"/>
                    <a:pt x="280" y="607"/>
                    <a:pt x="280" y="607"/>
                  </a:cubicBezTo>
                  <a:cubicBezTo>
                    <a:pt x="257" y="607"/>
                    <a:pt x="232" y="596"/>
                    <a:pt x="210" y="585"/>
                  </a:cubicBezTo>
                  <a:cubicBezTo>
                    <a:pt x="199" y="571"/>
                    <a:pt x="199" y="571"/>
                    <a:pt x="188" y="571"/>
                  </a:cubicBezTo>
                  <a:lnTo>
                    <a:pt x="188" y="559"/>
                  </a:lnTo>
                  <a:cubicBezTo>
                    <a:pt x="199" y="559"/>
                    <a:pt x="210" y="548"/>
                    <a:pt x="221" y="548"/>
                  </a:cubicBezTo>
                  <a:cubicBezTo>
                    <a:pt x="244" y="537"/>
                    <a:pt x="257" y="537"/>
                    <a:pt x="280" y="515"/>
                  </a:cubicBezTo>
                  <a:cubicBezTo>
                    <a:pt x="280" y="501"/>
                    <a:pt x="291" y="489"/>
                    <a:pt x="291" y="478"/>
                  </a:cubicBezTo>
                  <a:cubicBezTo>
                    <a:pt x="291" y="467"/>
                    <a:pt x="291" y="456"/>
                    <a:pt x="280" y="445"/>
                  </a:cubicBezTo>
                  <a:cubicBezTo>
                    <a:pt x="269" y="431"/>
                    <a:pt x="257" y="420"/>
                    <a:pt x="244" y="420"/>
                  </a:cubicBezTo>
                  <a:lnTo>
                    <a:pt x="188" y="420"/>
                  </a:lnTo>
                  <a:cubicBezTo>
                    <a:pt x="174" y="431"/>
                    <a:pt x="162" y="445"/>
                    <a:pt x="151" y="456"/>
                  </a:cubicBezTo>
                  <a:cubicBezTo>
                    <a:pt x="140" y="456"/>
                    <a:pt x="140" y="467"/>
                    <a:pt x="140" y="478"/>
                  </a:cubicBezTo>
                  <a:cubicBezTo>
                    <a:pt x="129" y="478"/>
                    <a:pt x="129" y="489"/>
                    <a:pt x="129" y="489"/>
                  </a:cubicBezTo>
                  <a:lnTo>
                    <a:pt x="118" y="501"/>
                  </a:lnTo>
                  <a:cubicBezTo>
                    <a:pt x="118" y="489"/>
                    <a:pt x="118" y="467"/>
                    <a:pt x="129" y="445"/>
                  </a:cubicBezTo>
                  <a:lnTo>
                    <a:pt x="129" y="420"/>
                  </a:lnTo>
                  <a:cubicBezTo>
                    <a:pt x="129" y="408"/>
                    <a:pt x="129" y="408"/>
                    <a:pt x="118" y="397"/>
                  </a:cubicBezTo>
                  <a:cubicBezTo>
                    <a:pt x="118" y="386"/>
                    <a:pt x="118" y="375"/>
                    <a:pt x="104" y="361"/>
                  </a:cubicBezTo>
                  <a:cubicBezTo>
                    <a:pt x="93" y="361"/>
                    <a:pt x="81" y="350"/>
                    <a:pt x="70" y="350"/>
                  </a:cubicBezTo>
                  <a:lnTo>
                    <a:pt x="59" y="350"/>
                  </a:lnTo>
                  <a:cubicBezTo>
                    <a:pt x="48" y="350"/>
                    <a:pt x="48" y="338"/>
                    <a:pt x="48" y="338"/>
                  </a:cubicBezTo>
                  <a:lnTo>
                    <a:pt x="48" y="316"/>
                  </a:lnTo>
                  <a:lnTo>
                    <a:pt x="48" y="291"/>
                  </a:lnTo>
                  <a:cubicBezTo>
                    <a:pt x="59" y="269"/>
                    <a:pt x="70" y="235"/>
                    <a:pt x="81" y="210"/>
                  </a:cubicBezTo>
                  <a:cubicBezTo>
                    <a:pt x="93" y="199"/>
                    <a:pt x="104" y="187"/>
                    <a:pt x="118" y="165"/>
                  </a:cubicBezTo>
                  <a:cubicBezTo>
                    <a:pt x="129" y="140"/>
                    <a:pt x="129" y="118"/>
                    <a:pt x="129" y="95"/>
                  </a:cubicBezTo>
                  <a:lnTo>
                    <a:pt x="129" y="85"/>
                  </a:lnTo>
                  <a:close/>
                  <a:moveTo>
                    <a:pt x="104" y="0"/>
                  </a:moveTo>
                  <a:cubicBezTo>
                    <a:pt x="104" y="0"/>
                    <a:pt x="93" y="11"/>
                    <a:pt x="81" y="11"/>
                  </a:cubicBezTo>
                  <a:cubicBezTo>
                    <a:pt x="81" y="25"/>
                    <a:pt x="70" y="25"/>
                    <a:pt x="70" y="36"/>
                  </a:cubicBezTo>
                  <a:lnTo>
                    <a:pt x="70" y="48"/>
                  </a:lnTo>
                  <a:cubicBezTo>
                    <a:pt x="70" y="59"/>
                    <a:pt x="70" y="59"/>
                    <a:pt x="81" y="70"/>
                  </a:cubicBezTo>
                  <a:lnTo>
                    <a:pt x="81" y="81"/>
                  </a:lnTo>
                  <a:lnTo>
                    <a:pt x="81" y="95"/>
                  </a:lnTo>
                  <a:cubicBezTo>
                    <a:pt x="81" y="118"/>
                    <a:pt x="81" y="129"/>
                    <a:pt x="70" y="140"/>
                  </a:cubicBezTo>
                  <a:cubicBezTo>
                    <a:pt x="70" y="151"/>
                    <a:pt x="59" y="165"/>
                    <a:pt x="48" y="176"/>
                  </a:cubicBezTo>
                  <a:cubicBezTo>
                    <a:pt x="23" y="210"/>
                    <a:pt x="11" y="246"/>
                    <a:pt x="0" y="280"/>
                  </a:cubicBezTo>
                  <a:lnTo>
                    <a:pt x="0" y="316"/>
                  </a:lnTo>
                  <a:lnTo>
                    <a:pt x="0" y="350"/>
                  </a:lnTo>
                  <a:cubicBezTo>
                    <a:pt x="11" y="375"/>
                    <a:pt x="23" y="386"/>
                    <a:pt x="34" y="386"/>
                  </a:cubicBezTo>
                  <a:cubicBezTo>
                    <a:pt x="48" y="397"/>
                    <a:pt x="59" y="397"/>
                    <a:pt x="59" y="397"/>
                  </a:cubicBezTo>
                  <a:cubicBezTo>
                    <a:pt x="70" y="397"/>
                    <a:pt x="70" y="397"/>
                    <a:pt x="70" y="408"/>
                  </a:cubicBezTo>
                  <a:lnTo>
                    <a:pt x="81" y="408"/>
                  </a:lnTo>
                  <a:lnTo>
                    <a:pt x="81" y="420"/>
                  </a:lnTo>
                  <a:lnTo>
                    <a:pt x="81" y="445"/>
                  </a:lnTo>
                  <a:cubicBezTo>
                    <a:pt x="70" y="467"/>
                    <a:pt x="70" y="478"/>
                    <a:pt x="70" y="501"/>
                  </a:cubicBezTo>
                  <a:lnTo>
                    <a:pt x="70" y="515"/>
                  </a:lnTo>
                  <a:lnTo>
                    <a:pt x="70" y="526"/>
                  </a:lnTo>
                  <a:lnTo>
                    <a:pt x="81" y="537"/>
                  </a:lnTo>
                  <a:lnTo>
                    <a:pt x="93" y="537"/>
                  </a:lnTo>
                  <a:cubicBezTo>
                    <a:pt x="104" y="548"/>
                    <a:pt x="104" y="548"/>
                    <a:pt x="118" y="548"/>
                  </a:cubicBezTo>
                  <a:cubicBezTo>
                    <a:pt x="127" y="548"/>
                    <a:pt x="134" y="546"/>
                    <a:pt x="140" y="543"/>
                  </a:cubicBezTo>
                  <a:lnTo>
                    <a:pt x="140" y="543"/>
                  </a:lnTo>
                  <a:lnTo>
                    <a:pt x="140" y="559"/>
                  </a:lnTo>
                  <a:cubicBezTo>
                    <a:pt x="140" y="585"/>
                    <a:pt x="151" y="596"/>
                    <a:pt x="162" y="596"/>
                  </a:cubicBezTo>
                  <a:cubicBezTo>
                    <a:pt x="174" y="607"/>
                    <a:pt x="174" y="618"/>
                    <a:pt x="188" y="618"/>
                  </a:cubicBezTo>
                  <a:cubicBezTo>
                    <a:pt x="210" y="629"/>
                    <a:pt x="232" y="640"/>
                    <a:pt x="257" y="654"/>
                  </a:cubicBezTo>
                  <a:cubicBezTo>
                    <a:pt x="280" y="654"/>
                    <a:pt x="291" y="666"/>
                    <a:pt x="302" y="666"/>
                  </a:cubicBezTo>
                  <a:cubicBezTo>
                    <a:pt x="313" y="666"/>
                    <a:pt x="339" y="654"/>
                    <a:pt x="350" y="654"/>
                  </a:cubicBezTo>
                  <a:cubicBezTo>
                    <a:pt x="361" y="666"/>
                    <a:pt x="383" y="677"/>
                    <a:pt x="397" y="677"/>
                  </a:cubicBezTo>
                  <a:cubicBezTo>
                    <a:pt x="420" y="677"/>
                    <a:pt x="442" y="666"/>
                    <a:pt x="453" y="654"/>
                  </a:cubicBezTo>
                  <a:cubicBezTo>
                    <a:pt x="467" y="640"/>
                    <a:pt x="478" y="629"/>
                    <a:pt x="478" y="618"/>
                  </a:cubicBezTo>
                  <a:cubicBezTo>
                    <a:pt x="478" y="618"/>
                    <a:pt x="490" y="618"/>
                    <a:pt x="501" y="607"/>
                  </a:cubicBezTo>
                  <a:cubicBezTo>
                    <a:pt x="512" y="596"/>
                    <a:pt x="523" y="571"/>
                    <a:pt x="523" y="559"/>
                  </a:cubicBezTo>
                  <a:lnTo>
                    <a:pt x="523" y="537"/>
                  </a:lnTo>
                  <a:cubicBezTo>
                    <a:pt x="512" y="501"/>
                    <a:pt x="501" y="467"/>
                    <a:pt x="467" y="445"/>
                  </a:cubicBezTo>
                  <a:cubicBezTo>
                    <a:pt x="442" y="420"/>
                    <a:pt x="408" y="397"/>
                    <a:pt x="372" y="386"/>
                  </a:cubicBezTo>
                  <a:cubicBezTo>
                    <a:pt x="361" y="375"/>
                    <a:pt x="350" y="375"/>
                    <a:pt x="339" y="361"/>
                  </a:cubicBezTo>
                  <a:cubicBezTo>
                    <a:pt x="339" y="350"/>
                    <a:pt x="327" y="338"/>
                    <a:pt x="327" y="327"/>
                  </a:cubicBezTo>
                  <a:cubicBezTo>
                    <a:pt x="313" y="316"/>
                    <a:pt x="327" y="291"/>
                    <a:pt x="313" y="257"/>
                  </a:cubicBezTo>
                  <a:cubicBezTo>
                    <a:pt x="313" y="221"/>
                    <a:pt x="291" y="199"/>
                    <a:pt x="257" y="176"/>
                  </a:cubicBezTo>
                  <a:cubicBezTo>
                    <a:pt x="244" y="176"/>
                    <a:pt x="232" y="176"/>
                    <a:pt x="232" y="165"/>
                  </a:cubicBezTo>
                  <a:cubicBezTo>
                    <a:pt x="210" y="151"/>
                    <a:pt x="199" y="129"/>
                    <a:pt x="188" y="106"/>
                  </a:cubicBezTo>
                  <a:cubicBezTo>
                    <a:pt x="174" y="81"/>
                    <a:pt x="162" y="59"/>
                    <a:pt x="151" y="36"/>
                  </a:cubicBezTo>
                  <a:cubicBezTo>
                    <a:pt x="151" y="25"/>
                    <a:pt x="140" y="25"/>
                    <a:pt x="140" y="11"/>
                  </a:cubicBezTo>
                  <a:cubicBezTo>
                    <a:pt x="129" y="11"/>
                    <a:pt x="118" y="0"/>
                    <a:pt x="104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" name="Google Shape;161;p17">
              <a:extLst>
                <a:ext uri="{FF2B5EF4-FFF2-40B4-BE49-F238E27FC236}">
                  <a16:creationId xmlns:a16="http://schemas.microsoft.com/office/drawing/2014/main" xmlns="" id="{EDE6B2DA-7430-1417-FE1C-656774C681B2}"/>
                </a:ext>
              </a:extLst>
            </p:cNvPr>
            <p:cNvSpPr/>
            <p:nvPr/>
          </p:nvSpPr>
          <p:spPr>
            <a:xfrm>
              <a:off x="3203422" y="1619678"/>
              <a:ext cx="177523" cy="143175"/>
            </a:xfrm>
            <a:custGeom>
              <a:avLst/>
              <a:gdLst/>
              <a:ahLst/>
              <a:cxnLst/>
              <a:rect l="l" t="t" r="r" b="b"/>
              <a:pathLst>
                <a:path w="770" h="621" extrusionOk="0">
                  <a:moveTo>
                    <a:pt x="699" y="0"/>
                  </a:moveTo>
                  <a:cubicBezTo>
                    <a:pt x="694" y="0"/>
                    <a:pt x="690" y="2"/>
                    <a:pt x="685" y="5"/>
                  </a:cubicBezTo>
                  <a:cubicBezTo>
                    <a:pt x="674" y="17"/>
                    <a:pt x="674" y="30"/>
                    <a:pt x="674" y="42"/>
                  </a:cubicBezTo>
                  <a:cubicBezTo>
                    <a:pt x="666" y="50"/>
                    <a:pt x="658" y="57"/>
                    <a:pt x="651" y="57"/>
                  </a:cubicBezTo>
                  <a:cubicBezTo>
                    <a:pt x="647" y="57"/>
                    <a:pt x="644" y="56"/>
                    <a:pt x="641" y="53"/>
                  </a:cubicBezTo>
                  <a:cubicBezTo>
                    <a:pt x="630" y="53"/>
                    <a:pt x="630" y="53"/>
                    <a:pt x="630" y="42"/>
                  </a:cubicBezTo>
                  <a:lnTo>
                    <a:pt x="604" y="42"/>
                  </a:lnTo>
                  <a:cubicBezTo>
                    <a:pt x="582" y="53"/>
                    <a:pt x="560" y="86"/>
                    <a:pt x="560" y="112"/>
                  </a:cubicBezTo>
                  <a:cubicBezTo>
                    <a:pt x="546" y="145"/>
                    <a:pt x="546" y="181"/>
                    <a:pt x="523" y="204"/>
                  </a:cubicBezTo>
                  <a:cubicBezTo>
                    <a:pt x="523" y="215"/>
                    <a:pt x="512" y="215"/>
                    <a:pt x="501" y="226"/>
                  </a:cubicBezTo>
                  <a:cubicBezTo>
                    <a:pt x="490" y="240"/>
                    <a:pt x="476" y="240"/>
                    <a:pt x="465" y="240"/>
                  </a:cubicBezTo>
                  <a:cubicBezTo>
                    <a:pt x="453" y="240"/>
                    <a:pt x="442" y="226"/>
                    <a:pt x="431" y="204"/>
                  </a:cubicBezTo>
                  <a:cubicBezTo>
                    <a:pt x="431" y="193"/>
                    <a:pt x="431" y="181"/>
                    <a:pt x="442" y="170"/>
                  </a:cubicBezTo>
                  <a:cubicBezTo>
                    <a:pt x="442" y="145"/>
                    <a:pt x="431" y="112"/>
                    <a:pt x="420" y="100"/>
                  </a:cubicBezTo>
                  <a:cubicBezTo>
                    <a:pt x="406" y="75"/>
                    <a:pt x="383" y="64"/>
                    <a:pt x="361" y="64"/>
                  </a:cubicBezTo>
                  <a:cubicBezTo>
                    <a:pt x="350" y="64"/>
                    <a:pt x="325" y="86"/>
                    <a:pt x="314" y="100"/>
                  </a:cubicBezTo>
                  <a:cubicBezTo>
                    <a:pt x="298" y="108"/>
                    <a:pt x="287" y="116"/>
                    <a:pt x="274" y="116"/>
                  </a:cubicBezTo>
                  <a:cubicBezTo>
                    <a:pt x="268" y="116"/>
                    <a:pt x="262" y="115"/>
                    <a:pt x="255" y="112"/>
                  </a:cubicBezTo>
                  <a:cubicBezTo>
                    <a:pt x="244" y="112"/>
                    <a:pt x="232" y="100"/>
                    <a:pt x="221" y="86"/>
                  </a:cubicBezTo>
                  <a:cubicBezTo>
                    <a:pt x="221" y="64"/>
                    <a:pt x="221" y="53"/>
                    <a:pt x="210" y="42"/>
                  </a:cubicBezTo>
                  <a:cubicBezTo>
                    <a:pt x="205" y="40"/>
                    <a:pt x="201" y="39"/>
                    <a:pt x="196" y="39"/>
                  </a:cubicBezTo>
                  <a:cubicBezTo>
                    <a:pt x="173" y="39"/>
                    <a:pt x="149" y="57"/>
                    <a:pt x="140" y="75"/>
                  </a:cubicBezTo>
                  <a:lnTo>
                    <a:pt x="140" y="100"/>
                  </a:lnTo>
                  <a:cubicBezTo>
                    <a:pt x="140" y="123"/>
                    <a:pt x="115" y="123"/>
                    <a:pt x="104" y="123"/>
                  </a:cubicBezTo>
                  <a:lnTo>
                    <a:pt x="70" y="123"/>
                  </a:lnTo>
                  <a:cubicBezTo>
                    <a:pt x="34" y="123"/>
                    <a:pt x="0" y="156"/>
                    <a:pt x="0" y="193"/>
                  </a:cubicBezTo>
                  <a:cubicBezTo>
                    <a:pt x="0" y="226"/>
                    <a:pt x="12" y="263"/>
                    <a:pt x="45" y="285"/>
                  </a:cubicBezTo>
                  <a:cubicBezTo>
                    <a:pt x="56" y="296"/>
                    <a:pt x="70" y="296"/>
                    <a:pt x="70" y="310"/>
                  </a:cubicBezTo>
                  <a:cubicBezTo>
                    <a:pt x="81" y="321"/>
                    <a:pt x="70" y="344"/>
                    <a:pt x="56" y="355"/>
                  </a:cubicBezTo>
                  <a:cubicBezTo>
                    <a:pt x="34" y="366"/>
                    <a:pt x="23" y="380"/>
                    <a:pt x="12" y="391"/>
                  </a:cubicBezTo>
                  <a:cubicBezTo>
                    <a:pt x="0" y="414"/>
                    <a:pt x="0" y="425"/>
                    <a:pt x="0" y="450"/>
                  </a:cubicBezTo>
                  <a:cubicBezTo>
                    <a:pt x="0" y="461"/>
                    <a:pt x="0" y="483"/>
                    <a:pt x="12" y="495"/>
                  </a:cubicBezTo>
                  <a:cubicBezTo>
                    <a:pt x="23" y="506"/>
                    <a:pt x="56" y="506"/>
                    <a:pt x="81" y="506"/>
                  </a:cubicBezTo>
                  <a:lnTo>
                    <a:pt x="104" y="506"/>
                  </a:lnTo>
                  <a:cubicBezTo>
                    <a:pt x="115" y="506"/>
                    <a:pt x="126" y="495"/>
                    <a:pt x="126" y="483"/>
                  </a:cubicBezTo>
                  <a:lnTo>
                    <a:pt x="126" y="472"/>
                  </a:lnTo>
                  <a:lnTo>
                    <a:pt x="185" y="472"/>
                  </a:lnTo>
                  <a:cubicBezTo>
                    <a:pt x="196" y="483"/>
                    <a:pt x="196" y="495"/>
                    <a:pt x="196" y="506"/>
                  </a:cubicBezTo>
                  <a:cubicBezTo>
                    <a:pt x="185" y="542"/>
                    <a:pt x="185" y="576"/>
                    <a:pt x="210" y="590"/>
                  </a:cubicBezTo>
                  <a:cubicBezTo>
                    <a:pt x="232" y="601"/>
                    <a:pt x="255" y="601"/>
                    <a:pt x="266" y="601"/>
                  </a:cubicBezTo>
                  <a:lnTo>
                    <a:pt x="361" y="601"/>
                  </a:lnTo>
                  <a:lnTo>
                    <a:pt x="361" y="590"/>
                  </a:lnTo>
                  <a:cubicBezTo>
                    <a:pt x="361" y="542"/>
                    <a:pt x="325" y="520"/>
                    <a:pt x="314" y="483"/>
                  </a:cubicBezTo>
                  <a:lnTo>
                    <a:pt x="314" y="436"/>
                  </a:lnTo>
                  <a:cubicBezTo>
                    <a:pt x="304" y="389"/>
                    <a:pt x="343" y="324"/>
                    <a:pt x="397" y="324"/>
                  </a:cubicBezTo>
                  <a:cubicBezTo>
                    <a:pt x="408" y="324"/>
                    <a:pt x="419" y="326"/>
                    <a:pt x="431" y="332"/>
                  </a:cubicBezTo>
                  <a:cubicBezTo>
                    <a:pt x="431" y="344"/>
                    <a:pt x="431" y="355"/>
                    <a:pt x="420" y="366"/>
                  </a:cubicBezTo>
                  <a:cubicBezTo>
                    <a:pt x="420" y="366"/>
                    <a:pt x="406" y="380"/>
                    <a:pt x="395" y="391"/>
                  </a:cubicBezTo>
                  <a:cubicBezTo>
                    <a:pt x="383" y="414"/>
                    <a:pt x="383" y="450"/>
                    <a:pt x="406" y="472"/>
                  </a:cubicBezTo>
                  <a:cubicBezTo>
                    <a:pt x="420" y="495"/>
                    <a:pt x="442" y="495"/>
                    <a:pt x="465" y="520"/>
                  </a:cubicBezTo>
                  <a:cubicBezTo>
                    <a:pt x="476" y="542"/>
                    <a:pt x="476" y="565"/>
                    <a:pt x="490" y="576"/>
                  </a:cubicBezTo>
                  <a:cubicBezTo>
                    <a:pt x="503" y="605"/>
                    <a:pt x="531" y="620"/>
                    <a:pt x="557" y="620"/>
                  </a:cubicBezTo>
                  <a:cubicBezTo>
                    <a:pt x="574" y="620"/>
                    <a:pt x="591" y="614"/>
                    <a:pt x="604" y="601"/>
                  </a:cubicBezTo>
                  <a:cubicBezTo>
                    <a:pt x="616" y="601"/>
                    <a:pt x="630" y="590"/>
                    <a:pt x="630" y="576"/>
                  </a:cubicBezTo>
                  <a:cubicBezTo>
                    <a:pt x="641" y="553"/>
                    <a:pt x="616" y="531"/>
                    <a:pt x="593" y="506"/>
                  </a:cubicBezTo>
                  <a:cubicBezTo>
                    <a:pt x="571" y="495"/>
                    <a:pt x="560" y="472"/>
                    <a:pt x="571" y="450"/>
                  </a:cubicBezTo>
                  <a:cubicBezTo>
                    <a:pt x="571" y="436"/>
                    <a:pt x="571" y="436"/>
                    <a:pt x="582" y="425"/>
                  </a:cubicBezTo>
                  <a:cubicBezTo>
                    <a:pt x="593" y="402"/>
                    <a:pt x="571" y="380"/>
                    <a:pt x="582" y="355"/>
                  </a:cubicBezTo>
                  <a:cubicBezTo>
                    <a:pt x="593" y="332"/>
                    <a:pt x="630" y="332"/>
                    <a:pt x="630" y="310"/>
                  </a:cubicBezTo>
                  <a:cubicBezTo>
                    <a:pt x="641" y="296"/>
                    <a:pt x="630" y="285"/>
                    <a:pt x="630" y="274"/>
                  </a:cubicBezTo>
                  <a:cubicBezTo>
                    <a:pt x="616" y="251"/>
                    <a:pt x="616" y="226"/>
                    <a:pt x="630" y="215"/>
                  </a:cubicBezTo>
                  <a:cubicBezTo>
                    <a:pt x="663" y="193"/>
                    <a:pt x="699" y="181"/>
                    <a:pt x="733" y="156"/>
                  </a:cubicBezTo>
                  <a:cubicBezTo>
                    <a:pt x="769" y="134"/>
                    <a:pt x="769" y="75"/>
                    <a:pt x="744" y="42"/>
                  </a:cubicBezTo>
                  <a:cubicBezTo>
                    <a:pt x="744" y="30"/>
                    <a:pt x="733" y="17"/>
                    <a:pt x="722" y="5"/>
                  </a:cubicBezTo>
                  <a:cubicBezTo>
                    <a:pt x="714" y="5"/>
                    <a:pt x="707" y="0"/>
                    <a:pt x="69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" name="Google Shape;162;p17">
              <a:extLst>
                <a:ext uri="{FF2B5EF4-FFF2-40B4-BE49-F238E27FC236}">
                  <a16:creationId xmlns:a16="http://schemas.microsoft.com/office/drawing/2014/main" xmlns="" id="{D2E2EBBE-FD43-CAF0-BC14-617A8A8BDEF3}"/>
                </a:ext>
              </a:extLst>
            </p:cNvPr>
            <p:cNvSpPr/>
            <p:nvPr/>
          </p:nvSpPr>
          <p:spPr>
            <a:xfrm>
              <a:off x="3197658" y="1615528"/>
              <a:ext cx="185823" cy="153089"/>
            </a:xfrm>
            <a:custGeom>
              <a:avLst/>
              <a:gdLst/>
              <a:ahLst/>
              <a:cxnLst/>
              <a:rect l="l" t="t" r="r" b="b"/>
              <a:pathLst>
                <a:path w="806" h="664" extrusionOk="0">
                  <a:moveTo>
                    <a:pt x="736" y="48"/>
                  </a:moveTo>
                  <a:cubicBezTo>
                    <a:pt x="747" y="48"/>
                    <a:pt x="747" y="60"/>
                    <a:pt x="747" y="71"/>
                  </a:cubicBezTo>
                  <a:cubicBezTo>
                    <a:pt x="758" y="82"/>
                    <a:pt x="758" y="93"/>
                    <a:pt x="758" y="104"/>
                  </a:cubicBezTo>
                  <a:cubicBezTo>
                    <a:pt x="758" y="130"/>
                    <a:pt x="758" y="152"/>
                    <a:pt x="736" y="163"/>
                  </a:cubicBezTo>
                  <a:cubicBezTo>
                    <a:pt x="736" y="174"/>
                    <a:pt x="710" y="174"/>
                    <a:pt x="699" y="188"/>
                  </a:cubicBezTo>
                  <a:cubicBezTo>
                    <a:pt x="677" y="188"/>
                    <a:pt x="655" y="199"/>
                    <a:pt x="641" y="222"/>
                  </a:cubicBezTo>
                  <a:cubicBezTo>
                    <a:pt x="629" y="233"/>
                    <a:pt x="618" y="258"/>
                    <a:pt x="618" y="269"/>
                  </a:cubicBezTo>
                  <a:cubicBezTo>
                    <a:pt x="618" y="281"/>
                    <a:pt x="618" y="292"/>
                    <a:pt x="629" y="303"/>
                  </a:cubicBezTo>
                  <a:lnTo>
                    <a:pt x="629" y="314"/>
                  </a:lnTo>
                  <a:lnTo>
                    <a:pt x="629" y="328"/>
                  </a:lnTo>
                  <a:cubicBezTo>
                    <a:pt x="629" y="328"/>
                    <a:pt x="618" y="328"/>
                    <a:pt x="618" y="339"/>
                  </a:cubicBezTo>
                  <a:cubicBezTo>
                    <a:pt x="607" y="339"/>
                    <a:pt x="596" y="350"/>
                    <a:pt x="596" y="362"/>
                  </a:cubicBezTo>
                  <a:cubicBezTo>
                    <a:pt x="585" y="373"/>
                    <a:pt x="585" y="384"/>
                    <a:pt x="585" y="398"/>
                  </a:cubicBezTo>
                  <a:lnTo>
                    <a:pt x="585" y="432"/>
                  </a:lnTo>
                  <a:cubicBezTo>
                    <a:pt x="585" y="432"/>
                    <a:pt x="571" y="443"/>
                    <a:pt x="571" y="454"/>
                  </a:cubicBezTo>
                  <a:cubicBezTo>
                    <a:pt x="571" y="468"/>
                    <a:pt x="559" y="468"/>
                    <a:pt x="559" y="479"/>
                  </a:cubicBezTo>
                  <a:cubicBezTo>
                    <a:pt x="559" y="490"/>
                    <a:pt x="571" y="513"/>
                    <a:pt x="585" y="524"/>
                  </a:cubicBezTo>
                  <a:cubicBezTo>
                    <a:pt x="585" y="524"/>
                    <a:pt x="596" y="538"/>
                    <a:pt x="607" y="549"/>
                  </a:cubicBezTo>
                  <a:cubicBezTo>
                    <a:pt x="618" y="560"/>
                    <a:pt x="618" y="560"/>
                    <a:pt x="629" y="571"/>
                  </a:cubicBezTo>
                  <a:lnTo>
                    <a:pt x="629" y="583"/>
                  </a:lnTo>
                  <a:cubicBezTo>
                    <a:pt x="629" y="594"/>
                    <a:pt x="629" y="594"/>
                    <a:pt x="618" y="608"/>
                  </a:cubicBezTo>
                  <a:cubicBezTo>
                    <a:pt x="607" y="608"/>
                    <a:pt x="607" y="619"/>
                    <a:pt x="596" y="619"/>
                  </a:cubicBezTo>
                  <a:cubicBezTo>
                    <a:pt x="571" y="619"/>
                    <a:pt x="548" y="608"/>
                    <a:pt x="537" y="583"/>
                  </a:cubicBezTo>
                  <a:cubicBezTo>
                    <a:pt x="537" y="583"/>
                    <a:pt x="526" y="571"/>
                    <a:pt x="526" y="560"/>
                  </a:cubicBezTo>
                  <a:cubicBezTo>
                    <a:pt x="526" y="549"/>
                    <a:pt x="515" y="538"/>
                    <a:pt x="501" y="524"/>
                  </a:cubicBezTo>
                  <a:cubicBezTo>
                    <a:pt x="490" y="513"/>
                    <a:pt x="478" y="501"/>
                    <a:pt x="467" y="490"/>
                  </a:cubicBezTo>
                  <a:cubicBezTo>
                    <a:pt x="456" y="490"/>
                    <a:pt x="456" y="479"/>
                    <a:pt x="445" y="479"/>
                  </a:cubicBezTo>
                  <a:cubicBezTo>
                    <a:pt x="431" y="468"/>
                    <a:pt x="431" y="454"/>
                    <a:pt x="431" y="443"/>
                  </a:cubicBezTo>
                  <a:cubicBezTo>
                    <a:pt x="431" y="432"/>
                    <a:pt x="431" y="432"/>
                    <a:pt x="445" y="420"/>
                  </a:cubicBezTo>
                  <a:cubicBezTo>
                    <a:pt x="445" y="420"/>
                    <a:pt x="456" y="409"/>
                    <a:pt x="467" y="398"/>
                  </a:cubicBezTo>
                  <a:cubicBezTo>
                    <a:pt x="467" y="384"/>
                    <a:pt x="478" y="373"/>
                    <a:pt x="478" y="362"/>
                  </a:cubicBezTo>
                  <a:lnTo>
                    <a:pt x="478" y="350"/>
                  </a:lnTo>
                  <a:lnTo>
                    <a:pt x="467" y="339"/>
                  </a:lnTo>
                  <a:cubicBezTo>
                    <a:pt x="445" y="328"/>
                    <a:pt x="431" y="328"/>
                    <a:pt x="408" y="328"/>
                  </a:cubicBezTo>
                  <a:cubicBezTo>
                    <a:pt x="386" y="328"/>
                    <a:pt x="350" y="339"/>
                    <a:pt x="339" y="362"/>
                  </a:cubicBezTo>
                  <a:cubicBezTo>
                    <a:pt x="316" y="398"/>
                    <a:pt x="316" y="420"/>
                    <a:pt x="316" y="454"/>
                  </a:cubicBezTo>
                  <a:cubicBezTo>
                    <a:pt x="316" y="479"/>
                    <a:pt x="316" y="490"/>
                    <a:pt x="327" y="501"/>
                  </a:cubicBezTo>
                  <a:cubicBezTo>
                    <a:pt x="327" y="524"/>
                    <a:pt x="339" y="549"/>
                    <a:pt x="350" y="560"/>
                  </a:cubicBezTo>
                  <a:cubicBezTo>
                    <a:pt x="358" y="568"/>
                    <a:pt x="360" y="582"/>
                    <a:pt x="361" y="594"/>
                  </a:cubicBezTo>
                  <a:lnTo>
                    <a:pt x="291" y="594"/>
                  </a:lnTo>
                  <a:cubicBezTo>
                    <a:pt x="269" y="594"/>
                    <a:pt x="257" y="594"/>
                    <a:pt x="257" y="583"/>
                  </a:cubicBezTo>
                  <a:cubicBezTo>
                    <a:pt x="246" y="583"/>
                    <a:pt x="246" y="583"/>
                    <a:pt x="246" y="571"/>
                  </a:cubicBezTo>
                  <a:cubicBezTo>
                    <a:pt x="246" y="571"/>
                    <a:pt x="235" y="560"/>
                    <a:pt x="235" y="549"/>
                  </a:cubicBezTo>
                  <a:cubicBezTo>
                    <a:pt x="235" y="549"/>
                    <a:pt x="235" y="538"/>
                    <a:pt x="246" y="538"/>
                  </a:cubicBezTo>
                  <a:lnTo>
                    <a:pt x="246" y="513"/>
                  </a:lnTo>
                  <a:cubicBezTo>
                    <a:pt x="246" y="513"/>
                    <a:pt x="246" y="501"/>
                    <a:pt x="235" y="501"/>
                  </a:cubicBezTo>
                  <a:cubicBezTo>
                    <a:pt x="235" y="490"/>
                    <a:pt x="235" y="479"/>
                    <a:pt x="221" y="479"/>
                  </a:cubicBezTo>
                  <a:cubicBezTo>
                    <a:pt x="210" y="468"/>
                    <a:pt x="199" y="468"/>
                    <a:pt x="199" y="468"/>
                  </a:cubicBezTo>
                  <a:lnTo>
                    <a:pt x="140" y="468"/>
                  </a:lnTo>
                  <a:lnTo>
                    <a:pt x="129" y="490"/>
                  </a:lnTo>
                  <a:lnTo>
                    <a:pt x="129" y="501"/>
                  </a:lnTo>
                  <a:lnTo>
                    <a:pt x="59" y="501"/>
                  </a:lnTo>
                  <a:cubicBezTo>
                    <a:pt x="48" y="490"/>
                    <a:pt x="48" y="479"/>
                    <a:pt x="48" y="468"/>
                  </a:cubicBezTo>
                  <a:lnTo>
                    <a:pt x="48" y="454"/>
                  </a:lnTo>
                  <a:lnTo>
                    <a:pt x="48" y="420"/>
                  </a:lnTo>
                  <a:cubicBezTo>
                    <a:pt x="59" y="420"/>
                    <a:pt x="70" y="409"/>
                    <a:pt x="95" y="398"/>
                  </a:cubicBezTo>
                  <a:cubicBezTo>
                    <a:pt x="106" y="373"/>
                    <a:pt x="118" y="362"/>
                    <a:pt x="118" y="339"/>
                  </a:cubicBezTo>
                  <a:lnTo>
                    <a:pt x="118" y="314"/>
                  </a:lnTo>
                  <a:cubicBezTo>
                    <a:pt x="106" y="292"/>
                    <a:pt x="95" y="292"/>
                    <a:pt x="81" y="281"/>
                  </a:cubicBezTo>
                  <a:cubicBezTo>
                    <a:pt x="59" y="269"/>
                    <a:pt x="48" y="244"/>
                    <a:pt x="48" y="222"/>
                  </a:cubicBezTo>
                  <a:lnTo>
                    <a:pt x="48" y="211"/>
                  </a:lnTo>
                  <a:cubicBezTo>
                    <a:pt x="48" y="199"/>
                    <a:pt x="48" y="188"/>
                    <a:pt x="59" y="174"/>
                  </a:cubicBezTo>
                  <a:cubicBezTo>
                    <a:pt x="70" y="163"/>
                    <a:pt x="81" y="163"/>
                    <a:pt x="95" y="163"/>
                  </a:cubicBezTo>
                  <a:lnTo>
                    <a:pt x="129" y="163"/>
                  </a:lnTo>
                  <a:cubicBezTo>
                    <a:pt x="140" y="163"/>
                    <a:pt x="151" y="163"/>
                    <a:pt x="165" y="152"/>
                  </a:cubicBezTo>
                  <a:cubicBezTo>
                    <a:pt x="176" y="152"/>
                    <a:pt x="176" y="141"/>
                    <a:pt x="188" y="130"/>
                  </a:cubicBezTo>
                  <a:lnTo>
                    <a:pt x="188" y="104"/>
                  </a:lnTo>
                  <a:cubicBezTo>
                    <a:pt x="188" y="93"/>
                    <a:pt x="199" y="82"/>
                    <a:pt x="199" y="82"/>
                  </a:cubicBezTo>
                  <a:cubicBezTo>
                    <a:pt x="208" y="82"/>
                    <a:pt x="210" y="74"/>
                    <a:pt x="217" y="71"/>
                  </a:cubicBezTo>
                  <a:lnTo>
                    <a:pt x="217" y="71"/>
                  </a:lnTo>
                  <a:cubicBezTo>
                    <a:pt x="221" y="83"/>
                    <a:pt x="221" y="96"/>
                    <a:pt x="221" y="104"/>
                  </a:cubicBezTo>
                  <a:cubicBezTo>
                    <a:pt x="235" y="130"/>
                    <a:pt x="246" y="152"/>
                    <a:pt x="280" y="152"/>
                  </a:cubicBezTo>
                  <a:lnTo>
                    <a:pt x="291" y="152"/>
                  </a:lnTo>
                  <a:cubicBezTo>
                    <a:pt x="316" y="152"/>
                    <a:pt x="339" y="141"/>
                    <a:pt x="350" y="130"/>
                  </a:cubicBezTo>
                  <a:cubicBezTo>
                    <a:pt x="361" y="118"/>
                    <a:pt x="386" y="104"/>
                    <a:pt x="386" y="104"/>
                  </a:cubicBezTo>
                  <a:lnTo>
                    <a:pt x="397" y="104"/>
                  </a:lnTo>
                  <a:cubicBezTo>
                    <a:pt x="408" y="104"/>
                    <a:pt x="420" y="118"/>
                    <a:pt x="431" y="130"/>
                  </a:cubicBezTo>
                  <a:cubicBezTo>
                    <a:pt x="431" y="141"/>
                    <a:pt x="445" y="152"/>
                    <a:pt x="445" y="174"/>
                  </a:cubicBezTo>
                  <a:cubicBezTo>
                    <a:pt x="431" y="188"/>
                    <a:pt x="431" y="199"/>
                    <a:pt x="431" y="211"/>
                  </a:cubicBezTo>
                  <a:lnTo>
                    <a:pt x="431" y="233"/>
                  </a:lnTo>
                  <a:cubicBezTo>
                    <a:pt x="445" y="244"/>
                    <a:pt x="445" y="258"/>
                    <a:pt x="456" y="269"/>
                  </a:cubicBezTo>
                  <a:cubicBezTo>
                    <a:pt x="456" y="269"/>
                    <a:pt x="478" y="281"/>
                    <a:pt x="490" y="281"/>
                  </a:cubicBezTo>
                  <a:cubicBezTo>
                    <a:pt x="515" y="281"/>
                    <a:pt x="526" y="269"/>
                    <a:pt x="537" y="269"/>
                  </a:cubicBezTo>
                  <a:cubicBezTo>
                    <a:pt x="548" y="258"/>
                    <a:pt x="559" y="244"/>
                    <a:pt x="571" y="233"/>
                  </a:cubicBezTo>
                  <a:cubicBezTo>
                    <a:pt x="585" y="211"/>
                    <a:pt x="596" y="199"/>
                    <a:pt x="596" y="174"/>
                  </a:cubicBezTo>
                  <a:cubicBezTo>
                    <a:pt x="596" y="163"/>
                    <a:pt x="596" y="152"/>
                    <a:pt x="607" y="141"/>
                  </a:cubicBezTo>
                  <a:cubicBezTo>
                    <a:pt x="607" y="118"/>
                    <a:pt x="607" y="104"/>
                    <a:pt x="618" y="104"/>
                  </a:cubicBezTo>
                  <a:cubicBezTo>
                    <a:pt x="629" y="93"/>
                    <a:pt x="629" y="82"/>
                    <a:pt x="641" y="82"/>
                  </a:cubicBezTo>
                  <a:cubicBezTo>
                    <a:pt x="641" y="82"/>
                    <a:pt x="641" y="93"/>
                    <a:pt x="655" y="93"/>
                  </a:cubicBezTo>
                  <a:cubicBezTo>
                    <a:pt x="666" y="93"/>
                    <a:pt x="666" y="104"/>
                    <a:pt x="677" y="104"/>
                  </a:cubicBezTo>
                  <a:cubicBezTo>
                    <a:pt x="688" y="104"/>
                    <a:pt x="688" y="93"/>
                    <a:pt x="699" y="93"/>
                  </a:cubicBezTo>
                  <a:cubicBezTo>
                    <a:pt x="710" y="82"/>
                    <a:pt x="710" y="82"/>
                    <a:pt x="710" y="71"/>
                  </a:cubicBezTo>
                  <a:cubicBezTo>
                    <a:pt x="724" y="60"/>
                    <a:pt x="724" y="60"/>
                    <a:pt x="724" y="48"/>
                  </a:cubicBezTo>
                  <a:close/>
                  <a:moveTo>
                    <a:pt x="736" y="1"/>
                  </a:moveTo>
                  <a:cubicBezTo>
                    <a:pt x="724" y="1"/>
                    <a:pt x="710" y="1"/>
                    <a:pt x="699" y="12"/>
                  </a:cubicBezTo>
                  <a:cubicBezTo>
                    <a:pt x="688" y="12"/>
                    <a:pt x="688" y="23"/>
                    <a:pt x="677" y="35"/>
                  </a:cubicBezTo>
                  <a:lnTo>
                    <a:pt x="677" y="48"/>
                  </a:lnTo>
                  <a:lnTo>
                    <a:pt x="671" y="54"/>
                  </a:lnTo>
                  <a:lnTo>
                    <a:pt x="666" y="48"/>
                  </a:lnTo>
                  <a:cubicBezTo>
                    <a:pt x="655" y="35"/>
                    <a:pt x="641" y="35"/>
                    <a:pt x="641" y="35"/>
                  </a:cubicBezTo>
                  <a:lnTo>
                    <a:pt x="629" y="35"/>
                  </a:lnTo>
                  <a:cubicBezTo>
                    <a:pt x="607" y="48"/>
                    <a:pt x="596" y="60"/>
                    <a:pt x="585" y="71"/>
                  </a:cubicBezTo>
                  <a:cubicBezTo>
                    <a:pt x="571" y="93"/>
                    <a:pt x="559" y="104"/>
                    <a:pt x="559" y="130"/>
                  </a:cubicBezTo>
                  <a:cubicBezTo>
                    <a:pt x="559" y="141"/>
                    <a:pt x="548" y="152"/>
                    <a:pt x="548" y="174"/>
                  </a:cubicBezTo>
                  <a:cubicBezTo>
                    <a:pt x="548" y="188"/>
                    <a:pt x="537" y="199"/>
                    <a:pt x="537" y="199"/>
                  </a:cubicBezTo>
                  <a:cubicBezTo>
                    <a:pt x="526" y="211"/>
                    <a:pt x="526" y="222"/>
                    <a:pt x="515" y="222"/>
                  </a:cubicBezTo>
                  <a:cubicBezTo>
                    <a:pt x="501" y="233"/>
                    <a:pt x="490" y="233"/>
                    <a:pt x="490" y="233"/>
                  </a:cubicBezTo>
                  <a:lnTo>
                    <a:pt x="478" y="222"/>
                  </a:lnTo>
                  <a:lnTo>
                    <a:pt x="478" y="211"/>
                  </a:lnTo>
                  <a:cubicBezTo>
                    <a:pt x="478" y="211"/>
                    <a:pt x="478" y="199"/>
                    <a:pt x="490" y="188"/>
                  </a:cubicBezTo>
                  <a:lnTo>
                    <a:pt x="490" y="174"/>
                  </a:lnTo>
                  <a:cubicBezTo>
                    <a:pt x="490" y="152"/>
                    <a:pt x="478" y="130"/>
                    <a:pt x="467" y="104"/>
                  </a:cubicBezTo>
                  <a:cubicBezTo>
                    <a:pt x="456" y="82"/>
                    <a:pt x="420" y="60"/>
                    <a:pt x="397" y="60"/>
                  </a:cubicBezTo>
                  <a:lnTo>
                    <a:pt x="386" y="60"/>
                  </a:lnTo>
                  <a:cubicBezTo>
                    <a:pt x="350" y="71"/>
                    <a:pt x="339" y="82"/>
                    <a:pt x="327" y="93"/>
                  </a:cubicBezTo>
                  <a:cubicBezTo>
                    <a:pt x="316" y="104"/>
                    <a:pt x="291" y="104"/>
                    <a:pt x="291" y="104"/>
                  </a:cubicBezTo>
                  <a:lnTo>
                    <a:pt x="280" y="104"/>
                  </a:lnTo>
                  <a:cubicBezTo>
                    <a:pt x="280" y="104"/>
                    <a:pt x="269" y="104"/>
                    <a:pt x="269" y="93"/>
                  </a:cubicBezTo>
                  <a:cubicBezTo>
                    <a:pt x="269" y="82"/>
                    <a:pt x="269" y="71"/>
                    <a:pt x="257" y="48"/>
                  </a:cubicBezTo>
                  <a:lnTo>
                    <a:pt x="257" y="35"/>
                  </a:lnTo>
                  <a:lnTo>
                    <a:pt x="246" y="35"/>
                  </a:lnTo>
                  <a:cubicBezTo>
                    <a:pt x="235" y="35"/>
                    <a:pt x="235" y="23"/>
                    <a:pt x="221" y="23"/>
                  </a:cubicBezTo>
                  <a:cubicBezTo>
                    <a:pt x="199" y="23"/>
                    <a:pt x="188" y="35"/>
                    <a:pt x="176" y="48"/>
                  </a:cubicBezTo>
                  <a:cubicBezTo>
                    <a:pt x="165" y="60"/>
                    <a:pt x="151" y="71"/>
                    <a:pt x="140" y="93"/>
                  </a:cubicBezTo>
                  <a:lnTo>
                    <a:pt x="140" y="118"/>
                  </a:lnTo>
                  <a:lnTo>
                    <a:pt x="81" y="118"/>
                  </a:lnTo>
                  <a:cubicBezTo>
                    <a:pt x="59" y="118"/>
                    <a:pt x="37" y="130"/>
                    <a:pt x="25" y="152"/>
                  </a:cubicBezTo>
                  <a:cubicBezTo>
                    <a:pt x="11" y="163"/>
                    <a:pt x="0" y="188"/>
                    <a:pt x="0" y="211"/>
                  </a:cubicBezTo>
                  <a:lnTo>
                    <a:pt x="0" y="222"/>
                  </a:lnTo>
                  <a:cubicBezTo>
                    <a:pt x="0" y="258"/>
                    <a:pt x="25" y="303"/>
                    <a:pt x="59" y="328"/>
                  </a:cubicBezTo>
                  <a:cubicBezTo>
                    <a:pt x="70" y="328"/>
                    <a:pt x="70" y="339"/>
                    <a:pt x="70" y="339"/>
                  </a:cubicBezTo>
                  <a:cubicBezTo>
                    <a:pt x="70" y="339"/>
                    <a:pt x="70" y="350"/>
                    <a:pt x="59" y="362"/>
                  </a:cubicBezTo>
                  <a:cubicBezTo>
                    <a:pt x="48" y="362"/>
                    <a:pt x="37" y="373"/>
                    <a:pt x="11" y="398"/>
                  </a:cubicBezTo>
                  <a:cubicBezTo>
                    <a:pt x="0" y="420"/>
                    <a:pt x="0" y="443"/>
                    <a:pt x="0" y="454"/>
                  </a:cubicBezTo>
                  <a:lnTo>
                    <a:pt x="0" y="468"/>
                  </a:lnTo>
                  <a:cubicBezTo>
                    <a:pt x="0" y="490"/>
                    <a:pt x="0" y="513"/>
                    <a:pt x="25" y="524"/>
                  </a:cubicBezTo>
                  <a:cubicBezTo>
                    <a:pt x="37" y="538"/>
                    <a:pt x="48" y="549"/>
                    <a:pt x="59" y="549"/>
                  </a:cubicBezTo>
                  <a:lnTo>
                    <a:pt x="140" y="549"/>
                  </a:lnTo>
                  <a:cubicBezTo>
                    <a:pt x="151" y="538"/>
                    <a:pt x="165" y="538"/>
                    <a:pt x="165" y="524"/>
                  </a:cubicBezTo>
                  <a:cubicBezTo>
                    <a:pt x="172" y="524"/>
                    <a:pt x="175" y="519"/>
                    <a:pt x="176" y="513"/>
                  </a:cubicBezTo>
                  <a:lnTo>
                    <a:pt x="199" y="513"/>
                  </a:lnTo>
                  <a:lnTo>
                    <a:pt x="199" y="524"/>
                  </a:lnTo>
                  <a:cubicBezTo>
                    <a:pt x="188" y="538"/>
                    <a:pt x="188" y="538"/>
                    <a:pt x="188" y="549"/>
                  </a:cubicBezTo>
                  <a:cubicBezTo>
                    <a:pt x="188" y="560"/>
                    <a:pt x="199" y="571"/>
                    <a:pt x="199" y="583"/>
                  </a:cubicBezTo>
                  <a:cubicBezTo>
                    <a:pt x="199" y="608"/>
                    <a:pt x="210" y="619"/>
                    <a:pt x="221" y="630"/>
                  </a:cubicBezTo>
                  <a:cubicBezTo>
                    <a:pt x="246" y="641"/>
                    <a:pt x="269" y="641"/>
                    <a:pt x="291" y="641"/>
                  </a:cubicBezTo>
                  <a:lnTo>
                    <a:pt x="386" y="641"/>
                  </a:lnTo>
                  <a:cubicBezTo>
                    <a:pt x="397" y="641"/>
                    <a:pt x="397" y="630"/>
                    <a:pt x="408" y="630"/>
                  </a:cubicBezTo>
                  <a:lnTo>
                    <a:pt x="408" y="619"/>
                  </a:lnTo>
                  <a:lnTo>
                    <a:pt x="408" y="608"/>
                  </a:lnTo>
                  <a:cubicBezTo>
                    <a:pt x="408" y="571"/>
                    <a:pt x="397" y="560"/>
                    <a:pt x="397" y="538"/>
                  </a:cubicBezTo>
                  <a:cubicBezTo>
                    <a:pt x="386" y="524"/>
                    <a:pt x="375" y="501"/>
                    <a:pt x="361" y="490"/>
                  </a:cubicBezTo>
                  <a:lnTo>
                    <a:pt x="361" y="454"/>
                  </a:lnTo>
                  <a:cubicBezTo>
                    <a:pt x="361" y="432"/>
                    <a:pt x="361" y="409"/>
                    <a:pt x="375" y="398"/>
                  </a:cubicBezTo>
                  <a:cubicBezTo>
                    <a:pt x="386" y="373"/>
                    <a:pt x="397" y="373"/>
                    <a:pt x="408" y="373"/>
                  </a:cubicBezTo>
                  <a:lnTo>
                    <a:pt x="431" y="373"/>
                  </a:lnTo>
                  <a:cubicBezTo>
                    <a:pt x="420" y="373"/>
                    <a:pt x="420" y="373"/>
                    <a:pt x="408" y="384"/>
                  </a:cubicBezTo>
                  <a:cubicBezTo>
                    <a:pt x="397" y="409"/>
                    <a:pt x="386" y="432"/>
                    <a:pt x="386" y="443"/>
                  </a:cubicBezTo>
                  <a:cubicBezTo>
                    <a:pt x="386" y="468"/>
                    <a:pt x="397" y="490"/>
                    <a:pt x="408" y="513"/>
                  </a:cubicBezTo>
                  <a:cubicBezTo>
                    <a:pt x="420" y="524"/>
                    <a:pt x="431" y="524"/>
                    <a:pt x="445" y="538"/>
                  </a:cubicBezTo>
                  <a:cubicBezTo>
                    <a:pt x="456" y="538"/>
                    <a:pt x="467" y="549"/>
                    <a:pt x="467" y="549"/>
                  </a:cubicBezTo>
                  <a:cubicBezTo>
                    <a:pt x="478" y="560"/>
                    <a:pt x="478" y="560"/>
                    <a:pt x="478" y="571"/>
                  </a:cubicBezTo>
                  <a:cubicBezTo>
                    <a:pt x="490" y="583"/>
                    <a:pt x="490" y="594"/>
                    <a:pt x="501" y="608"/>
                  </a:cubicBezTo>
                  <a:cubicBezTo>
                    <a:pt x="515" y="641"/>
                    <a:pt x="548" y="664"/>
                    <a:pt x="596" y="664"/>
                  </a:cubicBezTo>
                  <a:cubicBezTo>
                    <a:pt x="607" y="664"/>
                    <a:pt x="629" y="652"/>
                    <a:pt x="655" y="641"/>
                  </a:cubicBezTo>
                  <a:cubicBezTo>
                    <a:pt x="666" y="630"/>
                    <a:pt x="677" y="619"/>
                    <a:pt x="677" y="594"/>
                  </a:cubicBezTo>
                  <a:lnTo>
                    <a:pt x="677" y="583"/>
                  </a:lnTo>
                  <a:cubicBezTo>
                    <a:pt x="677" y="571"/>
                    <a:pt x="677" y="549"/>
                    <a:pt x="666" y="538"/>
                  </a:cubicBezTo>
                  <a:cubicBezTo>
                    <a:pt x="655" y="524"/>
                    <a:pt x="641" y="524"/>
                    <a:pt x="629" y="513"/>
                  </a:cubicBezTo>
                  <a:cubicBezTo>
                    <a:pt x="629" y="501"/>
                    <a:pt x="618" y="501"/>
                    <a:pt x="618" y="490"/>
                  </a:cubicBezTo>
                  <a:lnTo>
                    <a:pt x="607" y="479"/>
                  </a:lnTo>
                  <a:cubicBezTo>
                    <a:pt x="607" y="468"/>
                    <a:pt x="618" y="468"/>
                    <a:pt x="629" y="454"/>
                  </a:cubicBezTo>
                  <a:lnTo>
                    <a:pt x="629" y="432"/>
                  </a:lnTo>
                  <a:lnTo>
                    <a:pt x="629" y="398"/>
                  </a:lnTo>
                  <a:lnTo>
                    <a:pt x="629" y="384"/>
                  </a:lnTo>
                  <a:lnTo>
                    <a:pt x="641" y="373"/>
                  </a:lnTo>
                  <a:cubicBezTo>
                    <a:pt x="655" y="373"/>
                    <a:pt x="655" y="362"/>
                    <a:pt x="666" y="362"/>
                  </a:cubicBezTo>
                  <a:cubicBezTo>
                    <a:pt x="677" y="350"/>
                    <a:pt x="677" y="350"/>
                    <a:pt x="677" y="339"/>
                  </a:cubicBezTo>
                  <a:lnTo>
                    <a:pt x="677" y="328"/>
                  </a:lnTo>
                  <a:lnTo>
                    <a:pt x="677" y="303"/>
                  </a:lnTo>
                  <a:cubicBezTo>
                    <a:pt x="677" y="292"/>
                    <a:pt x="677" y="292"/>
                    <a:pt x="666" y="281"/>
                  </a:cubicBezTo>
                  <a:lnTo>
                    <a:pt x="666" y="269"/>
                  </a:lnTo>
                  <a:cubicBezTo>
                    <a:pt x="666" y="269"/>
                    <a:pt x="677" y="258"/>
                    <a:pt x="677" y="244"/>
                  </a:cubicBezTo>
                  <a:cubicBezTo>
                    <a:pt x="688" y="244"/>
                    <a:pt x="699" y="233"/>
                    <a:pt x="710" y="222"/>
                  </a:cubicBezTo>
                  <a:cubicBezTo>
                    <a:pt x="736" y="222"/>
                    <a:pt x="747" y="211"/>
                    <a:pt x="769" y="199"/>
                  </a:cubicBezTo>
                  <a:cubicBezTo>
                    <a:pt x="794" y="174"/>
                    <a:pt x="806" y="141"/>
                    <a:pt x="806" y="104"/>
                  </a:cubicBezTo>
                  <a:cubicBezTo>
                    <a:pt x="806" y="93"/>
                    <a:pt x="806" y="71"/>
                    <a:pt x="794" y="48"/>
                  </a:cubicBezTo>
                  <a:cubicBezTo>
                    <a:pt x="794" y="35"/>
                    <a:pt x="780" y="23"/>
                    <a:pt x="769" y="12"/>
                  </a:cubicBezTo>
                  <a:cubicBezTo>
                    <a:pt x="758" y="1"/>
                    <a:pt x="747" y="1"/>
                    <a:pt x="736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" name="Google Shape;163;p17">
              <a:extLst>
                <a:ext uri="{FF2B5EF4-FFF2-40B4-BE49-F238E27FC236}">
                  <a16:creationId xmlns:a16="http://schemas.microsoft.com/office/drawing/2014/main" xmlns="" id="{53427AFE-0C89-8B86-3A04-EE74035C38C4}"/>
                </a:ext>
              </a:extLst>
            </p:cNvPr>
            <p:cNvSpPr/>
            <p:nvPr/>
          </p:nvSpPr>
          <p:spPr>
            <a:xfrm>
              <a:off x="3173681" y="1876976"/>
              <a:ext cx="42882" cy="58561"/>
            </a:xfrm>
            <a:custGeom>
              <a:avLst/>
              <a:gdLst/>
              <a:ahLst/>
              <a:cxnLst/>
              <a:rect l="l" t="t" r="r" b="b"/>
              <a:pathLst>
                <a:path w="186" h="254" extrusionOk="0">
                  <a:moveTo>
                    <a:pt x="78" y="0"/>
                  </a:moveTo>
                  <a:cubicBezTo>
                    <a:pt x="67" y="0"/>
                    <a:pt x="59" y="6"/>
                    <a:pt x="59" y="19"/>
                  </a:cubicBezTo>
                  <a:cubicBezTo>
                    <a:pt x="45" y="33"/>
                    <a:pt x="45" y="33"/>
                    <a:pt x="45" y="44"/>
                  </a:cubicBezTo>
                  <a:cubicBezTo>
                    <a:pt x="45" y="103"/>
                    <a:pt x="1" y="148"/>
                    <a:pt x="12" y="206"/>
                  </a:cubicBezTo>
                  <a:cubicBezTo>
                    <a:pt x="12" y="218"/>
                    <a:pt x="23" y="229"/>
                    <a:pt x="34" y="243"/>
                  </a:cubicBezTo>
                  <a:cubicBezTo>
                    <a:pt x="34" y="254"/>
                    <a:pt x="59" y="254"/>
                    <a:pt x="71" y="254"/>
                  </a:cubicBezTo>
                  <a:cubicBezTo>
                    <a:pt x="82" y="243"/>
                    <a:pt x="93" y="206"/>
                    <a:pt x="104" y="195"/>
                  </a:cubicBezTo>
                  <a:cubicBezTo>
                    <a:pt x="115" y="173"/>
                    <a:pt x="152" y="173"/>
                    <a:pt x="163" y="148"/>
                  </a:cubicBezTo>
                  <a:cubicBezTo>
                    <a:pt x="185" y="125"/>
                    <a:pt x="185" y="103"/>
                    <a:pt x="174" y="89"/>
                  </a:cubicBezTo>
                  <a:cubicBezTo>
                    <a:pt x="174" y="67"/>
                    <a:pt x="152" y="55"/>
                    <a:pt x="141" y="44"/>
                  </a:cubicBezTo>
                  <a:cubicBezTo>
                    <a:pt x="129" y="33"/>
                    <a:pt x="115" y="33"/>
                    <a:pt x="115" y="19"/>
                  </a:cubicBezTo>
                  <a:cubicBezTo>
                    <a:pt x="104" y="19"/>
                    <a:pt x="104" y="8"/>
                    <a:pt x="104" y="8"/>
                  </a:cubicBezTo>
                  <a:cubicBezTo>
                    <a:pt x="95" y="3"/>
                    <a:pt x="86" y="0"/>
                    <a:pt x="78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" name="Google Shape;164;p17">
              <a:extLst>
                <a:ext uri="{FF2B5EF4-FFF2-40B4-BE49-F238E27FC236}">
                  <a16:creationId xmlns:a16="http://schemas.microsoft.com/office/drawing/2014/main" xmlns="" id="{16A0ABB2-1C0B-EE94-EDCA-EE49AC8F2706}"/>
                </a:ext>
              </a:extLst>
            </p:cNvPr>
            <p:cNvSpPr/>
            <p:nvPr/>
          </p:nvSpPr>
          <p:spPr>
            <a:xfrm>
              <a:off x="3171145" y="1873518"/>
              <a:ext cx="48646" cy="67322"/>
            </a:xfrm>
            <a:custGeom>
              <a:avLst/>
              <a:gdLst/>
              <a:ahLst/>
              <a:cxnLst/>
              <a:rect l="l" t="t" r="r" b="b"/>
              <a:pathLst>
                <a:path w="211" h="292" extrusionOk="0">
                  <a:moveTo>
                    <a:pt x="93" y="48"/>
                  </a:moveTo>
                  <a:cubicBezTo>
                    <a:pt x="93" y="48"/>
                    <a:pt x="104" y="48"/>
                    <a:pt x="104" y="59"/>
                  </a:cubicBezTo>
                  <a:cubicBezTo>
                    <a:pt x="115" y="70"/>
                    <a:pt x="126" y="70"/>
                    <a:pt x="140" y="70"/>
                  </a:cubicBezTo>
                  <a:cubicBezTo>
                    <a:pt x="152" y="82"/>
                    <a:pt x="163" y="93"/>
                    <a:pt x="163" y="104"/>
                  </a:cubicBezTo>
                  <a:lnTo>
                    <a:pt x="163" y="129"/>
                  </a:lnTo>
                  <a:lnTo>
                    <a:pt x="163" y="140"/>
                  </a:lnTo>
                  <a:cubicBezTo>
                    <a:pt x="152" y="151"/>
                    <a:pt x="152" y="163"/>
                    <a:pt x="140" y="163"/>
                  </a:cubicBezTo>
                  <a:cubicBezTo>
                    <a:pt x="126" y="174"/>
                    <a:pt x="104" y="174"/>
                    <a:pt x="93" y="199"/>
                  </a:cubicBezTo>
                  <a:cubicBezTo>
                    <a:pt x="93" y="210"/>
                    <a:pt x="82" y="221"/>
                    <a:pt x="82" y="233"/>
                  </a:cubicBezTo>
                  <a:lnTo>
                    <a:pt x="70" y="233"/>
                  </a:lnTo>
                  <a:lnTo>
                    <a:pt x="70" y="244"/>
                  </a:lnTo>
                  <a:lnTo>
                    <a:pt x="56" y="233"/>
                  </a:lnTo>
                  <a:lnTo>
                    <a:pt x="45" y="221"/>
                  </a:lnTo>
                  <a:lnTo>
                    <a:pt x="45" y="199"/>
                  </a:lnTo>
                  <a:cubicBezTo>
                    <a:pt x="45" y="188"/>
                    <a:pt x="45" y="163"/>
                    <a:pt x="56" y="140"/>
                  </a:cubicBezTo>
                  <a:cubicBezTo>
                    <a:pt x="70" y="118"/>
                    <a:pt x="82" y="93"/>
                    <a:pt x="82" y="59"/>
                  </a:cubicBezTo>
                  <a:lnTo>
                    <a:pt x="82" y="48"/>
                  </a:lnTo>
                  <a:close/>
                  <a:moveTo>
                    <a:pt x="93" y="0"/>
                  </a:moveTo>
                  <a:cubicBezTo>
                    <a:pt x="70" y="0"/>
                    <a:pt x="56" y="0"/>
                    <a:pt x="45" y="23"/>
                  </a:cubicBezTo>
                  <a:cubicBezTo>
                    <a:pt x="34" y="34"/>
                    <a:pt x="34" y="48"/>
                    <a:pt x="34" y="59"/>
                  </a:cubicBezTo>
                  <a:cubicBezTo>
                    <a:pt x="34" y="82"/>
                    <a:pt x="23" y="104"/>
                    <a:pt x="12" y="129"/>
                  </a:cubicBezTo>
                  <a:cubicBezTo>
                    <a:pt x="12" y="151"/>
                    <a:pt x="1" y="174"/>
                    <a:pt x="1" y="199"/>
                  </a:cubicBezTo>
                  <a:lnTo>
                    <a:pt x="1" y="221"/>
                  </a:lnTo>
                  <a:cubicBezTo>
                    <a:pt x="1" y="244"/>
                    <a:pt x="12" y="258"/>
                    <a:pt x="23" y="269"/>
                  </a:cubicBezTo>
                  <a:cubicBezTo>
                    <a:pt x="34" y="280"/>
                    <a:pt x="45" y="291"/>
                    <a:pt x="70" y="291"/>
                  </a:cubicBezTo>
                  <a:cubicBezTo>
                    <a:pt x="70" y="291"/>
                    <a:pt x="82" y="291"/>
                    <a:pt x="82" y="280"/>
                  </a:cubicBezTo>
                  <a:cubicBezTo>
                    <a:pt x="93" y="280"/>
                    <a:pt x="104" y="280"/>
                    <a:pt x="104" y="269"/>
                  </a:cubicBezTo>
                  <a:cubicBezTo>
                    <a:pt x="115" y="258"/>
                    <a:pt x="115" y="244"/>
                    <a:pt x="126" y="244"/>
                  </a:cubicBezTo>
                  <a:cubicBezTo>
                    <a:pt x="126" y="233"/>
                    <a:pt x="126" y="221"/>
                    <a:pt x="140" y="221"/>
                  </a:cubicBezTo>
                  <a:cubicBezTo>
                    <a:pt x="140" y="221"/>
                    <a:pt x="152" y="210"/>
                    <a:pt x="163" y="210"/>
                  </a:cubicBezTo>
                  <a:cubicBezTo>
                    <a:pt x="174" y="199"/>
                    <a:pt x="185" y="188"/>
                    <a:pt x="196" y="174"/>
                  </a:cubicBezTo>
                  <a:cubicBezTo>
                    <a:pt x="210" y="163"/>
                    <a:pt x="210" y="140"/>
                    <a:pt x="210" y="129"/>
                  </a:cubicBezTo>
                  <a:lnTo>
                    <a:pt x="210" y="93"/>
                  </a:lnTo>
                  <a:cubicBezTo>
                    <a:pt x="196" y="70"/>
                    <a:pt x="185" y="48"/>
                    <a:pt x="163" y="34"/>
                  </a:cubicBezTo>
                  <a:cubicBezTo>
                    <a:pt x="152" y="23"/>
                    <a:pt x="140" y="23"/>
                    <a:pt x="140" y="23"/>
                  </a:cubicBezTo>
                  <a:cubicBezTo>
                    <a:pt x="140" y="23"/>
                    <a:pt x="140" y="12"/>
                    <a:pt x="126" y="12"/>
                  </a:cubicBezTo>
                  <a:cubicBezTo>
                    <a:pt x="115" y="0"/>
                    <a:pt x="104" y="0"/>
                    <a:pt x="93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" name="Google Shape;165;p17">
              <a:extLst>
                <a:ext uri="{FF2B5EF4-FFF2-40B4-BE49-F238E27FC236}">
                  <a16:creationId xmlns:a16="http://schemas.microsoft.com/office/drawing/2014/main" xmlns="" id="{AD8FF066-42FC-0569-7858-D93A7D8BDCFF}"/>
                </a:ext>
              </a:extLst>
            </p:cNvPr>
            <p:cNvSpPr/>
            <p:nvPr/>
          </p:nvSpPr>
          <p:spPr>
            <a:xfrm>
              <a:off x="3549479" y="1964126"/>
              <a:ext cx="336142" cy="231938"/>
            </a:xfrm>
            <a:custGeom>
              <a:avLst/>
              <a:gdLst/>
              <a:ahLst/>
              <a:cxnLst/>
              <a:rect l="l" t="t" r="r" b="b"/>
              <a:pathLst>
                <a:path w="1458" h="1006" extrusionOk="0">
                  <a:moveTo>
                    <a:pt x="901" y="0"/>
                  </a:moveTo>
                  <a:cubicBezTo>
                    <a:pt x="896" y="0"/>
                    <a:pt x="892" y="2"/>
                    <a:pt x="887" y="5"/>
                  </a:cubicBezTo>
                  <a:cubicBezTo>
                    <a:pt x="876" y="5"/>
                    <a:pt x="851" y="16"/>
                    <a:pt x="840" y="27"/>
                  </a:cubicBezTo>
                  <a:lnTo>
                    <a:pt x="792" y="27"/>
                  </a:lnTo>
                  <a:cubicBezTo>
                    <a:pt x="759" y="16"/>
                    <a:pt x="722" y="16"/>
                    <a:pt x="689" y="5"/>
                  </a:cubicBezTo>
                  <a:cubicBezTo>
                    <a:pt x="679" y="5"/>
                    <a:pt x="665" y="2"/>
                    <a:pt x="650" y="2"/>
                  </a:cubicBezTo>
                  <a:cubicBezTo>
                    <a:pt x="632" y="2"/>
                    <a:pt x="614" y="6"/>
                    <a:pt x="608" y="27"/>
                  </a:cubicBezTo>
                  <a:cubicBezTo>
                    <a:pt x="583" y="49"/>
                    <a:pt x="597" y="86"/>
                    <a:pt x="597" y="119"/>
                  </a:cubicBezTo>
                  <a:cubicBezTo>
                    <a:pt x="583" y="144"/>
                    <a:pt x="560" y="167"/>
                    <a:pt x="538" y="178"/>
                  </a:cubicBezTo>
                  <a:cubicBezTo>
                    <a:pt x="513" y="189"/>
                    <a:pt x="479" y="200"/>
                    <a:pt x="457" y="200"/>
                  </a:cubicBezTo>
                  <a:cubicBezTo>
                    <a:pt x="409" y="200"/>
                    <a:pt x="362" y="200"/>
                    <a:pt x="328" y="214"/>
                  </a:cubicBezTo>
                  <a:cubicBezTo>
                    <a:pt x="292" y="225"/>
                    <a:pt x="258" y="237"/>
                    <a:pt x="222" y="248"/>
                  </a:cubicBezTo>
                  <a:cubicBezTo>
                    <a:pt x="211" y="253"/>
                    <a:pt x="202" y="256"/>
                    <a:pt x="194" y="256"/>
                  </a:cubicBezTo>
                  <a:cubicBezTo>
                    <a:pt x="185" y="256"/>
                    <a:pt x="176" y="253"/>
                    <a:pt x="163" y="248"/>
                  </a:cubicBezTo>
                  <a:cubicBezTo>
                    <a:pt x="152" y="248"/>
                    <a:pt x="130" y="237"/>
                    <a:pt x="118" y="237"/>
                  </a:cubicBezTo>
                  <a:cubicBezTo>
                    <a:pt x="113" y="236"/>
                    <a:pt x="109" y="235"/>
                    <a:pt x="104" y="235"/>
                  </a:cubicBezTo>
                  <a:cubicBezTo>
                    <a:pt x="54" y="235"/>
                    <a:pt x="23" y="288"/>
                    <a:pt x="23" y="329"/>
                  </a:cubicBezTo>
                  <a:cubicBezTo>
                    <a:pt x="37" y="365"/>
                    <a:pt x="37" y="388"/>
                    <a:pt x="23" y="424"/>
                  </a:cubicBezTo>
                  <a:cubicBezTo>
                    <a:pt x="23" y="457"/>
                    <a:pt x="1" y="494"/>
                    <a:pt x="12" y="539"/>
                  </a:cubicBezTo>
                  <a:lnTo>
                    <a:pt x="12" y="550"/>
                  </a:lnTo>
                  <a:cubicBezTo>
                    <a:pt x="23" y="564"/>
                    <a:pt x="37" y="564"/>
                    <a:pt x="48" y="575"/>
                  </a:cubicBezTo>
                  <a:cubicBezTo>
                    <a:pt x="93" y="586"/>
                    <a:pt x="141" y="608"/>
                    <a:pt x="177" y="620"/>
                  </a:cubicBezTo>
                  <a:cubicBezTo>
                    <a:pt x="197" y="631"/>
                    <a:pt x="221" y="637"/>
                    <a:pt x="243" y="637"/>
                  </a:cubicBezTo>
                  <a:cubicBezTo>
                    <a:pt x="271" y="637"/>
                    <a:pt x="297" y="628"/>
                    <a:pt x="317" y="608"/>
                  </a:cubicBezTo>
                  <a:cubicBezTo>
                    <a:pt x="328" y="597"/>
                    <a:pt x="328" y="586"/>
                    <a:pt x="339" y="586"/>
                  </a:cubicBezTo>
                  <a:cubicBezTo>
                    <a:pt x="350" y="575"/>
                    <a:pt x="362" y="572"/>
                    <a:pt x="373" y="572"/>
                  </a:cubicBezTo>
                  <a:cubicBezTo>
                    <a:pt x="383" y="572"/>
                    <a:pt x="392" y="575"/>
                    <a:pt x="398" y="575"/>
                  </a:cubicBezTo>
                  <a:cubicBezTo>
                    <a:pt x="432" y="575"/>
                    <a:pt x="457" y="575"/>
                    <a:pt x="479" y="586"/>
                  </a:cubicBezTo>
                  <a:cubicBezTo>
                    <a:pt x="501" y="597"/>
                    <a:pt x="513" y="634"/>
                    <a:pt x="501" y="656"/>
                  </a:cubicBezTo>
                  <a:cubicBezTo>
                    <a:pt x="501" y="667"/>
                    <a:pt x="490" y="678"/>
                    <a:pt x="479" y="690"/>
                  </a:cubicBezTo>
                  <a:cubicBezTo>
                    <a:pt x="468" y="704"/>
                    <a:pt x="457" y="726"/>
                    <a:pt x="468" y="737"/>
                  </a:cubicBezTo>
                  <a:lnTo>
                    <a:pt x="479" y="748"/>
                  </a:lnTo>
                  <a:cubicBezTo>
                    <a:pt x="538" y="785"/>
                    <a:pt x="513" y="877"/>
                    <a:pt x="560" y="913"/>
                  </a:cubicBezTo>
                  <a:cubicBezTo>
                    <a:pt x="570" y="923"/>
                    <a:pt x="584" y="926"/>
                    <a:pt x="598" y="926"/>
                  </a:cubicBezTo>
                  <a:cubicBezTo>
                    <a:pt x="618" y="926"/>
                    <a:pt x="640" y="920"/>
                    <a:pt x="652" y="913"/>
                  </a:cubicBezTo>
                  <a:cubicBezTo>
                    <a:pt x="689" y="899"/>
                    <a:pt x="722" y="877"/>
                    <a:pt x="759" y="877"/>
                  </a:cubicBezTo>
                  <a:cubicBezTo>
                    <a:pt x="829" y="888"/>
                    <a:pt x="862" y="994"/>
                    <a:pt x="946" y="1006"/>
                  </a:cubicBezTo>
                  <a:cubicBezTo>
                    <a:pt x="991" y="1006"/>
                    <a:pt x="1038" y="969"/>
                    <a:pt x="1086" y="958"/>
                  </a:cubicBezTo>
                  <a:cubicBezTo>
                    <a:pt x="1108" y="958"/>
                    <a:pt x="1142" y="969"/>
                    <a:pt x="1167" y="983"/>
                  </a:cubicBezTo>
                  <a:cubicBezTo>
                    <a:pt x="1201" y="983"/>
                    <a:pt x="1237" y="983"/>
                    <a:pt x="1248" y="958"/>
                  </a:cubicBezTo>
                  <a:cubicBezTo>
                    <a:pt x="1270" y="947"/>
                    <a:pt x="1259" y="913"/>
                    <a:pt x="1259" y="888"/>
                  </a:cubicBezTo>
                  <a:cubicBezTo>
                    <a:pt x="1248" y="855"/>
                    <a:pt x="1237" y="818"/>
                    <a:pt x="1212" y="796"/>
                  </a:cubicBezTo>
                  <a:cubicBezTo>
                    <a:pt x="1178" y="773"/>
                    <a:pt x="1142" y="748"/>
                    <a:pt x="1119" y="715"/>
                  </a:cubicBezTo>
                  <a:cubicBezTo>
                    <a:pt x="1097" y="678"/>
                    <a:pt x="1108" y="620"/>
                    <a:pt x="1142" y="597"/>
                  </a:cubicBezTo>
                  <a:cubicBezTo>
                    <a:pt x="1167" y="597"/>
                    <a:pt x="1201" y="608"/>
                    <a:pt x="1212" y="645"/>
                  </a:cubicBezTo>
                  <a:cubicBezTo>
                    <a:pt x="1237" y="667"/>
                    <a:pt x="1237" y="690"/>
                    <a:pt x="1237" y="726"/>
                  </a:cubicBezTo>
                  <a:cubicBezTo>
                    <a:pt x="1237" y="759"/>
                    <a:pt x="1237" y="785"/>
                    <a:pt x="1248" y="807"/>
                  </a:cubicBezTo>
                  <a:cubicBezTo>
                    <a:pt x="1270" y="866"/>
                    <a:pt x="1329" y="877"/>
                    <a:pt x="1388" y="888"/>
                  </a:cubicBezTo>
                  <a:cubicBezTo>
                    <a:pt x="1395" y="888"/>
                    <a:pt x="1398" y="893"/>
                    <a:pt x="1402" y="893"/>
                  </a:cubicBezTo>
                  <a:cubicBezTo>
                    <a:pt x="1404" y="893"/>
                    <a:pt x="1407" y="892"/>
                    <a:pt x="1410" y="888"/>
                  </a:cubicBezTo>
                  <a:cubicBezTo>
                    <a:pt x="1421" y="888"/>
                    <a:pt x="1421" y="888"/>
                    <a:pt x="1435" y="877"/>
                  </a:cubicBezTo>
                  <a:cubicBezTo>
                    <a:pt x="1458" y="843"/>
                    <a:pt x="1435" y="785"/>
                    <a:pt x="1399" y="748"/>
                  </a:cubicBezTo>
                  <a:cubicBezTo>
                    <a:pt x="1377" y="715"/>
                    <a:pt x="1329" y="690"/>
                    <a:pt x="1318" y="645"/>
                  </a:cubicBezTo>
                  <a:cubicBezTo>
                    <a:pt x="1307" y="620"/>
                    <a:pt x="1307" y="586"/>
                    <a:pt x="1296" y="575"/>
                  </a:cubicBezTo>
                  <a:cubicBezTo>
                    <a:pt x="1282" y="564"/>
                    <a:pt x="1270" y="550"/>
                    <a:pt x="1259" y="550"/>
                  </a:cubicBezTo>
                  <a:cubicBezTo>
                    <a:pt x="1212" y="539"/>
                    <a:pt x="1167" y="505"/>
                    <a:pt x="1156" y="457"/>
                  </a:cubicBezTo>
                  <a:cubicBezTo>
                    <a:pt x="1156" y="435"/>
                    <a:pt x="1156" y="410"/>
                    <a:pt x="1142" y="388"/>
                  </a:cubicBezTo>
                  <a:cubicBezTo>
                    <a:pt x="1131" y="354"/>
                    <a:pt x="1108" y="340"/>
                    <a:pt x="1072" y="329"/>
                  </a:cubicBezTo>
                  <a:cubicBezTo>
                    <a:pt x="1050" y="329"/>
                    <a:pt x="1016" y="318"/>
                    <a:pt x="991" y="306"/>
                  </a:cubicBezTo>
                  <a:cubicBezTo>
                    <a:pt x="957" y="295"/>
                    <a:pt x="946" y="259"/>
                    <a:pt x="946" y="237"/>
                  </a:cubicBezTo>
                  <a:cubicBezTo>
                    <a:pt x="957" y="214"/>
                    <a:pt x="980" y="200"/>
                    <a:pt x="1002" y="200"/>
                  </a:cubicBezTo>
                  <a:cubicBezTo>
                    <a:pt x="1006" y="197"/>
                    <a:pt x="1011" y="196"/>
                    <a:pt x="1016" y="196"/>
                  </a:cubicBezTo>
                  <a:cubicBezTo>
                    <a:pt x="1029" y="196"/>
                    <a:pt x="1045" y="204"/>
                    <a:pt x="1061" y="214"/>
                  </a:cubicBezTo>
                  <a:cubicBezTo>
                    <a:pt x="1086" y="178"/>
                    <a:pt x="1061" y="130"/>
                    <a:pt x="1027" y="119"/>
                  </a:cubicBezTo>
                  <a:cubicBezTo>
                    <a:pt x="991" y="97"/>
                    <a:pt x="957" y="97"/>
                    <a:pt x="921" y="97"/>
                  </a:cubicBezTo>
                  <a:cubicBezTo>
                    <a:pt x="932" y="74"/>
                    <a:pt x="932" y="60"/>
                    <a:pt x="932" y="38"/>
                  </a:cubicBezTo>
                  <a:cubicBezTo>
                    <a:pt x="932" y="20"/>
                    <a:pt x="918" y="0"/>
                    <a:pt x="901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" name="Google Shape;166;p17">
              <a:extLst>
                <a:ext uri="{FF2B5EF4-FFF2-40B4-BE49-F238E27FC236}">
                  <a16:creationId xmlns:a16="http://schemas.microsoft.com/office/drawing/2014/main" xmlns="" id="{909B5B60-561C-46AB-D5FE-597322AAA69B}"/>
                </a:ext>
              </a:extLst>
            </p:cNvPr>
            <p:cNvSpPr/>
            <p:nvPr/>
          </p:nvSpPr>
          <p:spPr>
            <a:xfrm>
              <a:off x="3546943" y="1959284"/>
              <a:ext cx="338678" cy="241852"/>
            </a:xfrm>
            <a:custGeom>
              <a:avLst/>
              <a:gdLst/>
              <a:ahLst/>
              <a:cxnLst/>
              <a:rect l="l" t="t" r="r" b="b"/>
              <a:pathLst>
                <a:path w="1469" h="1049" extrusionOk="0">
                  <a:moveTo>
                    <a:pt x="1167" y="641"/>
                  </a:moveTo>
                  <a:cubicBezTo>
                    <a:pt x="1178" y="641"/>
                    <a:pt x="1200" y="655"/>
                    <a:pt x="1212" y="666"/>
                  </a:cubicBezTo>
                  <a:cubicBezTo>
                    <a:pt x="1223" y="688"/>
                    <a:pt x="1223" y="711"/>
                    <a:pt x="1223" y="747"/>
                  </a:cubicBezTo>
                  <a:cubicBezTo>
                    <a:pt x="1223" y="762"/>
                    <a:pt x="1223" y="778"/>
                    <a:pt x="1224" y="793"/>
                  </a:cubicBezTo>
                  <a:lnTo>
                    <a:pt x="1224" y="793"/>
                  </a:lnTo>
                  <a:cubicBezTo>
                    <a:pt x="1193" y="764"/>
                    <a:pt x="1165" y="744"/>
                    <a:pt x="1153" y="725"/>
                  </a:cubicBezTo>
                  <a:cubicBezTo>
                    <a:pt x="1142" y="711"/>
                    <a:pt x="1142" y="699"/>
                    <a:pt x="1142" y="677"/>
                  </a:cubicBezTo>
                  <a:cubicBezTo>
                    <a:pt x="1142" y="677"/>
                    <a:pt x="1142" y="666"/>
                    <a:pt x="1153" y="655"/>
                  </a:cubicBezTo>
                  <a:lnTo>
                    <a:pt x="1167" y="641"/>
                  </a:lnTo>
                  <a:close/>
                  <a:moveTo>
                    <a:pt x="910" y="48"/>
                  </a:moveTo>
                  <a:cubicBezTo>
                    <a:pt x="921" y="48"/>
                    <a:pt x="921" y="59"/>
                    <a:pt x="921" y="59"/>
                  </a:cubicBezTo>
                  <a:lnTo>
                    <a:pt x="921" y="70"/>
                  </a:lnTo>
                  <a:cubicBezTo>
                    <a:pt x="921" y="81"/>
                    <a:pt x="921" y="95"/>
                    <a:pt x="910" y="107"/>
                  </a:cubicBezTo>
                  <a:lnTo>
                    <a:pt x="898" y="140"/>
                  </a:lnTo>
                  <a:lnTo>
                    <a:pt x="932" y="140"/>
                  </a:lnTo>
                  <a:cubicBezTo>
                    <a:pt x="968" y="140"/>
                    <a:pt x="1002" y="140"/>
                    <a:pt x="1027" y="151"/>
                  </a:cubicBezTo>
                  <a:cubicBezTo>
                    <a:pt x="1049" y="165"/>
                    <a:pt x="1061" y="188"/>
                    <a:pt x="1061" y="199"/>
                  </a:cubicBezTo>
                  <a:cubicBezTo>
                    <a:pt x="1061" y="200"/>
                    <a:pt x="1061" y="201"/>
                    <a:pt x="1061" y="201"/>
                  </a:cubicBezTo>
                  <a:lnTo>
                    <a:pt x="1061" y="201"/>
                  </a:lnTo>
                  <a:cubicBezTo>
                    <a:pt x="1050" y="199"/>
                    <a:pt x="1041" y="199"/>
                    <a:pt x="1027" y="199"/>
                  </a:cubicBezTo>
                  <a:lnTo>
                    <a:pt x="1002" y="199"/>
                  </a:lnTo>
                  <a:cubicBezTo>
                    <a:pt x="991" y="199"/>
                    <a:pt x="979" y="199"/>
                    <a:pt x="968" y="210"/>
                  </a:cubicBezTo>
                  <a:cubicBezTo>
                    <a:pt x="957" y="221"/>
                    <a:pt x="943" y="235"/>
                    <a:pt x="932" y="246"/>
                  </a:cubicBezTo>
                  <a:lnTo>
                    <a:pt x="932" y="269"/>
                  </a:lnTo>
                  <a:cubicBezTo>
                    <a:pt x="932" y="291"/>
                    <a:pt x="943" y="305"/>
                    <a:pt x="957" y="316"/>
                  </a:cubicBezTo>
                  <a:cubicBezTo>
                    <a:pt x="957" y="327"/>
                    <a:pt x="968" y="339"/>
                    <a:pt x="991" y="350"/>
                  </a:cubicBezTo>
                  <a:cubicBezTo>
                    <a:pt x="1027" y="361"/>
                    <a:pt x="1049" y="375"/>
                    <a:pt x="1083" y="375"/>
                  </a:cubicBezTo>
                  <a:cubicBezTo>
                    <a:pt x="1097" y="386"/>
                    <a:pt x="1108" y="386"/>
                    <a:pt x="1119" y="397"/>
                  </a:cubicBezTo>
                  <a:cubicBezTo>
                    <a:pt x="1119" y="397"/>
                    <a:pt x="1130" y="409"/>
                    <a:pt x="1130" y="420"/>
                  </a:cubicBezTo>
                  <a:cubicBezTo>
                    <a:pt x="1142" y="420"/>
                    <a:pt x="1142" y="431"/>
                    <a:pt x="1142" y="445"/>
                  </a:cubicBezTo>
                  <a:lnTo>
                    <a:pt x="1142" y="490"/>
                  </a:lnTo>
                  <a:cubicBezTo>
                    <a:pt x="1153" y="515"/>
                    <a:pt x="1167" y="537"/>
                    <a:pt x="1189" y="560"/>
                  </a:cubicBezTo>
                  <a:cubicBezTo>
                    <a:pt x="1212" y="571"/>
                    <a:pt x="1237" y="585"/>
                    <a:pt x="1259" y="596"/>
                  </a:cubicBezTo>
                  <a:cubicBezTo>
                    <a:pt x="1270" y="596"/>
                    <a:pt x="1281" y="607"/>
                    <a:pt x="1281" y="607"/>
                  </a:cubicBezTo>
                  <a:cubicBezTo>
                    <a:pt x="1293" y="607"/>
                    <a:pt x="1293" y="618"/>
                    <a:pt x="1293" y="629"/>
                  </a:cubicBezTo>
                  <a:cubicBezTo>
                    <a:pt x="1307" y="641"/>
                    <a:pt x="1307" y="655"/>
                    <a:pt x="1307" y="677"/>
                  </a:cubicBezTo>
                  <a:cubicBezTo>
                    <a:pt x="1329" y="725"/>
                    <a:pt x="1363" y="758"/>
                    <a:pt x="1399" y="794"/>
                  </a:cubicBezTo>
                  <a:cubicBezTo>
                    <a:pt x="1410" y="817"/>
                    <a:pt x="1421" y="839"/>
                    <a:pt x="1421" y="864"/>
                  </a:cubicBezTo>
                  <a:lnTo>
                    <a:pt x="1421" y="887"/>
                  </a:lnTo>
                  <a:lnTo>
                    <a:pt x="1410" y="898"/>
                  </a:lnTo>
                  <a:cubicBezTo>
                    <a:pt x="1410" y="898"/>
                    <a:pt x="1410" y="887"/>
                    <a:pt x="1399" y="887"/>
                  </a:cubicBezTo>
                  <a:cubicBezTo>
                    <a:pt x="1377" y="887"/>
                    <a:pt x="1351" y="876"/>
                    <a:pt x="1329" y="864"/>
                  </a:cubicBezTo>
                  <a:cubicBezTo>
                    <a:pt x="1307" y="850"/>
                    <a:pt x="1293" y="839"/>
                    <a:pt x="1281" y="828"/>
                  </a:cubicBezTo>
                  <a:cubicBezTo>
                    <a:pt x="1270" y="806"/>
                    <a:pt x="1270" y="769"/>
                    <a:pt x="1270" y="747"/>
                  </a:cubicBezTo>
                  <a:cubicBezTo>
                    <a:pt x="1270" y="711"/>
                    <a:pt x="1270" y="677"/>
                    <a:pt x="1248" y="655"/>
                  </a:cubicBezTo>
                  <a:cubicBezTo>
                    <a:pt x="1237" y="618"/>
                    <a:pt x="1200" y="596"/>
                    <a:pt x="1167" y="596"/>
                  </a:cubicBezTo>
                  <a:cubicBezTo>
                    <a:pt x="1167" y="596"/>
                    <a:pt x="1153" y="596"/>
                    <a:pt x="1142" y="607"/>
                  </a:cubicBezTo>
                  <a:cubicBezTo>
                    <a:pt x="1130" y="607"/>
                    <a:pt x="1119" y="618"/>
                    <a:pt x="1108" y="629"/>
                  </a:cubicBezTo>
                  <a:cubicBezTo>
                    <a:pt x="1097" y="655"/>
                    <a:pt x="1097" y="666"/>
                    <a:pt x="1097" y="677"/>
                  </a:cubicBezTo>
                  <a:cubicBezTo>
                    <a:pt x="1097" y="699"/>
                    <a:pt x="1097" y="725"/>
                    <a:pt x="1108" y="747"/>
                  </a:cubicBezTo>
                  <a:cubicBezTo>
                    <a:pt x="1142" y="780"/>
                    <a:pt x="1178" y="806"/>
                    <a:pt x="1200" y="839"/>
                  </a:cubicBezTo>
                  <a:cubicBezTo>
                    <a:pt x="1223" y="864"/>
                    <a:pt x="1237" y="887"/>
                    <a:pt x="1248" y="920"/>
                  </a:cubicBezTo>
                  <a:lnTo>
                    <a:pt x="1248" y="945"/>
                  </a:lnTo>
                  <a:lnTo>
                    <a:pt x="1248" y="968"/>
                  </a:lnTo>
                  <a:cubicBezTo>
                    <a:pt x="1237" y="979"/>
                    <a:pt x="1223" y="979"/>
                    <a:pt x="1212" y="979"/>
                  </a:cubicBezTo>
                  <a:lnTo>
                    <a:pt x="1178" y="979"/>
                  </a:lnTo>
                  <a:cubicBezTo>
                    <a:pt x="1153" y="979"/>
                    <a:pt x="1130" y="957"/>
                    <a:pt x="1097" y="957"/>
                  </a:cubicBezTo>
                  <a:lnTo>
                    <a:pt x="1083" y="957"/>
                  </a:lnTo>
                  <a:cubicBezTo>
                    <a:pt x="1061" y="968"/>
                    <a:pt x="1038" y="968"/>
                    <a:pt x="1013" y="979"/>
                  </a:cubicBezTo>
                  <a:cubicBezTo>
                    <a:pt x="991" y="990"/>
                    <a:pt x="979" y="1004"/>
                    <a:pt x="968" y="1004"/>
                  </a:cubicBezTo>
                  <a:lnTo>
                    <a:pt x="957" y="1004"/>
                  </a:lnTo>
                  <a:cubicBezTo>
                    <a:pt x="943" y="990"/>
                    <a:pt x="932" y="990"/>
                    <a:pt x="921" y="979"/>
                  </a:cubicBezTo>
                  <a:cubicBezTo>
                    <a:pt x="898" y="968"/>
                    <a:pt x="873" y="945"/>
                    <a:pt x="851" y="920"/>
                  </a:cubicBezTo>
                  <a:cubicBezTo>
                    <a:pt x="828" y="898"/>
                    <a:pt x="803" y="887"/>
                    <a:pt x="770" y="876"/>
                  </a:cubicBezTo>
                  <a:lnTo>
                    <a:pt x="759" y="876"/>
                  </a:lnTo>
                  <a:cubicBezTo>
                    <a:pt x="722" y="876"/>
                    <a:pt x="689" y="898"/>
                    <a:pt x="663" y="909"/>
                  </a:cubicBezTo>
                  <a:cubicBezTo>
                    <a:pt x="641" y="920"/>
                    <a:pt x="630" y="920"/>
                    <a:pt x="608" y="920"/>
                  </a:cubicBezTo>
                  <a:lnTo>
                    <a:pt x="582" y="920"/>
                  </a:lnTo>
                  <a:cubicBezTo>
                    <a:pt x="571" y="909"/>
                    <a:pt x="571" y="898"/>
                    <a:pt x="571" y="887"/>
                  </a:cubicBezTo>
                  <a:cubicBezTo>
                    <a:pt x="560" y="876"/>
                    <a:pt x="560" y="850"/>
                    <a:pt x="549" y="828"/>
                  </a:cubicBezTo>
                  <a:cubicBezTo>
                    <a:pt x="549" y="806"/>
                    <a:pt x="549" y="794"/>
                    <a:pt x="538" y="780"/>
                  </a:cubicBezTo>
                  <a:cubicBezTo>
                    <a:pt x="524" y="769"/>
                    <a:pt x="524" y="758"/>
                    <a:pt x="501" y="747"/>
                  </a:cubicBezTo>
                  <a:lnTo>
                    <a:pt x="490" y="747"/>
                  </a:lnTo>
                  <a:cubicBezTo>
                    <a:pt x="490" y="736"/>
                    <a:pt x="501" y="736"/>
                    <a:pt x="501" y="725"/>
                  </a:cubicBezTo>
                  <a:cubicBezTo>
                    <a:pt x="501" y="725"/>
                    <a:pt x="512" y="725"/>
                    <a:pt x="524" y="711"/>
                  </a:cubicBezTo>
                  <a:cubicBezTo>
                    <a:pt x="524" y="699"/>
                    <a:pt x="538" y="699"/>
                    <a:pt x="538" y="688"/>
                  </a:cubicBezTo>
                  <a:cubicBezTo>
                    <a:pt x="538" y="677"/>
                    <a:pt x="549" y="666"/>
                    <a:pt x="549" y="655"/>
                  </a:cubicBezTo>
                  <a:cubicBezTo>
                    <a:pt x="549" y="629"/>
                    <a:pt x="524" y="607"/>
                    <a:pt x="501" y="585"/>
                  </a:cubicBezTo>
                  <a:cubicBezTo>
                    <a:pt x="468" y="571"/>
                    <a:pt x="443" y="571"/>
                    <a:pt x="420" y="571"/>
                  </a:cubicBezTo>
                  <a:lnTo>
                    <a:pt x="398" y="571"/>
                  </a:lnTo>
                  <a:cubicBezTo>
                    <a:pt x="373" y="571"/>
                    <a:pt x="361" y="571"/>
                    <a:pt x="339" y="585"/>
                  </a:cubicBezTo>
                  <a:cubicBezTo>
                    <a:pt x="328" y="596"/>
                    <a:pt x="314" y="607"/>
                    <a:pt x="314" y="607"/>
                  </a:cubicBezTo>
                  <a:cubicBezTo>
                    <a:pt x="292" y="629"/>
                    <a:pt x="280" y="629"/>
                    <a:pt x="244" y="629"/>
                  </a:cubicBezTo>
                  <a:lnTo>
                    <a:pt x="199" y="629"/>
                  </a:lnTo>
                  <a:cubicBezTo>
                    <a:pt x="163" y="607"/>
                    <a:pt x="118" y="585"/>
                    <a:pt x="71" y="571"/>
                  </a:cubicBezTo>
                  <a:cubicBezTo>
                    <a:pt x="59" y="571"/>
                    <a:pt x="59" y="560"/>
                    <a:pt x="48" y="560"/>
                  </a:cubicBezTo>
                  <a:lnTo>
                    <a:pt x="48" y="537"/>
                  </a:lnTo>
                  <a:cubicBezTo>
                    <a:pt x="48" y="515"/>
                    <a:pt x="59" y="478"/>
                    <a:pt x="59" y="445"/>
                  </a:cubicBezTo>
                  <a:cubicBezTo>
                    <a:pt x="59" y="431"/>
                    <a:pt x="71" y="420"/>
                    <a:pt x="71" y="397"/>
                  </a:cubicBezTo>
                  <a:cubicBezTo>
                    <a:pt x="71" y="386"/>
                    <a:pt x="59" y="361"/>
                    <a:pt x="59" y="350"/>
                  </a:cubicBezTo>
                  <a:lnTo>
                    <a:pt x="59" y="339"/>
                  </a:lnTo>
                  <a:cubicBezTo>
                    <a:pt x="59" y="327"/>
                    <a:pt x="71" y="305"/>
                    <a:pt x="82" y="291"/>
                  </a:cubicBezTo>
                  <a:cubicBezTo>
                    <a:pt x="93" y="280"/>
                    <a:pt x="104" y="280"/>
                    <a:pt x="118" y="269"/>
                  </a:cubicBezTo>
                  <a:lnTo>
                    <a:pt x="129" y="280"/>
                  </a:lnTo>
                  <a:lnTo>
                    <a:pt x="141" y="280"/>
                  </a:lnTo>
                  <a:cubicBezTo>
                    <a:pt x="152" y="280"/>
                    <a:pt x="152" y="291"/>
                    <a:pt x="163" y="291"/>
                  </a:cubicBezTo>
                  <a:cubicBezTo>
                    <a:pt x="174" y="305"/>
                    <a:pt x="188" y="305"/>
                    <a:pt x="210" y="305"/>
                  </a:cubicBezTo>
                  <a:cubicBezTo>
                    <a:pt x="222" y="305"/>
                    <a:pt x="233" y="305"/>
                    <a:pt x="244" y="291"/>
                  </a:cubicBezTo>
                  <a:cubicBezTo>
                    <a:pt x="280" y="280"/>
                    <a:pt x="314" y="258"/>
                    <a:pt x="339" y="258"/>
                  </a:cubicBezTo>
                  <a:cubicBezTo>
                    <a:pt x="373" y="246"/>
                    <a:pt x="420" y="246"/>
                    <a:pt x="468" y="246"/>
                  </a:cubicBezTo>
                  <a:cubicBezTo>
                    <a:pt x="501" y="246"/>
                    <a:pt x="524" y="235"/>
                    <a:pt x="560" y="221"/>
                  </a:cubicBezTo>
                  <a:cubicBezTo>
                    <a:pt x="594" y="210"/>
                    <a:pt x="619" y="188"/>
                    <a:pt x="630" y="140"/>
                  </a:cubicBezTo>
                  <a:lnTo>
                    <a:pt x="630" y="129"/>
                  </a:lnTo>
                  <a:lnTo>
                    <a:pt x="630" y="81"/>
                  </a:lnTo>
                  <a:lnTo>
                    <a:pt x="630" y="59"/>
                  </a:lnTo>
                  <a:lnTo>
                    <a:pt x="641" y="48"/>
                  </a:lnTo>
                  <a:lnTo>
                    <a:pt x="700" y="48"/>
                  </a:lnTo>
                  <a:cubicBezTo>
                    <a:pt x="733" y="59"/>
                    <a:pt x="770" y="59"/>
                    <a:pt x="803" y="70"/>
                  </a:cubicBezTo>
                  <a:lnTo>
                    <a:pt x="851" y="70"/>
                  </a:lnTo>
                  <a:cubicBezTo>
                    <a:pt x="873" y="59"/>
                    <a:pt x="887" y="59"/>
                    <a:pt x="887" y="48"/>
                  </a:cubicBezTo>
                  <a:close/>
                  <a:moveTo>
                    <a:pt x="630" y="0"/>
                  </a:moveTo>
                  <a:cubicBezTo>
                    <a:pt x="619" y="12"/>
                    <a:pt x="608" y="12"/>
                    <a:pt x="594" y="37"/>
                  </a:cubicBezTo>
                  <a:cubicBezTo>
                    <a:pt x="582" y="48"/>
                    <a:pt x="582" y="59"/>
                    <a:pt x="582" y="81"/>
                  </a:cubicBezTo>
                  <a:lnTo>
                    <a:pt x="582" y="129"/>
                  </a:lnTo>
                  <a:lnTo>
                    <a:pt x="582" y="140"/>
                  </a:lnTo>
                  <a:cubicBezTo>
                    <a:pt x="582" y="151"/>
                    <a:pt x="560" y="176"/>
                    <a:pt x="538" y="188"/>
                  </a:cubicBezTo>
                  <a:cubicBezTo>
                    <a:pt x="524" y="188"/>
                    <a:pt x="490" y="199"/>
                    <a:pt x="468" y="199"/>
                  </a:cubicBezTo>
                  <a:cubicBezTo>
                    <a:pt x="420" y="199"/>
                    <a:pt x="373" y="199"/>
                    <a:pt x="328" y="210"/>
                  </a:cubicBezTo>
                  <a:cubicBezTo>
                    <a:pt x="292" y="221"/>
                    <a:pt x="258" y="246"/>
                    <a:pt x="233" y="246"/>
                  </a:cubicBezTo>
                  <a:cubicBezTo>
                    <a:pt x="222" y="258"/>
                    <a:pt x="210" y="258"/>
                    <a:pt x="210" y="258"/>
                  </a:cubicBezTo>
                  <a:cubicBezTo>
                    <a:pt x="199" y="258"/>
                    <a:pt x="188" y="258"/>
                    <a:pt x="188" y="246"/>
                  </a:cubicBezTo>
                  <a:cubicBezTo>
                    <a:pt x="174" y="246"/>
                    <a:pt x="174" y="246"/>
                    <a:pt x="163" y="235"/>
                  </a:cubicBezTo>
                  <a:lnTo>
                    <a:pt x="129" y="235"/>
                  </a:lnTo>
                  <a:lnTo>
                    <a:pt x="118" y="221"/>
                  </a:lnTo>
                  <a:cubicBezTo>
                    <a:pt x="93" y="221"/>
                    <a:pt x="59" y="246"/>
                    <a:pt x="48" y="269"/>
                  </a:cubicBezTo>
                  <a:cubicBezTo>
                    <a:pt x="23" y="291"/>
                    <a:pt x="12" y="316"/>
                    <a:pt x="12" y="339"/>
                  </a:cubicBezTo>
                  <a:lnTo>
                    <a:pt x="12" y="350"/>
                  </a:lnTo>
                  <a:cubicBezTo>
                    <a:pt x="12" y="375"/>
                    <a:pt x="23" y="386"/>
                    <a:pt x="23" y="397"/>
                  </a:cubicBezTo>
                  <a:cubicBezTo>
                    <a:pt x="23" y="420"/>
                    <a:pt x="12" y="431"/>
                    <a:pt x="12" y="445"/>
                  </a:cubicBezTo>
                  <a:cubicBezTo>
                    <a:pt x="12" y="467"/>
                    <a:pt x="1" y="501"/>
                    <a:pt x="1" y="537"/>
                  </a:cubicBezTo>
                  <a:lnTo>
                    <a:pt x="1" y="560"/>
                  </a:lnTo>
                  <a:cubicBezTo>
                    <a:pt x="1" y="571"/>
                    <a:pt x="1" y="585"/>
                    <a:pt x="12" y="596"/>
                  </a:cubicBezTo>
                  <a:cubicBezTo>
                    <a:pt x="12" y="596"/>
                    <a:pt x="23" y="607"/>
                    <a:pt x="34" y="607"/>
                  </a:cubicBezTo>
                  <a:cubicBezTo>
                    <a:pt x="48" y="607"/>
                    <a:pt x="48" y="607"/>
                    <a:pt x="59" y="618"/>
                  </a:cubicBezTo>
                  <a:cubicBezTo>
                    <a:pt x="93" y="629"/>
                    <a:pt x="141" y="655"/>
                    <a:pt x="188" y="666"/>
                  </a:cubicBezTo>
                  <a:cubicBezTo>
                    <a:pt x="210" y="677"/>
                    <a:pt x="233" y="677"/>
                    <a:pt x="244" y="677"/>
                  </a:cubicBezTo>
                  <a:cubicBezTo>
                    <a:pt x="280" y="677"/>
                    <a:pt x="314" y="677"/>
                    <a:pt x="339" y="641"/>
                  </a:cubicBezTo>
                  <a:cubicBezTo>
                    <a:pt x="350" y="629"/>
                    <a:pt x="361" y="618"/>
                    <a:pt x="361" y="618"/>
                  </a:cubicBezTo>
                  <a:lnTo>
                    <a:pt x="409" y="618"/>
                  </a:lnTo>
                  <a:cubicBezTo>
                    <a:pt x="443" y="618"/>
                    <a:pt x="468" y="618"/>
                    <a:pt x="479" y="629"/>
                  </a:cubicBezTo>
                  <a:cubicBezTo>
                    <a:pt x="490" y="629"/>
                    <a:pt x="501" y="655"/>
                    <a:pt x="501" y="655"/>
                  </a:cubicBezTo>
                  <a:lnTo>
                    <a:pt x="490" y="666"/>
                  </a:lnTo>
                  <a:lnTo>
                    <a:pt x="490" y="677"/>
                  </a:lnTo>
                  <a:cubicBezTo>
                    <a:pt x="479" y="688"/>
                    <a:pt x="479" y="688"/>
                    <a:pt x="468" y="699"/>
                  </a:cubicBezTo>
                  <a:cubicBezTo>
                    <a:pt x="454" y="711"/>
                    <a:pt x="454" y="725"/>
                    <a:pt x="443" y="747"/>
                  </a:cubicBezTo>
                  <a:cubicBezTo>
                    <a:pt x="443" y="747"/>
                    <a:pt x="454" y="758"/>
                    <a:pt x="454" y="769"/>
                  </a:cubicBezTo>
                  <a:cubicBezTo>
                    <a:pt x="468" y="780"/>
                    <a:pt x="479" y="780"/>
                    <a:pt x="479" y="794"/>
                  </a:cubicBezTo>
                  <a:cubicBezTo>
                    <a:pt x="490" y="794"/>
                    <a:pt x="490" y="806"/>
                    <a:pt x="501" y="817"/>
                  </a:cubicBezTo>
                  <a:cubicBezTo>
                    <a:pt x="501" y="828"/>
                    <a:pt x="512" y="850"/>
                    <a:pt x="512" y="887"/>
                  </a:cubicBezTo>
                  <a:cubicBezTo>
                    <a:pt x="512" y="898"/>
                    <a:pt x="524" y="909"/>
                    <a:pt x="524" y="920"/>
                  </a:cubicBezTo>
                  <a:cubicBezTo>
                    <a:pt x="538" y="934"/>
                    <a:pt x="549" y="945"/>
                    <a:pt x="560" y="957"/>
                  </a:cubicBezTo>
                  <a:cubicBezTo>
                    <a:pt x="571" y="968"/>
                    <a:pt x="594" y="968"/>
                    <a:pt x="608" y="968"/>
                  </a:cubicBezTo>
                  <a:cubicBezTo>
                    <a:pt x="630" y="968"/>
                    <a:pt x="652" y="957"/>
                    <a:pt x="677" y="957"/>
                  </a:cubicBezTo>
                  <a:cubicBezTo>
                    <a:pt x="711" y="945"/>
                    <a:pt x="733" y="920"/>
                    <a:pt x="759" y="920"/>
                  </a:cubicBezTo>
                  <a:lnTo>
                    <a:pt x="770" y="920"/>
                  </a:lnTo>
                  <a:cubicBezTo>
                    <a:pt x="781" y="920"/>
                    <a:pt x="792" y="934"/>
                    <a:pt x="803" y="945"/>
                  </a:cubicBezTo>
                  <a:cubicBezTo>
                    <a:pt x="828" y="957"/>
                    <a:pt x="840" y="979"/>
                    <a:pt x="862" y="1004"/>
                  </a:cubicBezTo>
                  <a:cubicBezTo>
                    <a:pt x="887" y="1015"/>
                    <a:pt x="921" y="1038"/>
                    <a:pt x="957" y="1038"/>
                  </a:cubicBezTo>
                  <a:lnTo>
                    <a:pt x="968" y="1049"/>
                  </a:lnTo>
                  <a:cubicBezTo>
                    <a:pt x="991" y="1049"/>
                    <a:pt x="1013" y="1038"/>
                    <a:pt x="1038" y="1027"/>
                  </a:cubicBezTo>
                  <a:cubicBezTo>
                    <a:pt x="1061" y="1015"/>
                    <a:pt x="1072" y="1004"/>
                    <a:pt x="1097" y="1004"/>
                  </a:cubicBezTo>
                  <a:cubicBezTo>
                    <a:pt x="1119" y="1004"/>
                    <a:pt x="1142" y="1015"/>
                    <a:pt x="1178" y="1027"/>
                  </a:cubicBezTo>
                  <a:lnTo>
                    <a:pt x="1212" y="1027"/>
                  </a:lnTo>
                  <a:cubicBezTo>
                    <a:pt x="1237" y="1027"/>
                    <a:pt x="1259" y="1027"/>
                    <a:pt x="1281" y="1004"/>
                  </a:cubicBezTo>
                  <a:cubicBezTo>
                    <a:pt x="1293" y="979"/>
                    <a:pt x="1293" y="957"/>
                    <a:pt x="1293" y="945"/>
                  </a:cubicBezTo>
                  <a:lnTo>
                    <a:pt x="1293" y="909"/>
                  </a:lnTo>
                  <a:cubicBezTo>
                    <a:pt x="1292" y="906"/>
                    <a:pt x="1291" y="903"/>
                    <a:pt x="1290" y="900"/>
                  </a:cubicBezTo>
                  <a:lnTo>
                    <a:pt x="1290" y="900"/>
                  </a:lnTo>
                  <a:cubicBezTo>
                    <a:pt x="1296" y="904"/>
                    <a:pt x="1301" y="907"/>
                    <a:pt x="1307" y="909"/>
                  </a:cubicBezTo>
                  <a:cubicBezTo>
                    <a:pt x="1340" y="920"/>
                    <a:pt x="1363" y="934"/>
                    <a:pt x="1399" y="934"/>
                  </a:cubicBezTo>
                  <a:lnTo>
                    <a:pt x="1410" y="945"/>
                  </a:lnTo>
                  <a:cubicBezTo>
                    <a:pt x="1421" y="945"/>
                    <a:pt x="1421" y="934"/>
                    <a:pt x="1432" y="934"/>
                  </a:cubicBezTo>
                  <a:cubicBezTo>
                    <a:pt x="1446" y="934"/>
                    <a:pt x="1458" y="920"/>
                    <a:pt x="1458" y="909"/>
                  </a:cubicBezTo>
                  <a:cubicBezTo>
                    <a:pt x="1469" y="898"/>
                    <a:pt x="1469" y="876"/>
                    <a:pt x="1469" y="864"/>
                  </a:cubicBezTo>
                  <a:cubicBezTo>
                    <a:pt x="1469" y="828"/>
                    <a:pt x="1458" y="780"/>
                    <a:pt x="1432" y="758"/>
                  </a:cubicBezTo>
                  <a:cubicBezTo>
                    <a:pt x="1399" y="725"/>
                    <a:pt x="1363" y="699"/>
                    <a:pt x="1351" y="666"/>
                  </a:cubicBezTo>
                  <a:cubicBezTo>
                    <a:pt x="1351" y="655"/>
                    <a:pt x="1351" y="629"/>
                    <a:pt x="1340" y="618"/>
                  </a:cubicBezTo>
                  <a:cubicBezTo>
                    <a:pt x="1340" y="607"/>
                    <a:pt x="1329" y="585"/>
                    <a:pt x="1318" y="571"/>
                  </a:cubicBezTo>
                  <a:cubicBezTo>
                    <a:pt x="1307" y="560"/>
                    <a:pt x="1281" y="548"/>
                    <a:pt x="1270" y="548"/>
                  </a:cubicBezTo>
                  <a:cubicBezTo>
                    <a:pt x="1259" y="537"/>
                    <a:pt x="1237" y="537"/>
                    <a:pt x="1223" y="526"/>
                  </a:cubicBezTo>
                  <a:cubicBezTo>
                    <a:pt x="1200" y="501"/>
                    <a:pt x="1189" y="490"/>
                    <a:pt x="1189" y="478"/>
                  </a:cubicBezTo>
                  <a:lnTo>
                    <a:pt x="1189" y="445"/>
                  </a:lnTo>
                  <a:cubicBezTo>
                    <a:pt x="1189" y="431"/>
                    <a:pt x="1189" y="409"/>
                    <a:pt x="1178" y="397"/>
                  </a:cubicBezTo>
                  <a:cubicBezTo>
                    <a:pt x="1167" y="375"/>
                    <a:pt x="1153" y="361"/>
                    <a:pt x="1142" y="350"/>
                  </a:cubicBezTo>
                  <a:cubicBezTo>
                    <a:pt x="1119" y="339"/>
                    <a:pt x="1108" y="339"/>
                    <a:pt x="1097" y="327"/>
                  </a:cubicBezTo>
                  <a:cubicBezTo>
                    <a:pt x="1061" y="327"/>
                    <a:pt x="1027" y="316"/>
                    <a:pt x="1013" y="316"/>
                  </a:cubicBezTo>
                  <a:cubicBezTo>
                    <a:pt x="1002" y="305"/>
                    <a:pt x="991" y="305"/>
                    <a:pt x="991" y="291"/>
                  </a:cubicBezTo>
                  <a:cubicBezTo>
                    <a:pt x="979" y="280"/>
                    <a:pt x="979" y="280"/>
                    <a:pt x="979" y="269"/>
                  </a:cubicBezTo>
                  <a:cubicBezTo>
                    <a:pt x="979" y="258"/>
                    <a:pt x="991" y="258"/>
                    <a:pt x="991" y="246"/>
                  </a:cubicBezTo>
                  <a:lnTo>
                    <a:pt x="1061" y="246"/>
                  </a:lnTo>
                  <a:lnTo>
                    <a:pt x="1083" y="258"/>
                  </a:lnTo>
                  <a:lnTo>
                    <a:pt x="1097" y="235"/>
                  </a:lnTo>
                  <a:cubicBezTo>
                    <a:pt x="1097" y="235"/>
                    <a:pt x="1108" y="210"/>
                    <a:pt x="1108" y="199"/>
                  </a:cubicBezTo>
                  <a:cubicBezTo>
                    <a:pt x="1108" y="165"/>
                    <a:pt x="1083" y="140"/>
                    <a:pt x="1049" y="118"/>
                  </a:cubicBezTo>
                  <a:cubicBezTo>
                    <a:pt x="1023" y="102"/>
                    <a:pt x="993" y="97"/>
                    <a:pt x="964" y="96"/>
                  </a:cubicBezTo>
                  <a:lnTo>
                    <a:pt x="964" y="96"/>
                  </a:lnTo>
                  <a:cubicBezTo>
                    <a:pt x="966" y="89"/>
                    <a:pt x="968" y="81"/>
                    <a:pt x="968" y="70"/>
                  </a:cubicBezTo>
                  <a:lnTo>
                    <a:pt x="968" y="59"/>
                  </a:lnTo>
                  <a:cubicBezTo>
                    <a:pt x="968" y="37"/>
                    <a:pt x="957" y="26"/>
                    <a:pt x="943" y="12"/>
                  </a:cubicBezTo>
                  <a:cubicBezTo>
                    <a:pt x="932" y="0"/>
                    <a:pt x="921" y="0"/>
                    <a:pt x="910" y="0"/>
                  </a:cubicBezTo>
                  <a:lnTo>
                    <a:pt x="898" y="0"/>
                  </a:lnTo>
                  <a:cubicBezTo>
                    <a:pt x="887" y="0"/>
                    <a:pt x="873" y="0"/>
                    <a:pt x="862" y="12"/>
                  </a:cubicBezTo>
                  <a:cubicBezTo>
                    <a:pt x="851" y="26"/>
                    <a:pt x="851" y="26"/>
                    <a:pt x="840" y="26"/>
                  </a:cubicBezTo>
                  <a:lnTo>
                    <a:pt x="803" y="26"/>
                  </a:lnTo>
                  <a:cubicBezTo>
                    <a:pt x="781" y="12"/>
                    <a:pt x="747" y="12"/>
                    <a:pt x="711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" name="Google Shape;167;p17">
              <a:extLst>
                <a:ext uri="{FF2B5EF4-FFF2-40B4-BE49-F238E27FC236}">
                  <a16:creationId xmlns:a16="http://schemas.microsoft.com/office/drawing/2014/main" xmlns="" id="{0EC7C882-E789-3F7F-8003-9688A8E4CA37}"/>
                </a:ext>
              </a:extLst>
            </p:cNvPr>
            <p:cNvSpPr/>
            <p:nvPr/>
          </p:nvSpPr>
          <p:spPr>
            <a:xfrm>
              <a:off x="3420601" y="2389267"/>
              <a:ext cx="46110" cy="48878"/>
            </a:xfrm>
            <a:custGeom>
              <a:avLst/>
              <a:gdLst/>
              <a:ahLst/>
              <a:cxnLst/>
              <a:rect l="l" t="t" r="r" b="b"/>
              <a:pathLst>
                <a:path w="200" h="212" extrusionOk="0">
                  <a:moveTo>
                    <a:pt x="37" y="0"/>
                  </a:moveTo>
                  <a:cubicBezTo>
                    <a:pt x="23" y="0"/>
                    <a:pt x="12" y="12"/>
                    <a:pt x="1" y="12"/>
                  </a:cubicBezTo>
                  <a:lnTo>
                    <a:pt x="1" y="48"/>
                  </a:lnTo>
                  <a:cubicBezTo>
                    <a:pt x="12" y="59"/>
                    <a:pt x="12" y="59"/>
                    <a:pt x="23" y="70"/>
                  </a:cubicBezTo>
                  <a:lnTo>
                    <a:pt x="37" y="82"/>
                  </a:lnTo>
                  <a:lnTo>
                    <a:pt x="37" y="118"/>
                  </a:lnTo>
                  <a:cubicBezTo>
                    <a:pt x="37" y="151"/>
                    <a:pt x="59" y="188"/>
                    <a:pt x="82" y="199"/>
                  </a:cubicBezTo>
                  <a:cubicBezTo>
                    <a:pt x="96" y="207"/>
                    <a:pt x="109" y="211"/>
                    <a:pt x="122" y="211"/>
                  </a:cubicBezTo>
                  <a:cubicBezTo>
                    <a:pt x="143" y="211"/>
                    <a:pt x="161" y="202"/>
                    <a:pt x="177" y="188"/>
                  </a:cubicBezTo>
                  <a:cubicBezTo>
                    <a:pt x="199" y="163"/>
                    <a:pt x="199" y="129"/>
                    <a:pt x="188" y="93"/>
                  </a:cubicBezTo>
                  <a:cubicBezTo>
                    <a:pt x="188" y="82"/>
                    <a:pt x="188" y="59"/>
                    <a:pt x="177" y="48"/>
                  </a:cubicBezTo>
                  <a:cubicBezTo>
                    <a:pt x="163" y="34"/>
                    <a:pt x="152" y="23"/>
                    <a:pt x="141" y="23"/>
                  </a:cubicBezTo>
                  <a:cubicBezTo>
                    <a:pt x="107" y="12"/>
                    <a:pt x="71" y="12"/>
                    <a:pt x="37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" name="Google Shape;168;p17">
              <a:extLst>
                <a:ext uri="{FF2B5EF4-FFF2-40B4-BE49-F238E27FC236}">
                  <a16:creationId xmlns:a16="http://schemas.microsoft.com/office/drawing/2014/main" xmlns="" id="{635DB3E0-188C-6992-7E66-D3A7E96C440D}"/>
                </a:ext>
              </a:extLst>
            </p:cNvPr>
            <p:cNvSpPr/>
            <p:nvPr/>
          </p:nvSpPr>
          <p:spPr>
            <a:xfrm>
              <a:off x="3415529" y="2384194"/>
              <a:ext cx="53718" cy="58792"/>
            </a:xfrm>
            <a:custGeom>
              <a:avLst/>
              <a:gdLst/>
              <a:ahLst/>
              <a:cxnLst/>
              <a:rect l="l" t="t" r="r" b="b"/>
              <a:pathLst>
                <a:path w="233" h="255" extrusionOk="0">
                  <a:moveTo>
                    <a:pt x="59" y="45"/>
                  </a:moveTo>
                  <a:cubicBezTo>
                    <a:pt x="93" y="56"/>
                    <a:pt x="115" y="56"/>
                    <a:pt x="151" y="70"/>
                  </a:cubicBezTo>
                  <a:cubicBezTo>
                    <a:pt x="163" y="70"/>
                    <a:pt x="174" y="81"/>
                    <a:pt x="174" y="81"/>
                  </a:cubicBezTo>
                  <a:cubicBezTo>
                    <a:pt x="185" y="92"/>
                    <a:pt x="185" y="104"/>
                    <a:pt x="185" y="115"/>
                  </a:cubicBezTo>
                  <a:lnTo>
                    <a:pt x="185" y="151"/>
                  </a:lnTo>
                  <a:lnTo>
                    <a:pt x="185" y="196"/>
                  </a:lnTo>
                  <a:cubicBezTo>
                    <a:pt x="174" y="210"/>
                    <a:pt x="163" y="210"/>
                    <a:pt x="140" y="210"/>
                  </a:cubicBezTo>
                  <a:lnTo>
                    <a:pt x="115" y="210"/>
                  </a:lnTo>
                  <a:cubicBezTo>
                    <a:pt x="93" y="196"/>
                    <a:pt x="81" y="173"/>
                    <a:pt x="81" y="140"/>
                  </a:cubicBezTo>
                  <a:lnTo>
                    <a:pt x="81" y="126"/>
                  </a:lnTo>
                  <a:lnTo>
                    <a:pt x="81" y="104"/>
                  </a:lnTo>
                  <a:cubicBezTo>
                    <a:pt x="70" y="81"/>
                    <a:pt x="70" y="81"/>
                    <a:pt x="59" y="81"/>
                  </a:cubicBezTo>
                  <a:cubicBezTo>
                    <a:pt x="59" y="70"/>
                    <a:pt x="45" y="70"/>
                    <a:pt x="45" y="56"/>
                  </a:cubicBezTo>
                  <a:cubicBezTo>
                    <a:pt x="45" y="45"/>
                    <a:pt x="45" y="45"/>
                    <a:pt x="59" y="45"/>
                  </a:cubicBezTo>
                  <a:close/>
                  <a:moveTo>
                    <a:pt x="59" y="0"/>
                  </a:moveTo>
                  <a:cubicBezTo>
                    <a:pt x="45" y="0"/>
                    <a:pt x="45" y="0"/>
                    <a:pt x="34" y="11"/>
                  </a:cubicBezTo>
                  <a:cubicBezTo>
                    <a:pt x="23" y="11"/>
                    <a:pt x="12" y="11"/>
                    <a:pt x="12" y="22"/>
                  </a:cubicBezTo>
                  <a:cubicBezTo>
                    <a:pt x="0" y="34"/>
                    <a:pt x="0" y="45"/>
                    <a:pt x="0" y="45"/>
                  </a:cubicBezTo>
                  <a:cubicBezTo>
                    <a:pt x="0" y="56"/>
                    <a:pt x="0" y="70"/>
                    <a:pt x="12" y="81"/>
                  </a:cubicBezTo>
                  <a:cubicBezTo>
                    <a:pt x="12" y="92"/>
                    <a:pt x="23" y="104"/>
                    <a:pt x="23" y="104"/>
                  </a:cubicBezTo>
                  <a:lnTo>
                    <a:pt x="34" y="115"/>
                  </a:lnTo>
                  <a:lnTo>
                    <a:pt x="34" y="126"/>
                  </a:lnTo>
                  <a:lnTo>
                    <a:pt x="34" y="140"/>
                  </a:lnTo>
                  <a:cubicBezTo>
                    <a:pt x="34" y="185"/>
                    <a:pt x="59" y="221"/>
                    <a:pt x="93" y="243"/>
                  </a:cubicBezTo>
                  <a:cubicBezTo>
                    <a:pt x="115" y="255"/>
                    <a:pt x="129" y="255"/>
                    <a:pt x="140" y="255"/>
                  </a:cubicBezTo>
                  <a:cubicBezTo>
                    <a:pt x="174" y="255"/>
                    <a:pt x="199" y="243"/>
                    <a:pt x="221" y="221"/>
                  </a:cubicBezTo>
                  <a:cubicBezTo>
                    <a:pt x="232" y="196"/>
                    <a:pt x="232" y="173"/>
                    <a:pt x="232" y="151"/>
                  </a:cubicBezTo>
                  <a:lnTo>
                    <a:pt x="232" y="115"/>
                  </a:lnTo>
                  <a:cubicBezTo>
                    <a:pt x="232" y="92"/>
                    <a:pt x="232" y="70"/>
                    <a:pt x="221" y="56"/>
                  </a:cubicBezTo>
                  <a:cubicBezTo>
                    <a:pt x="199" y="34"/>
                    <a:pt x="185" y="22"/>
                    <a:pt x="163" y="22"/>
                  </a:cubicBezTo>
                  <a:cubicBezTo>
                    <a:pt x="129" y="11"/>
                    <a:pt x="93" y="11"/>
                    <a:pt x="5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" name="Google Shape;169;p17">
              <a:extLst>
                <a:ext uri="{FF2B5EF4-FFF2-40B4-BE49-F238E27FC236}">
                  <a16:creationId xmlns:a16="http://schemas.microsoft.com/office/drawing/2014/main" xmlns="" id="{FF31D074-2348-74E5-9CF5-A2B8041188D1}"/>
                </a:ext>
              </a:extLst>
            </p:cNvPr>
            <p:cNvSpPr/>
            <p:nvPr/>
          </p:nvSpPr>
          <p:spPr>
            <a:xfrm>
              <a:off x="3399391" y="2421544"/>
              <a:ext cx="23977" cy="23978"/>
            </a:xfrm>
            <a:custGeom>
              <a:avLst/>
              <a:gdLst/>
              <a:ahLst/>
              <a:cxnLst/>
              <a:rect l="l" t="t" r="r" b="b"/>
              <a:pathLst>
                <a:path w="104" h="104" extrusionOk="0">
                  <a:moveTo>
                    <a:pt x="70" y="0"/>
                  </a:moveTo>
                  <a:cubicBezTo>
                    <a:pt x="59" y="0"/>
                    <a:pt x="34" y="11"/>
                    <a:pt x="34" y="11"/>
                  </a:cubicBezTo>
                  <a:cubicBezTo>
                    <a:pt x="23" y="11"/>
                    <a:pt x="12" y="11"/>
                    <a:pt x="12" y="23"/>
                  </a:cubicBezTo>
                  <a:cubicBezTo>
                    <a:pt x="0" y="23"/>
                    <a:pt x="0" y="34"/>
                    <a:pt x="0" y="48"/>
                  </a:cubicBezTo>
                  <a:cubicBezTo>
                    <a:pt x="0" y="59"/>
                    <a:pt x="0" y="81"/>
                    <a:pt x="12" y="93"/>
                  </a:cubicBezTo>
                  <a:lnTo>
                    <a:pt x="12" y="104"/>
                  </a:lnTo>
                  <a:lnTo>
                    <a:pt x="23" y="104"/>
                  </a:lnTo>
                  <a:cubicBezTo>
                    <a:pt x="34" y="104"/>
                    <a:pt x="45" y="104"/>
                    <a:pt x="59" y="93"/>
                  </a:cubicBezTo>
                  <a:lnTo>
                    <a:pt x="70" y="93"/>
                  </a:lnTo>
                  <a:lnTo>
                    <a:pt x="82" y="81"/>
                  </a:lnTo>
                  <a:cubicBezTo>
                    <a:pt x="93" y="70"/>
                    <a:pt x="93" y="59"/>
                    <a:pt x="93" y="59"/>
                  </a:cubicBezTo>
                  <a:cubicBezTo>
                    <a:pt x="104" y="34"/>
                    <a:pt x="93" y="23"/>
                    <a:pt x="82" y="11"/>
                  </a:cubicBezTo>
                  <a:cubicBezTo>
                    <a:pt x="82" y="0"/>
                    <a:pt x="70" y="0"/>
                    <a:pt x="70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" name="Google Shape;170;p17">
              <a:extLst>
                <a:ext uri="{FF2B5EF4-FFF2-40B4-BE49-F238E27FC236}">
                  <a16:creationId xmlns:a16="http://schemas.microsoft.com/office/drawing/2014/main" xmlns="" id="{FB9D6DD4-F188-48BA-229C-D69E6C566E9B}"/>
                </a:ext>
              </a:extLst>
            </p:cNvPr>
            <p:cNvSpPr/>
            <p:nvPr/>
          </p:nvSpPr>
          <p:spPr>
            <a:xfrm>
              <a:off x="3393627" y="2416241"/>
              <a:ext cx="32508" cy="35044"/>
            </a:xfrm>
            <a:custGeom>
              <a:avLst/>
              <a:gdLst/>
              <a:ahLst/>
              <a:cxnLst/>
              <a:rect l="l" t="t" r="r" b="b"/>
              <a:pathLst>
                <a:path w="141" h="152" extrusionOk="0">
                  <a:moveTo>
                    <a:pt x="84" y="46"/>
                  </a:moveTo>
                  <a:cubicBezTo>
                    <a:pt x="95" y="57"/>
                    <a:pt x="95" y="71"/>
                    <a:pt x="95" y="71"/>
                  </a:cubicBezTo>
                  <a:cubicBezTo>
                    <a:pt x="95" y="82"/>
                    <a:pt x="95" y="82"/>
                    <a:pt x="84" y="93"/>
                  </a:cubicBezTo>
                  <a:cubicBezTo>
                    <a:pt x="75" y="101"/>
                    <a:pt x="66" y="103"/>
                    <a:pt x="59" y="104"/>
                  </a:cubicBezTo>
                  <a:lnTo>
                    <a:pt x="59" y="104"/>
                  </a:lnTo>
                  <a:cubicBezTo>
                    <a:pt x="48" y="93"/>
                    <a:pt x="48" y="82"/>
                    <a:pt x="48" y="82"/>
                  </a:cubicBezTo>
                  <a:lnTo>
                    <a:pt x="48" y="71"/>
                  </a:lnTo>
                  <a:lnTo>
                    <a:pt x="48" y="57"/>
                  </a:lnTo>
                  <a:lnTo>
                    <a:pt x="59" y="57"/>
                  </a:lnTo>
                  <a:cubicBezTo>
                    <a:pt x="59" y="57"/>
                    <a:pt x="70" y="57"/>
                    <a:pt x="70" y="46"/>
                  </a:cubicBezTo>
                  <a:close/>
                  <a:moveTo>
                    <a:pt x="70" y="1"/>
                  </a:moveTo>
                  <a:lnTo>
                    <a:pt x="59" y="12"/>
                  </a:lnTo>
                  <a:cubicBezTo>
                    <a:pt x="37" y="12"/>
                    <a:pt x="25" y="12"/>
                    <a:pt x="14" y="23"/>
                  </a:cubicBezTo>
                  <a:cubicBezTo>
                    <a:pt x="0" y="34"/>
                    <a:pt x="0" y="57"/>
                    <a:pt x="0" y="71"/>
                  </a:cubicBezTo>
                  <a:lnTo>
                    <a:pt x="0" y="82"/>
                  </a:lnTo>
                  <a:cubicBezTo>
                    <a:pt x="0" y="93"/>
                    <a:pt x="0" y="116"/>
                    <a:pt x="14" y="127"/>
                  </a:cubicBezTo>
                  <a:lnTo>
                    <a:pt x="25" y="141"/>
                  </a:lnTo>
                  <a:lnTo>
                    <a:pt x="25" y="152"/>
                  </a:lnTo>
                  <a:lnTo>
                    <a:pt x="48" y="152"/>
                  </a:lnTo>
                  <a:cubicBezTo>
                    <a:pt x="59" y="152"/>
                    <a:pt x="70" y="152"/>
                    <a:pt x="84" y="141"/>
                  </a:cubicBezTo>
                  <a:lnTo>
                    <a:pt x="107" y="141"/>
                  </a:lnTo>
                  <a:cubicBezTo>
                    <a:pt x="118" y="127"/>
                    <a:pt x="118" y="127"/>
                    <a:pt x="129" y="116"/>
                  </a:cubicBezTo>
                  <a:cubicBezTo>
                    <a:pt x="129" y="104"/>
                    <a:pt x="140" y="93"/>
                    <a:pt x="140" y="82"/>
                  </a:cubicBezTo>
                  <a:lnTo>
                    <a:pt x="140" y="71"/>
                  </a:lnTo>
                  <a:cubicBezTo>
                    <a:pt x="140" y="46"/>
                    <a:pt x="129" y="34"/>
                    <a:pt x="129" y="23"/>
                  </a:cubicBezTo>
                  <a:cubicBezTo>
                    <a:pt x="129" y="12"/>
                    <a:pt x="118" y="12"/>
                    <a:pt x="118" y="12"/>
                  </a:cubicBezTo>
                  <a:cubicBezTo>
                    <a:pt x="107" y="1"/>
                    <a:pt x="107" y="1"/>
                    <a:pt x="95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" name="Google Shape;171;p17">
              <a:extLst>
                <a:ext uri="{FF2B5EF4-FFF2-40B4-BE49-F238E27FC236}">
                  <a16:creationId xmlns:a16="http://schemas.microsoft.com/office/drawing/2014/main" xmlns="" id="{8A5499B9-D120-465C-1DA5-25C1755CE804}"/>
                </a:ext>
              </a:extLst>
            </p:cNvPr>
            <p:cNvSpPr/>
            <p:nvPr/>
          </p:nvSpPr>
          <p:spPr>
            <a:xfrm>
              <a:off x="3699799" y="2422927"/>
              <a:ext cx="51874" cy="31125"/>
            </a:xfrm>
            <a:custGeom>
              <a:avLst/>
              <a:gdLst/>
              <a:ahLst/>
              <a:cxnLst/>
              <a:rect l="l" t="t" r="r" b="b"/>
              <a:pathLst>
                <a:path w="225" h="135" extrusionOk="0">
                  <a:moveTo>
                    <a:pt x="24" y="1"/>
                  </a:moveTo>
                  <a:cubicBezTo>
                    <a:pt x="21" y="1"/>
                    <a:pt x="18" y="2"/>
                    <a:pt x="14" y="5"/>
                  </a:cubicBezTo>
                  <a:lnTo>
                    <a:pt x="0" y="5"/>
                  </a:lnTo>
                  <a:cubicBezTo>
                    <a:pt x="0" y="17"/>
                    <a:pt x="0" y="42"/>
                    <a:pt x="14" y="53"/>
                  </a:cubicBezTo>
                  <a:lnTo>
                    <a:pt x="26" y="53"/>
                  </a:lnTo>
                  <a:cubicBezTo>
                    <a:pt x="53" y="71"/>
                    <a:pt x="142" y="135"/>
                    <a:pt x="187" y="135"/>
                  </a:cubicBezTo>
                  <a:cubicBezTo>
                    <a:pt x="198" y="135"/>
                    <a:pt x="206" y="131"/>
                    <a:pt x="210" y="123"/>
                  </a:cubicBezTo>
                  <a:cubicBezTo>
                    <a:pt x="224" y="87"/>
                    <a:pt x="177" y="42"/>
                    <a:pt x="154" y="28"/>
                  </a:cubicBezTo>
                  <a:cubicBezTo>
                    <a:pt x="140" y="17"/>
                    <a:pt x="129" y="17"/>
                    <a:pt x="118" y="17"/>
                  </a:cubicBezTo>
                  <a:cubicBezTo>
                    <a:pt x="110" y="20"/>
                    <a:pt x="103" y="22"/>
                    <a:pt x="95" y="22"/>
                  </a:cubicBezTo>
                  <a:cubicBezTo>
                    <a:pt x="79" y="22"/>
                    <a:pt x="63" y="17"/>
                    <a:pt x="48" y="17"/>
                  </a:cubicBezTo>
                  <a:cubicBezTo>
                    <a:pt x="40" y="9"/>
                    <a:pt x="32" y="1"/>
                    <a:pt x="24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72;p17">
              <a:extLst>
                <a:ext uri="{FF2B5EF4-FFF2-40B4-BE49-F238E27FC236}">
                  <a16:creationId xmlns:a16="http://schemas.microsoft.com/office/drawing/2014/main" xmlns="" id="{E26F584B-699D-79A0-5A38-42B08918F113}"/>
                </a:ext>
              </a:extLst>
            </p:cNvPr>
            <p:cNvSpPr/>
            <p:nvPr/>
          </p:nvSpPr>
          <p:spPr>
            <a:xfrm>
              <a:off x="3694727" y="2419008"/>
              <a:ext cx="59482" cy="40117"/>
            </a:xfrm>
            <a:custGeom>
              <a:avLst/>
              <a:gdLst/>
              <a:ahLst/>
              <a:cxnLst/>
              <a:rect l="l" t="t" r="r" b="b"/>
              <a:pathLst>
                <a:path w="258" h="174" extrusionOk="0">
                  <a:moveTo>
                    <a:pt x="59" y="45"/>
                  </a:moveTo>
                  <a:cubicBezTo>
                    <a:pt x="81" y="59"/>
                    <a:pt x="106" y="59"/>
                    <a:pt x="118" y="59"/>
                  </a:cubicBezTo>
                  <a:lnTo>
                    <a:pt x="162" y="59"/>
                  </a:lnTo>
                  <a:cubicBezTo>
                    <a:pt x="176" y="70"/>
                    <a:pt x="187" y="81"/>
                    <a:pt x="199" y="92"/>
                  </a:cubicBezTo>
                  <a:cubicBezTo>
                    <a:pt x="210" y="104"/>
                    <a:pt x="221" y="115"/>
                    <a:pt x="210" y="129"/>
                  </a:cubicBezTo>
                  <a:cubicBezTo>
                    <a:pt x="199" y="129"/>
                    <a:pt x="187" y="129"/>
                    <a:pt x="176" y="115"/>
                  </a:cubicBezTo>
                  <a:cubicBezTo>
                    <a:pt x="151" y="115"/>
                    <a:pt x="129" y="104"/>
                    <a:pt x="106" y="81"/>
                  </a:cubicBezTo>
                  <a:cubicBezTo>
                    <a:pt x="92" y="70"/>
                    <a:pt x="70" y="59"/>
                    <a:pt x="59" y="59"/>
                  </a:cubicBezTo>
                  <a:lnTo>
                    <a:pt x="59" y="45"/>
                  </a:lnTo>
                  <a:close/>
                  <a:moveTo>
                    <a:pt x="22" y="0"/>
                  </a:moveTo>
                  <a:lnTo>
                    <a:pt x="11" y="11"/>
                  </a:lnTo>
                  <a:cubicBezTo>
                    <a:pt x="0" y="22"/>
                    <a:pt x="0" y="22"/>
                    <a:pt x="0" y="34"/>
                  </a:cubicBezTo>
                  <a:cubicBezTo>
                    <a:pt x="0" y="45"/>
                    <a:pt x="0" y="45"/>
                    <a:pt x="11" y="59"/>
                  </a:cubicBezTo>
                  <a:lnTo>
                    <a:pt x="11" y="81"/>
                  </a:lnTo>
                  <a:cubicBezTo>
                    <a:pt x="22" y="92"/>
                    <a:pt x="36" y="92"/>
                    <a:pt x="36" y="92"/>
                  </a:cubicBezTo>
                  <a:cubicBezTo>
                    <a:pt x="48" y="104"/>
                    <a:pt x="70" y="115"/>
                    <a:pt x="106" y="140"/>
                  </a:cubicBezTo>
                  <a:cubicBezTo>
                    <a:pt x="129" y="151"/>
                    <a:pt x="140" y="162"/>
                    <a:pt x="162" y="162"/>
                  </a:cubicBezTo>
                  <a:cubicBezTo>
                    <a:pt x="176" y="173"/>
                    <a:pt x="199" y="173"/>
                    <a:pt x="210" y="173"/>
                  </a:cubicBezTo>
                  <a:lnTo>
                    <a:pt x="232" y="173"/>
                  </a:lnTo>
                  <a:cubicBezTo>
                    <a:pt x="246" y="162"/>
                    <a:pt x="257" y="162"/>
                    <a:pt x="257" y="151"/>
                  </a:cubicBezTo>
                  <a:lnTo>
                    <a:pt x="257" y="129"/>
                  </a:lnTo>
                  <a:cubicBezTo>
                    <a:pt x="257" y="104"/>
                    <a:pt x="246" y="81"/>
                    <a:pt x="232" y="59"/>
                  </a:cubicBezTo>
                  <a:cubicBezTo>
                    <a:pt x="221" y="45"/>
                    <a:pt x="199" y="34"/>
                    <a:pt x="187" y="22"/>
                  </a:cubicBezTo>
                  <a:cubicBezTo>
                    <a:pt x="176" y="11"/>
                    <a:pt x="162" y="11"/>
                    <a:pt x="151" y="11"/>
                  </a:cubicBezTo>
                  <a:lnTo>
                    <a:pt x="81" y="11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" name="Google Shape;173;p17">
              <a:extLst>
                <a:ext uri="{FF2B5EF4-FFF2-40B4-BE49-F238E27FC236}">
                  <a16:creationId xmlns:a16="http://schemas.microsoft.com/office/drawing/2014/main" xmlns="" id="{C443BEE1-C7DD-C57D-AFD1-A233F65760FD}"/>
                </a:ext>
              </a:extLst>
            </p:cNvPr>
            <p:cNvSpPr/>
            <p:nvPr/>
          </p:nvSpPr>
          <p:spPr>
            <a:xfrm>
              <a:off x="3546943" y="2389036"/>
              <a:ext cx="148013" cy="254072"/>
            </a:xfrm>
            <a:custGeom>
              <a:avLst/>
              <a:gdLst/>
              <a:ahLst/>
              <a:cxnLst/>
              <a:rect l="l" t="t" r="r" b="b"/>
              <a:pathLst>
                <a:path w="642" h="1102" extrusionOk="0">
                  <a:moveTo>
                    <a:pt x="324" y="1"/>
                  </a:moveTo>
                  <a:cubicBezTo>
                    <a:pt x="304" y="1"/>
                    <a:pt x="285" y="5"/>
                    <a:pt x="269" y="13"/>
                  </a:cubicBezTo>
                  <a:cubicBezTo>
                    <a:pt x="244" y="24"/>
                    <a:pt x="222" y="35"/>
                    <a:pt x="199" y="35"/>
                  </a:cubicBezTo>
                  <a:cubicBezTo>
                    <a:pt x="191" y="40"/>
                    <a:pt x="183" y="41"/>
                    <a:pt x="175" y="41"/>
                  </a:cubicBezTo>
                  <a:cubicBezTo>
                    <a:pt x="159" y="41"/>
                    <a:pt x="144" y="35"/>
                    <a:pt x="129" y="35"/>
                  </a:cubicBezTo>
                  <a:cubicBezTo>
                    <a:pt x="104" y="35"/>
                    <a:pt x="82" y="49"/>
                    <a:pt x="71" y="71"/>
                  </a:cubicBezTo>
                  <a:lnTo>
                    <a:pt x="71" y="94"/>
                  </a:lnTo>
                  <a:cubicBezTo>
                    <a:pt x="71" y="105"/>
                    <a:pt x="48" y="119"/>
                    <a:pt x="34" y="119"/>
                  </a:cubicBezTo>
                  <a:cubicBezTo>
                    <a:pt x="1" y="141"/>
                    <a:pt x="1" y="200"/>
                    <a:pt x="23" y="222"/>
                  </a:cubicBezTo>
                  <a:cubicBezTo>
                    <a:pt x="34" y="259"/>
                    <a:pt x="71" y="281"/>
                    <a:pt x="104" y="303"/>
                  </a:cubicBezTo>
                  <a:cubicBezTo>
                    <a:pt x="141" y="315"/>
                    <a:pt x="174" y="329"/>
                    <a:pt x="210" y="351"/>
                  </a:cubicBezTo>
                  <a:lnTo>
                    <a:pt x="233" y="373"/>
                  </a:lnTo>
                  <a:cubicBezTo>
                    <a:pt x="258" y="410"/>
                    <a:pt x="244" y="454"/>
                    <a:pt x="269" y="468"/>
                  </a:cubicBezTo>
                  <a:cubicBezTo>
                    <a:pt x="280" y="468"/>
                    <a:pt x="280" y="468"/>
                    <a:pt x="292" y="480"/>
                  </a:cubicBezTo>
                  <a:cubicBezTo>
                    <a:pt x="303" y="480"/>
                    <a:pt x="303" y="502"/>
                    <a:pt x="303" y="524"/>
                  </a:cubicBezTo>
                  <a:cubicBezTo>
                    <a:pt x="303" y="549"/>
                    <a:pt x="314" y="561"/>
                    <a:pt x="328" y="583"/>
                  </a:cubicBezTo>
                  <a:cubicBezTo>
                    <a:pt x="339" y="608"/>
                    <a:pt x="339" y="631"/>
                    <a:pt x="328" y="642"/>
                  </a:cubicBezTo>
                  <a:cubicBezTo>
                    <a:pt x="314" y="664"/>
                    <a:pt x="303" y="664"/>
                    <a:pt x="280" y="678"/>
                  </a:cubicBezTo>
                  <a:cubicBezTo>
                    <a:pt x="269" y="700"/>
                    <a:pt x="269" y="723"/>
                    <a:pt x="244" y="734"/>
                  </a:cubicBezTo>
                  <a:cubicBezTo>
                    <a:pt x="222" y="748"/>
                    <a:pt x="199" y="748"/>
                    <a:pt x="163" y="759"/>
                  </a:cubicBezTo>
                  <a:cubicBezTo>
                    <a:pt x="129" y="759"/>
                    <a:pt x="93" y="793"/>
                    <a:pt x="93" y="829"/>
                  </a:cubicBezTo>
                  <a:cubicBezTo>
                    <a:pt x="93" y="863"/>
                    <a:pt x="129" y="888"/>
                    <a:pt x="152" y="910"/>
                  </a:cubicBezTo>
                  <a:cubicBezTo>
                    <a:pt x="199" y="944"/>
                    <a:pt x="244" y="969"/>
                    <a:pt x="269" y="1014"/>
                  </a:cubicBezTo>
                  <a:cubicBezTo>
                    <a:pt x="280" y="1039"/>
                    <a:pt x="292" y="1061"/>
                    <a:pt x="303" y="1072"/>
                  </a:cubicBezTo>
                  <a:cubicBezTo>
                    <a:pt x="311" y="1091"/>
                    <a:pt x="327" y="1102"/>
                    <a:pt x="344" y="1102"/>
                  </a:cubicBezTo>
                  <a:cubicBezTo>
                    <a:pt x="350" y="1102"/>
                    <a:pt x="356" y="1100"/>
                    <a:pt x="361" y="1098"/>
                  </a:cubicBezTo>
                  <a:cubicBezTo>
                    <a:pt x="384" y="1098"/>
                    <a:pt x="398" y="1061"/>
                    <a:pt x="409" y="1039"/>
                  </a:cubicBezTo>
                  <a:cubicBezTo>
                    <a:pt x="409" y="1002"/>
                    <a:pt x="420" y="980"/>
                    <a:pt x="443" y="969"/>
                  </a:cubicBezTo>
                  <a:cubicBezTo>
                    <a:pt x="454" y="958"/>
                    <a:pt x="479" y="958"/>
                    <a:pt x="490" y="958"/>
                  </a:cubicBezTo>
                  <a:cubicBezTo>
                    <a:pt x="538" y="944"/>
                    <a:pt x="571" y="899"/>
                    <a:pt x="560" y="851"/>
                  </a:cubicBezTo>
                  <a:cubicBezTo>
                    <a:pt x="549" y="829"/>
                    <a:pt x="524" y="804"/>
                    <a:pt x="549" y="782"/>
                  </a:cubicBezTo>
                  <a:cubicBezTo>
                    <a:pt x="560" y="770"/>
                    <a:pt x="571" y="770"/>
                    <a:pt x="582" y="759"/>
                  </a:cubicBezTo>
                  <a:cubicBezTo>
                    <a:pt x="608" y="759"/>
                    <a:pt x="630" y="734"/>
                    <a:pt x="641" y="712"/>
                  </a:cubicBezTo>
                  <a:cubicBezTo>
                    <a:pt x="641" y="689"/>
                    <a:pt x="630" y="653"/>
                    <a:pt x="619" y="631"/>
                  </a:cubicBezTo>
                  <a:cubicBezTo>
                    <a:pt x="608" y="619"/>
                    <a:pt x="594" y="608"/>
                    <a:pt x="582" y="594"/>
                  </a:cubicBezTo>
                  <a:cubicBezTo>
                    <a:pt x="582" y="583"/>
                    <a:pt x="594" y="572"/>
                    <a:pt x="608" y="549"/>
                  </a:cubicBezTo>
                  <a:cubicBezTo>
                    <a:pt x="608" y="524"/>
                    <a:pt x="571" y="491"/>
                    <a:pt x="582" y="468"/>
                  </a:cubicBezTo>
                  <a:lnTo>
                    <a:pt x="582" y="432"/>
                  </a:lnTo>
                  <a:cubicBezTo>
                    <a:pt x="594" y="410"/>
                    <a:pt x="582" y="398"/>
                    <a:pt x="594" y="373"/>
                  </a:cubicBezTo>
                  <a:cubicBezTo>
                    <a:pt x="594" y="373"/>
                    <a:pt x="594" y="362"/>
                    <a:pt x="608" y="362"/>
                  </a:cubicBezTo>
                  <a:cubicBezTo>
                    <a:pt x="619" y="340"/>
                    <a:pt x="608" y="303"/>
                    <a:pt x="582" y="292"/>
                  </a:cubicBezTo>
                  <a:cubicBezTo>
                    <a:pt x="582" y="281"/>
                    <a:pt x="582" y="281"/>
                    <a:pt x="571" y="281"/>
                  </a:cubicBezTo>
                  <a:cubicBezTo>
                    <a:pt x="571" y="270"/>
                    <a:pt x="582" y="245"/>
                    <a:pt x="594" y="245"/>
                  </a:cubicBezTo>
                  <a:cubicBezTo>
                    <a:pt x="630" y="211"/>
                    <a:pt x="641" y="164"/>
                    <a:pt x="619" y="119"/>
                  </a:cubicBezTo>
                  <a:cubicBezTo>
                    <a:pt x="608" y="119"/>
                    <a:pt x="608" y="105"/>
                    <a:pt x="594" y="105"/>
                  </a:cubicBezTo>
                  <a:cubicBezTo>
                    <a:pt x="582" y="105"/>
                    <a:pt x="571" y="119"/>
                    <a:pt x="560" y="119"/>
                  </a:cubicBezTo>
                  <a:cubicBezTo>
                    <a:pt x="554" y="122"/>
                    <a:pt x="547" y="123"/>
                    <a:pt x="540" y="123"/>
                  </a:cubicBezTo>
                  <a:cubicBezTo>
                    <a:pt x="519" y="123"/>
                    <a:pt x="495" y="112"/>
                    <a:pt x="479" y="94"/>
                  </a:cubicBezTo>
                  <a:cubicBezTo>
                    <a:pt x="454" y="83"/>
                    <a:pt x="443" y="60"/>
                    <a:pt x="420" y="35"/>
                  </a:cubicBezTo>
                  <a:cubicBezTo>
                    <a:pt x="397" y="13"/>
                    <a:pt x="359" y="1"/>
                    <a:pt x="324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" name="Google Shape;174;p17">
              <a:extLst>
                <a:ext uri="{FF2B5EF4-FFF2-40B4-BE49-F238E27FC236}">
                  <a16:creationId xmlns:a16="http://schemas.microsoft.com/office/drawing/2014/main" xmlns="" id="{75F674EE-2132-4E99-FC54-E60059A2D5CB}"/>
                </a:ext>
              </a:extLst>
            </p:cNvPr>
            <p:cNvSpPr/>
            <p:nvPr/>
          </p:nvSpPr>
          <p:spPr>
            <a:xfrm>
              <a:off x="3544407" y="2384194"/>
              <a:ext cx="155621" cy="263063"/>
            </a:xfrm>
            <a:custGeom>
              <a:avLst/>
              <a:gdLst/>
              <a:ahLst/>
              <a:cxnLst/>
              <a:rect l="l" t="t" r="r" b="b"/>
              <a:pathLst>
                <a:path w="675" h="1141" extrusionOk="0">
                  <a:moveTo>
                    <a:pt x="339" y="45"/>
                  </a:moveTo>
                  <a:cubicBezTo>
                    <a:pt x="361" y="45"/>
                    <a:pt x="395" y="56"/>
                    <a:pt x="420" y="70"/>
                  </a:cubicBezTo>
                  <a:cubicBezTo>
                    <a:pt x="431" y="92"/>
                    <a:pt x="454" y="115"/>
                    <a:pt x="479" y="140"/>
                  </a:cubicBezTo>
                  <a:cubicBezTo>
                    <a:pt x="490" y="151"/>
                    <a:pt x="523" y="173"/>
                    <a:pt x="549" y="173"/>
                  </a:cubicBezTo>
                  <a:cubicBezTo>
                    <a:pt x="560" y="173"/>
                    <a:pt x="571" y="162"/>
                    <a:pt x="582" y="162"/>
                  </a:cubicBezTo>
                  <a:lnTo>
                    <a:pt x="593" y="151"/>
                  </a:lnTo>
                  <a:lnTo>
                    <a:pt x="605" y="151"/>
                  </a:lnTo>
                  <a:lnTo>
                    <a:pt x="605" y="162"/>
                  </a:lnTo>
                  <a:cubicBezTo>
                    <a:pt x="619" y="162"/>
                    <a:pt x="619" y="173"/>
                    <a:pt x="619" y="185"/>
                  </a:cubicBezTo>
                  <a:cubicBezTo>
                    <a:pt x="619" y="210"/>
                    <a:pt x="605" y="232"/>
                    <a:pt x="593" y="243"/>
                  </a:cubicBezTo>
                  <a:cubicBezTo>
                    <a:pt x="582" y="243"/>
                    <a:pt x="582" y="255"/>
                    <a:pt x="571" y="255"/>
                  </a:cubicBezTo>
                  <a:cubicBezTo>
                    <a:pt x="571" y="266"/>
                    <a:pt x="560" y="280"/>
                    <a:pt x="560" y="291"/>
                  </a:cubicBezTo>
                  <a:cubicBezTo>
                    <a:pt x="560" y="302"/>
                    <a:pt x="560" y="302"/>
                    <a:pt x="571" y="313"/>
                  </a:cubicBezTo>
                  <a:cubicBezTo>
                    <a:pt x="571" y="324"/>
                    <a:pt x="582" y="324"/>
                    <a:pt x="582" y="324"/>
                  </a:cubicBezTo>
                  <a:cubicBezTo>
                    <a:pt x="593" y="336"/>
                    <a:pt x="593" y="350"/>
                    <a:pt x="593" y="361"/>
                  </a:cubicBezTo>
                  <a:lnTo>
                    <a:pt x="593" y="372"/>
                  </a:lnTo>
                  <a:cubicBezTo>
                    <a:pt x="593" y="372"/>
                    <a:pt x="582" y="383"/>
                    <a:pt x="582" y="394"/>
                  </a:cubicBezTo>
                  <a:cubicBezTo>
                    <a:pt x="571" y="405"/>
                    <a:pt x="571" y="419"/>
                    <a:pt x="571" y="431"/>
                  </a:cubicBezTo>
                  <a:lnTo>
                    <a:pt x="571" y="442"/>
                  </a:lnTo>
                  <a:lnTo>
                    <a:pt x="571" y="489"/>
                  </a:lnTo>
                  <a:cubicBezTo>
                    <a:pt x="571" y="512"/>
                    <a:pt x="571" y="523"/>
                    <a:pt x="582" y="534"/>
                  </a:cubicBezTo>
                  <a:cubicBezTo>
                    <a:pt x="582" y="545"/>
                    <a:pt x="593" y="559"/>
                    <a:pt x="593" y="570"/>
                  </a:cubicBezTo>
                  <a:lnTo>
                    <a:pt x="582" y="582"/>
                  </a:lnTo>
                  <a:cubicBezTo>
                    <a:pt x="582" y="593"/>
                    <a:pt x="571" y="604"/>
                    <a:pt x="571" y="615"/>
                  </a:cubicBezTo>
                  <a:cubicBezTo>
                    <a:pt x="582" y="640"/>
                    <a:pt x="582" y="652"/>
                    <a:pt x="593" y="652"/>
                  </a:cubicBezTo>
                  <a:cubicBezTo>
                    <a:pt x="605" y="663"/>
                    <a:pt x="605" y="663"/>
                    <a:pt x="619" y="674"/>
                  </a:cubicBezTo>
                  <a:cubicBezTo>
                    <a:pt x="619" y="685"/>
                    <a:pt x="630" y="699"/>
                    <a:pt x="630" y="710"/>
                  </a:cubicBezTo>
                  <a:lnTo>
                    <a:pt x="630" y="721"/>
                  </a:lnTo>
                  <a:cubicBezTo>
                    <a:pt x="619" y="744"/>
                    <a:pt x="605" y="755"/>
                    <a:pt x="593" y="755"/>
                  </a:cubicBezTo>
                  <a:cubicBezTo>
                    <a:pt x="582" y="769"/>
                    <a:pt x="571" y="769"/>
                    <a:pt x="571" y="769"/>
                  </a:cubicBezTo>
                  <a:cubicBezTo>
                    <a:pt x="560" y="769"/>
                    <a:pt x="549" y="780"/>
                    <a:pt x="535" y="791"/>
                  </a:cubicBezTo>
                  <a:cubicBezTo>
                    <a:pt x="523" y="803"/>
                    <a:pt x="523" y="814"/>
                    <a:pt x="523" y="825"/>
                  </a:cubicBezTo>
                  <a:cubicBezTo>
                    <a:pt x="523" y="839"/>
                    <a:pt x="523" y="850"/>
                    <a:pt x="535" y="861"/>
                  </a:cubicBezTo>
                  <a:cubicBezTo>
                    <a:pt x="535" y="861"/>
                    <a:pt x="535" y="872"/>
                    <a:pt x="549" y="884"/>
                  </a:cubicBezTo>
                  <a:lnTo>
                    <a:pt x="549" y="895"/>
                  </a:lnTo>
                  <a:cubicBezTo>
                    <a:pt x="549" y="909"/>
                    <a:pt x="535" y="920"/>
                    <a:pt x="535" y="931"/>
                  </a:cubicBezTo>
                  <a:cubicBezTo>
                    <a:pt x="523" y="942"/>
                    <a:pt x="512" y="954"/>
                    <a:pt x="501" y="954"/>
                  </a:cubicBezTo>
                  <a:lnTo>
                    <a:pt x="479" y="954"/>
                  </a:lnTo>
                  <a:cubicBezTo>
                    <a:pt x="465" y="954"/>
                    <a:pt x="454" y="954"/>
                    <a:pt x="442" y="965"/>
                  </a:cubicBezTo>
                  <a:cubicBezTo>
                    <a:pt x="431" y="979"/>
                    <a:pt x="420" y="990"/>
                    <a:pt x="409" y="1001"/>
                  </a:cubicBezTo>
                  <a:cubicBezTo>
                    <a:pt x="395" y="1023"/>
                    <a:pt x="395" y="1035"/>
                    <a:pt x="395" y="1049"/>
                  </a:cubicBezTo>
                  <a:cubicBezTo>
                    <a:pt x="395" y="1060"/>
                    <a:pt x="384" y="1071"/>
                    <a:pt x="384" y="1082"/>
                  </a:cubicBezTo>
                  <a:cubicBezTo>
                    <a:pt x="372" y="1093"/>
                    <a:pt x="372" y="1093"/>
                    <a:pt x="361" y="1093"/>
                  </a:cubicBezTo>
                  <a:cubicBezTo>
                    <a:pt x="358" y="1097"/>
                    <a:pt x="355" y="1098"/>
                    <a:pt x="351" y="1098"/>
                  </a:cubicBezTo>
                  <a:cubicBezTo>
                    <a:pt x="343" y="1098"/>
                    <a:pt x="335" y="1090"/>
                    <a:pt x="325" y="1082"/>
                  </a:cubicBezTo>
                  <a:cubicBezTo>
                    <a:pt x="325" y="1071"/>
                    <a:pt x="314" y="1049"/>
                    <a:pt x="303" y="1023"/>
                  </a:cubicBezTo>
                  <a:cubicBezTo>
                    <a:pt x="269" y="979"/>
                    <a:pt x="221" y="942"/>
                    <a:pt x="174" y="909"/>
                  </a:cubicBezTo>
                  <a:cubicBezTo>
                    <a:pt x="163" y="909"/>
                    <a:pt x="152" y="895"/>
                    <a:pt x="140" y="884"/>
                  </a:cubicBezTo>
                  <a:cubicBezTo>
                    <a:pt x="129" y="872"/>
                    <a:pt x="129" y="861"/>
                    <a:pt x="129" y="850"/>
                  </a:cubicBezTo>
                  <a:cubicBezTo>
                    <a:pt x="129" y="839"/>
                    <a:pt x="129" y="825"/>
                    <a:pt x="140" y="814"/>
                  </a:cubicBezTo>
                  <a:cubicBezTo>
                    <a:pt x="152" y="803"/>
                    <a:pt x="163" y="803"/>
                    <a:pt x="185" y="803"/>
                  </a:cubicBezTo>
                  <a:cubicBezTo>
                    <a:pt x="199" y="791"/>
                    <a:pt x="210" y="791"/>
                    <a:pt x="221" y="791"/>
                  </a:cubicBezTo>
                  <a:cubicBezTo>
                    <a:pt x="244" y="791"/>
                    <a:pt x="255" y="791"/>
                    <a:pt x="269" y="769"/>
                  </a:cubicBezTo>
                  <a:cubicBezTo>
                    <a:pt x="291" y="755"/>
                    <a:pt x="291" y="744"/>
                    <a:pt x="303" y="744"/>
                  </a:cubicBezTo>
                  <a:cubicBezTo>
                    <a:pt x="303" y="733"/>
                    <a:pt x="303" y="721"/>
                    <a:pt x="314" y="721"/>
                  </a:cubicBezTo>
                  <a:cubicBezTo>
                    <a:pt x="314" y="710"/>
                    <a:pt x="325" y="710"/>
                    <a:pt x="325" y="710"/>
                  </a:cubicBezTo>
                  <a:cubicBezTo>
                    <a:pt x="339" y="699"/>
                    <a:pt x="350" y="699"/>
                    <a:pt x="361" y="674"/>
                  </a:cubicBezTo>
                  <a:cubicBezTo>
                    <a:pt x="372" y="663"/>
                    <a:pt x="372" y="652"/>
                    <a:pt x="372" y="640"/>
                  </a:cubicBezTo>
                  <a:cubicBezTo>
                    <a:pt x="372" y="629"/>
                    <a:pt x="361" y="604"/>
                    <a:pt x="361" y="593"/>
                  </a:cubicBezTo>
                  <a:cubicBezTo>
                    <a:pt x="350" y="570"/>
                    <a:pt x="339" y="559"/>
                    <a:pt x="339" y="545"/>
                  </a:cubicBezTo>
                  <a:lnTo>
                    <a:pt x="339" y="534"/>
                  </a:lnTo>
                  <a:lnTo>
                    <a:pt x="339" y="523"/>
                  </a:lnTo>
                  <a:cubicBezTo>
                    <a:pt x="339" y="512"/>
                    <a:pt x="339" y="512"/>
                    <a:pt x="325" y="501"/>
                  </a:cubicBezTo>
                  <a:cubicBezTo>
                    <a:pt x="325" y="489"/>
                    <a:pt x="325" y="475"/>
                    <a:pt x="314" y="475"/>
                  </a:cubicBezTo>
                  <a:cubicBezTo>
                    <a:pt x="303" y="464"/>
                    <a:pt x="291" y="464"/>
                    <a:pt x="291" y="464"/>
                  </a:cubicBezTo>
                  <a:cubicBezTo>
                    <a:pt x="291" y="453"/>
                    <a:pt x="280" y="442"/>
                    <a:pt x="280" y="431"/>
                  </a:cubicBezTo>
                  <a:cubicBezTo>
                    <a:pt x="280" y="419"/>
                    <a:pt x="280" y="405"/>
                    <a:pt x="269" y="383"/>
                  </a:cubicBezTo>
                  <a:cubicBezTo>
                    <a:pt x="255" y="372"/>
                    <a:pt x="244" y="361"/>
                    <a:pt x="233" y="361"/>
                  </a:cubicBezTo>
                  <a:cubicBezTo>
                    <a:pt x="199" y="336"/>
                    <a:pt x="163" y="313"/>
                    <a:pt x="129" y="302"/>
                  </a:cubicBezTo>
                  <a:cubicBezTo>
                    <a:pt x="93" y="291"/>
                    <a:pt x="70" y="266"/>
                    <a:pt x="45" y="243"/>
                  </a:cubicBezTo>
                  <a:lnTo>
                    <a:pt x="45" y="210"/>
                  </a:lnTo>
                  <a:cubicBezTo>
                    <a:pt x="45" y="185"/>
                    <a:pt x="45" y="173"/>
                    <a:pt x="59" y="162"/>
                  </a:cubicBezTo>
                  <a:cubicBezTo>
                    <a:pt x="70" y="162"/>
                    <a:pt x="70" y="151"/>
                    <a:pt x="82" y="151"/>
                  </a:cubicBezTo>
                  <a:cubicBezTo>
                    <a:pt x="93" y="140"/>
                    <a:pt x="93" y="140"/>
                    <a:pt x="104" y="115"/>
                  </a:cubicBezTo>
                  <a:lnTo>
                    <a:pt x="104" y="92"/>
                  </a:lnTo>
                  <a:lnTo>
                    <a:pt x="115" y="92"/>
                  </a:lnTo>
                  <a:cubicBezTo>
                    <a:pt x="115" y="81"/>
                    <a:pt x="129" y="81"/>
                    <a:pt x="140" y="81"/>
                  </a:cubicBezTo>
                  <a:lnTo>
                    <a:pt x="210" y="81"/>
                  </a:lnTo>
                  <a:cubicBezTo>
                    <a:pt x="244" y="81"/>
                    <a:pt x="269" y="56"/>
                    <a:pt x="291" y="45"/>
                  </a:cubicBezTo>
                  <a:close/>
                  <a:moveTo>
                    <a:pt x="339" y="0"/>
                  </a:moveTo>
                  <a:cubicBezTo>
                    <a:pt x="314" y="0"/>
                    <a:pt x="291" y="0"/>
                    <a:pt x="269" y="11"/>
                  </a:cubicBezTo>
                  <a:cubicBezTo>
                    <a:pt x="244" y="22"/>
                    <a:pt x="221" y="34"/>
                    <a:pt x="199" y="34"/>
                  </a:cubicBezTo>
                  <a:lnTo>
                    <a:pt x="140" y="34"/>
                  </a:lnTo>
                  <a:cubicBezTo>
                    <a:pt x="115" y="34"/>
                    <a:pt x="104" y="34"/>
                    <a:pt x="93" y="45"/>
                  </a:cubicBezTo>
                  <a:cubicBezTo>
                    <a:pt x="82" y="56"/>
                    <a:pt x="70" y="70"/>
                    <a:pt x="59" y="92"/>
                  </a:cubicBezTo>
                  <a:lnTo>
                    <a:pt x="59" y="104"/>
                  </a:lnTo>
                  <a:lnTo>
                    <a:pt x="59" y="115"/>
                  </a:lnTo>
                  <a:cubicBezTo>
                    <a:pt x="45" y="115"/>
                    <a:pt x="45" y="115"/>
                    <a:pt x="34" y="126"/>
                  </a:cubicBezTo>
                  <a:cubicBezTo>
                    <a:pt x="12" y="140"/>
                    <a:pt x="1" y="173"/>
                    <a:pt x="1" y="210"/>
                  </a:cubicBezTo>
                  <a:cubicBezTo>
                    <a:pt x="1" y="221"/>
                    <a:pt x="1" y="243"/>
                    <a:pt x="12" y="255"/>
                  </a:cubicBezTo>
                  <a:cubicBezTo>
                    <a:pt x="34" y="302"/>
                    <a:pt x="70" y="324"/>
                    <a:pt x="104" y="350"/>
                  </a:cubicBezTo>
                  <a:cubicBezTo>
                    <a:pt x="152" y="361"/>
                    <a:pt x="185" y="372"/>
                    <a:pt x="210" y="394"/>
                  </a:cubicBezTo>
                  <a:cubicBezTo>
                    <a:pt x="221" y="405"/>
                    <a:pt x="221" y="405"/>
                    <a:pt x="233" y="405"/>
                  </a:cubicBezTo>
                  <a:cubicBezTo>
                    <a:pt x="233" y="419"/>
                    <a:pt x="233" y="431"/>
                    <a:pt x="244" y="453"/>
                  </a:cubicBezTo>
                  <a:lnTo>
                    <a:pt x="244" y="475"/>
                  </a:lnTo>
                  <a:cubicBezTo>
                    <a:pt x="255" y="489"/>
                    <a:pt x="255" y="501"/>
                    <a:pt x="269" y="512"/>
                  </a:cubicBezTo>
                  <a:lnTo>
                    <a:pt x="291" y="512"/>
                  </a:lnTo>
                  <a:lnTo>
                    <a:pt x="291" y="523"/>
                  </a:lnTo>
                  <a:lnTo>
                    <a:pt x="291" y="534"/>
                  </a:lnTo>
                  <a:lnTo>
                    <a:pt x="291" y="545"/>
                  </a:lnTo>
                  <a:cubicBezTo>
                    <a:pt x="291" y="582"/>
                    <a:pt x="303" y="593"/>
                    <a:pt x="314" y="615"/>
                  </a:cubicBezTo>
                  <a:cubicBezTo>
                    <a:pt x="325" y="629"/>
                    <a:pt x="325" y="640"/>
                    <a:pt x="325" y="640"/>
                  </a:cubicBezTo>
                  <a:lnTo>
                    <a:pt x="325" y="652"/>
                  </a:lnTo>
                  <a:cubicBezTo>
                    <a:pt x="325" y="652"/>
                    <a:pt x="314" y="663"/>
                    <a:pt x="303" y="663"/>
                  </a:cubicBezTo>
                  <a:cubicBezTo>
                    <a:pt x="303" y="674"/>
                    <a:pt x="291" y="674"/>
                    <a:pt x="280" y="685"/>
                  </a:cubicBezTo>
                  <a:cubicBezTo>
                    <a:pt x="269" y="699"/>
                    <a:pt x="255" y="710"/>
                    <a:pt x="255" y="721"/>
                  </a:cubicBezTo>
                  <a:lnTo>
                    <a:pt x="244" y="733"/>
                  </a:lnTo>
                  <a:cubicBezTo>
                    <a:pt x="233" y="744"/>
                    <a:pt x="233" y="744"/>
                    <a:pt x="221" y="744"/>
                  </a:cubicBezTo>
                  <a:cubicBezTo>
                    <a:pt x="210" y="744"/>
                    <a:pt x="185" y="744"/>
                    <a:pt x="174" y="755"/>
                  </a:cubicBezTo>
                  <a:cubicBezTo>
                    <a:pt x="152" y="755"/>
                    <a:pt x="129" y="769"/>
                    <a:pt x="115" y="780"/>
                  </a:cubicBezTo>
                  <a:cubicBezTo>
                    <a:pt x="93" y="803"/>
                    <a:pt x="82" y="825"/>
                    <a:pt x="82" y="850"/>
                  </a:cubicBezTo>
                  <a:cubicBezTo>
                    <a:pt x="82" y="872"/>
                    <a:pt x="93" y="895"/>
                    <a:pt x="104" y="909"/>
                  </a:cubicBezTo>
                  <a:cubicBezTo>
                    <a:pt x="115" y="931"/>
                    <a:pt x="140" y="942"/>
                    <a:pt x="152" y="954"/>
                  </a:cubicBezTo>
                  <a:cubicBezTo>
                    <a:pt x="199" y="979"/>
                    <a:pt x="233" y="1012"/>
                    <a:pt x="255" y="1049"/>
                  </a:cubicBezTo>
                  <a:cubicBezTo>
                    <a:pt x="269" y="1060"/>
                    <a:pt x="280" y="1082"/>
                    <a:pt x="291" y="1105"/>
                  </a:cubicBezTo>
                  <a:cubicBezTo>
                    <a:pt x="314" y="1130"/>
                    <a:pt x="325" y="1141"/>
                    <a:pt x="361" y="1141"/>
                  </a:cubicBezTo>
                  <a:lnTo>
                    <a:pt x="372" y="1141"/>
                  </a:lnTo>
                  <a:cubicBezTo>
                    <a:pt x="395" y="1141"/>
                    <a:pt x="409" y="1130"/>
                    <a:pt x="420" y="1105"/>
                  </a:cubicBezTo>
                  <a:cubicBezTo>
                    <a:pt x="431" y="1093"/>
                    <a:pt x="431" y="1071"/>
                    <a:pt x="442" y="1060"/>
                  </a:cubicBezTo>
                  <a:cubicBezTo>
                    <a:pt x="442" y="1049"/>
                    <a:pt x="442" y="1035"/>
                    <a:pt x="454" y="1023"/>
                  </a:cubicBezTo>
                  <a:cubicBezTo>
                    <a:pt x="454" y="1012"/>
                    <a:pt x="454" y="1012"/>
                    <a:pt x="465" y="1001"/>
                  </a:cubicBezTo>
                  <a:lnTo>
                    <a:pt x="512" y="1001"/>
                  </a:lnTo>
                  <a:cubicBezTo>
                    <a:pt x="535" y="990"/>
                    <a:pt x="560" y="979"/>
                    <a:pt x="571" y="954"/>
                  </a:cubicBezTo>
                  <a:cubicBezTo>
                    <a:pt x="582" y="942"/>
                    <a:pt x="593" y="920"/>
                    <a:pt x="593" y="895"/>
                  </a:cubicBezTo>
                  <a:cubicBezTo>
                    <a:pt x="593" y="884"/>
                    <a:pt x="593" y="872"/>
                    <a:pt x="582" y="872"/>
                  </a:cubicBezTo>
                  <a:lnTo>
                    <a:pt x="582" y="839"/>
                  </a:lnTo>
                  <a:lnTo>
                    <a:pt x="571" y="825"/>
                  </a:lnTo>
                  <a:lnTo>
                    <a:pt x="571" y="814"/>
                  </a:lnTo>
                  <a:lnTo>
                    <a:pt x="582" y="814"/>
                  </a:lnTo>
                  <a:cubicBezTo>
                    <a:pt x="582" y="814"/>
                    <a:pt x="593" y="814"/>
                    <a:pt x="605" y="803"/>
                  </a:cubicBezTo>
                  <a:cubicBezTo>
                    <a:pt x="641" y="791"/>
                    <a:pt x="663" y="769"/>
                    <a:pt x="663" y="733"/>
                  </a:cubicBezTo>
                  <a:cubicBezTo>
                    <a:pt x="674" y="721"/>
                    <a:pt x="674" y="721"/>
                    <a:pt x="674" y="710"/>
                  </a:cubicBezTo>
                  <a:cubicBezTo>
                    <a:pt x="674" y="685"/>
                    <a:pt x="663" y="663"/>
                    <a:pt x="641" y="640"/>
                  </a:cubicBezTo>
                  <a:cubicBezTo>
                    <a:pt x="641" y="629"/>
                    <a:pt x="630" y="629"/>
                    <a:pt x="630" y="629"/>
                  </a:cubicBezTo>
                  <a:cubicBezTo>
                    <a:pt x="630" y="615"/>
                    <a:pt x="619" y="615"/>
                    <a:pt x="619" y="615"/>
                  </a:cubicBezTo>
                  <a:lnTo>
                    <a:pt x="630" y="604"/>
                  </a:lnTo>
                  <a:lnTo>
                    <a:pt x="630" y="582"/>
                  </a:lnTo>
                  <a:lnTo>
                    <a:pt x="641" y="582"/>
                  </a:lnTo>
                  <a:lnTo>
                    <a:pt x="641" y="570"/>
                  </a:lnTo>
                  <a:cubicBezTo>
                    <a:pt x="641" y="545"/>
                    <a:pt x="630" y="534"/>
                    <a:pt x="619" y="512"/>
                  </a:cubicBezTo>
                  <a:lnTo>
                    <a:pt x="619" y="489"/>
                  </a:lnTo>
                  <a:lnTo>
                    <a:pt x="619" y="453"/>
                  </a:lnTo>
                  <a:lnTo>
                    <a:pt x="619" y="431"/>
                  </a:lnTo>
                  <a:cubicBezTo>
                    <a:pt x="619" y="419"/>
                    <a:pt x="619" y="419"/>
                    <a:pt x="630" y="405"/>
                  </a:cubicBezTo>
                  <a:lnTo>
                    <a:pt x="630" y="394"/>
                  </a:lnTo>
                  <a:cubicBezTo>
                    <a:pt x="641" y="383"/>
                    <a:pt x="641" y="372"/>
                    <a:pt x="641" y="361"/>
                  </a:cubicBezTo>
                  <a:cubicBezTo>
                    <a:pt x="641" y="324"/>
                    <a:pt x="630" y="302"/>
                    <a:pt x="605" y="291"/>
                  </a:cubicBezTo>
                  <a:cubicBezTo>
                    <a:pt x="605" y="291"/>
                    <a:pt x="619" y="291"/>
                    <a:pt x="619" y="280"/>
                  </a:cubicBezTo>
                  <a:cubicBezTo>
                    <a:pt x="652" y="255"/>
                    <a:pt x="663" y="221"/>
                    <a:pt x="663" y="185"/>
                  </a:cubicBezTo>
                  <a:cubicBezTo>
                    <a:pt x="663" y="173"/>
                    <a:pt x="663" y="151"/>
                    <a:pt x="652" y="126"/>
                  </a:cubicBezTo>
                  <a:cubicBezTo>
                    <a:pt x="641" y="126"/>
                    <a:pt x="630" y="104"/>
                    <a:pt x="619" y="104"/>
                  </a:cubicBezTo>
                  <a:lnTo>
                    <a:pt x="605" y="104"/>
                  </a:lnTo>
                  <a:cubicBezTo>
                    <a:pt x="593" y="104"/>
                    <a:pt x="582" y="104"/>
                    <a:pt x="571" y="115"/>
                  </a:cubicBezTo>
                  <a:lnTo>
                    <a:pt x="560" y="115"/>
                  </a:lnTo>
                  <a:lnTo>
                    <a:pt x="549" y="126"/>
                  </a:lnTo>
                  <a:cubicBezTo>
                    <a:pt x="535" y="126"/>
                    <a:pt x="523" y="115"/>
                    <a:pt x="512" y="104"/>
                  </a:cubicBezTo>
                  <a:cubicBezTo>
                    <a:pt x="490" y="92"/>
                    <a:pt x="479" y="56"/>
                    <a:pt x="454" y="45"/>
                  </a:cubicBezTo>
                  <a:cubicBezTo>
                    <a:pt x="420" y="11"/>
                    <a:pt x="372" y="0"/>
                    <a:pt x="33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" name="Google Shape;175;p17">
              <a:extLst>
                <a:ext uri="{FF2B5EF4-FFF2-40B4-BE49-F238E27FC236}">
                  <a16:creationId xmlns:a16="http://schemas.microsoft.com/office/drawing/2014/main" xmlns="" id="{629D3F3D-F445-F7D7-99DE-31CFDAFBF905}"/>
                </a:ext>
              </a:extLst>
            </p:cNvPr>
            <p:cNvSpPr/>
            <p:nvPr/>
          </p:nvSpPr>
          <p:spPr>
            <a:xfrm>
              <a:off x="3864182" y="2961040"/>
              <a:ext cx="8069" cy="19597"/>
            </a:xfrm>
            <a:custGeom>
              <a:avLst/>
              <a:gdLst/>
              <a:ahLst/>
              <a:cxnLst/>
              <a:rect l="l" t="t" r="r" b="b"/>
              <a:pathLst>
                <a:path w="35" h="85" extrusionOk="0">
                  <a:moveTo>
                    <a:pt x="12" y="1"/>
                  </a:moveTo>
                  <a:cubicBezTo>
                    <a:pt x="1" y="15"/>
                    <a:pt x="1" y="37"/>
                    <a:pt x="1" y="48"/>
                  </a:cubicBezTo>
                  <a:lnTo>
                    <a:pt x="1" y="71"/>
                  </a:lnTo>
                  <a:lnTo>
                    <a:pt x="12" y="85"/>
                  </a:lnTo>
                  <a:cubicBezTo>
                    <a:pt x="12" y="85"/>
                    <a:pt x="23" y="71"/>
                    <a:pt x="34" y="71"/>
                  </a:cubicBezTo>
                  <a:lnTo>
                    <a:pt x="34" y="37"/>
                  </a:lnTo>
                  <a:lnTo>
                    <a:pt x="34" y="15"/>
                  </a:lnTo>
                  <a:lnTo>
                    <a:pt x="34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" name="Google Shape;176;p17">
              <a:extLst>
                <a:ext uri="{FF2B5EF4-FFF2-40B4-BE49-F238E27FC236}">
                  <a16:creationId xmlns:a16="http://schemas.microsoft.com/office/drawing/2014/main" xmlns="" id="{945E2952-2243-D493-7550-4560D9F93F26}"/>
                </a:ext>
              </a:extLst>
            </p:cNvPr>
            <p:cNvSpPr/>
            <p:nvPr/>
          </p:nvSpPr>
          <p:spPr>
            <a:xfrm>
              <a:off x="3858418" y="2955967"/>
              <a:ext cx="18905" cy="29742"/>
            </a:xfrm>
            <a:custGeom>
              <a:avLst/>
              <a:gdLst/>
              <a:ahLst/>
              <a:cxnLst/>
              <a:rect l="l" t="t" r="r" b="b"/>
              <a:pathLst>
                <a:path w="82" h="129" extrusionOk="0">
                  <a:moveTo>
                    <a:pt x="26" y="0"/>
                  </a:moveTo>
                  <a:lnTo>
                    <a:pt x="26" y="11"/>
                  </a:lnTo>
                  <a:lnTo>
                    <a:pt x="12" y="11"/>
                  </a:lnTo>
                  <a:cubicBezTo>
                    <a:pt x="0" y="37"/>
                    <a:pt x="0" y="59"/>
                    <a:pt x="0" y="70"/>
                  </a:cubicBezTo>
                  <a:lnTo>
                    <a:pt x="0" y="81"/>
                  </a:lnTo>
                  <a:lnTo>
                    <a:pt x="0" y="93"/>
                  </a:lnTo>
                  <a:cubicBezTo>
                    <a:pt x="0" y="107"/>
                    <a:pt x="12" y="118"/>
                    <a:pt x="26" y="118"/>
                  </a:cubicBezTo>
                  <a:cubicBezTo>
                    <a:pt x="26" y="129"/>
                    <a:pt x="37" y="129"/>
                    <a:pt x="37" y="129"/>
                  </a:cubicBezTo>
                  <a:cubicBezTo>
                    <a:pt x="59" y="129"/>
                    <a:pt x="70" y="118"/>
                    <a:pt x="70" y="107"/>
                  </a:cubicBezTo>
                  <a:cubicBezTo>
                    <a:pt x="81" y="93"/>
                    <a:pt x="81" y="70"/>
                    <a:pt x="81" y="70"/>
                  </a:cubicBezTo>
                  <a:lnTo>
                    <a:pt x="81" y="59"/>
                  </a:lnTo>
                  <a:lnTo>
                    <a:pt x="81" y="37"/>
                  </a:lnTo>
                  <a:lnTo>
                    <a:pt x="81" y="23"/>
                  </a:lnTo>
                  <a:lnTo>
                    <a:pt x="81" y="11"/>
                  </a:lnTo>
                  <a:lnTo>
                    <a:pt x="70" y="11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" name="Google Shape;177;p17">
              <a:extLst>
                <a:ext uri="{FF2B5EF4-FFF2-40B4-BE49-F238E27FC236}">
                  <a16:creationId xmlns:a16="http://schemas.microsoft.com/office/drawing/2014/main" xmlns="" id="{CC3D4BBF-4246-10D1-260A-2E5B4B0DC60C}"/>
                </a:ext>
              </a:extLst>
            </p:cNvPr>
            <p:cNvSpPr/>
            <p:nvPr/>
          </p:nvSpPr>
          <p:spPr>
            <a:xfrm>
              <a:off x="3804930" y="2893949"/>
              <a:ext cx="75620" cy="83461"/>
            </a:xfrm>
            <a:custGeom>
              <a:avLst/>
              <a:gdLst/>
              <a:ahLst/>
              <a:cxnLst/>
              <a:rect l="l" t="t" r="r" b="b"/>
              <a:pathLst>
                <a:path w="328" h="362" extrusionOk="0">
                  <a:moveTo>
                    <a:pt x="199" y="1"/>
                  </a:moveTo>
                  <a:cubicBezTo>
                    <a:pt x="188" y="1"/>
                    <a:pt x="188" y="12"/>
                    <a:pt x="174" y="26"/>
                  </a:cubicBezTo>
                  <a:cubicBezTo>
                    <a:pt x="162" y="26"/>
                    <a:pt x="151" y="37"/>
                    <a:pt x="151" y="48"/>
                  </a:cubicBezTo>
                  <a:cubicBezTo>
                    <a:pt x="151" y="71"/>
                    <a:pt x="174" y="82"/>
                    <a:pt x="174" y="107"/>
                  </a:cubicBezTo>
                  <a:cubicBezTo>
                    <a:pt x="174" y="116"/>
                    <a:pt x="166" y="133"/>
                    <a:pt x="152" y="133"/>
                  </a:cubicBezTo>
                  <a:cubicBezTo>
                    <a:pt x="148" y="133"/>
                    <a:pt x="144" y="132"/>
                    <a:pt x="140" y="129"/>
                  </a:cubicBezTo>
                  <a:lnTo>
                    <a:pt x="129" y="129"/>
                  </a:lnTo>
                  <a:cubicBezTo>
                    <a:pt x="129" y="129"/>
                    <a:pt x="129" y="141"/>
                    <a:pt x="118" y="141"/>
                  </a:cubicBezTo>
                  <a:cubicBezTo>
                    <a:pt x="114" y="144"/>
                    <a:pt x="110" y="145"/>
                    <a:pt x="106" y="145"/>
                  </a:cubicBezTo>
                  <a:cubicBezTo>
                    <a:pt x="97" y="145"/>
                    <a:pt x="89" y="137"/>
                    <a:pt x="81" y="129"/>
                  </a:cubicBezTo>
                  <a:lnTo>
                    <a:pt x="70" y="129"/>
                  </a:lnTo>
                  <a:cubicBezTo>
                    <a:pt x="48" y="129"/>
                    <a:pt x="34" y="141"/>
                    <a:pt x="23" y="152"/>
                  </a:cubicBezTo>
                  <a:cubicBezTo>
                    <a:pt x="11" y="166"/>
                    <a:pt x="0" y="188"/>
                    <a:pt x="0" y="199"/>
                  </a:cubicBezTo>
                  <a:lnTo>
                    <a:pt x="11" y="211"/>
                  </a:lnTo>
                  <a:lnTo>
                    <a:pt x="129" y="211"/>
                  </a:lnTo>
                  <a:cubicBezTo>
                    <a:pt x="140" y="211"/>
                    <a:pt x="151" y="222"/>
                    <a:pt x="151" y="222"/>
                  </a:cubicBezTo>
                  <a:cubicBezTo>
                    <a:pt x="151" y="236"/>
                    <a:pt x="162" y="247"/>
                    <a:pt x="162" y="258"/>
                  </a:cubicBezTo>
                  <a:lnTo>
                    <a:pt x="162" y="269"/>
                  </a:lnTo>
                  <a:cubicBezTo>
                    <a:pt x="162" y="280"/>
                    <a:pt x="151" y="292"/>
                    <a:pt x="151" y="306"/>
                  </a:cubicBezTo>
                  <a:cubicBezTo>
                    <a:pt x="140" y="317"/>
                    <a:pt x="140" y="339"/>
                    <a:pt x="151" y="350"/>
                  </a:cubicBezTo>
                  <a:cubicBezTo>
                    <a:pt x="162" y="362"/>
                    <a:pt x="174" y="362"/>
                    <a:pt x="188" y="362"/>
                  </a:cubicBezTo>
                  <a:cubicBezTo>
                    <a:pt x="199" y="362"/>
                    <a:pt x="199" y="350"/>
                    <a:pt x="199" y="350"/>
                  </a:cubicBezTo>
                  <a:lnTo>
                    <a:pt x="210" y="350"/>
                  </a:lnTo>
                  <a:cubicBezTo>
                    <a:pt x="221" y="328"/>
                    <a:pt x="232" y="317"/>
                    <a:pt x="221" y="292"/>
                  </a:cubicBezTo>
                  <a:cubicBezTo>
                    <a:pt x="221" y="280"/>
                    <a:pt x="210" y="258"/>
                    <a:pt x="210" y="247"/>
                  </a:cubicBezTo>
                  <a:lnTo>
                    <a:pt x="210" y="222"/>
                  </a:lnTo>
                  <a:lnTo>
                    <a:pt x="210" y="188"/>
                  </a:lnTo>
                  <a:cubicBezTo>
                    <a:pt x="221" y="183"/>
                    <a:pt x="236" y="183"/>
                    <a:pt x="249" y="183"/>
                  </a:cubicBezTo>
                  <a:cubicBezTo>
                    <a:pt x="262" y="183"/>
                    <a:pt x="274" y="183"/>
                    <a:pt x="280" y="177"/>
                  </a:cubicBezTo>
                  <a:cubicBezTo>
                    <a:pt x="291" y="177"/>
                    <a:pt x="302" y="166"/>
                    <a:pt x="302" y="166"/>
                  </a:cubicBezTo>
                  <a:cubicBezTo>
                    <a:pt x="313" y="152"/>
                    <a:pt x="313" y="141"/>
                    <a:pt x="313" y="129"/>
                  </a:cubicBezTo>
                  <a:cubicBezTo>
                    <a:pt x="327" y="129"/>
                    <a:pt x="327" y="118"/>
                    <a:pt x="313" y="107"/>
                  </a:cubicBezTo>
                  <a:cubicBezTo>
                    <a:pt x="313" y="96"/>
                    <a:pt x="302" y="96"/>
                    <a:pt x="291" y="96"/>
                  </a:cubicBezTo>
                  <a:cubicBezTo>
                    <a:pt x="291" y="96"/>
                    <a:pt x="280" y="82"/>
                    <a:pt x="269" y="82"/>
                  </a:cubicBezTo>
                  <a:cubicBezTo>
                    <a:pt x="269" y="82"/>
                    <a:pt x="258" y="82"/>
                    <a:pt x="258" y="71"/>
                  </a:cubicBezTo>
                  <a:lnTo>
                    <a:pt x="258" y="60"/>
                  </a:lnTo>
                  <a:cubicBezTo>
                    <a:pt x="258" y="48"/>
                    <a:pt x="244" y="26"/>
                    <a:pt x="244" y="26"/>
                  </a:cubicBezTo>
                  <a:cubicBezTo>
                    <a:pt x="232" y="12"/>
                    <a:pt x="221" y="1"/>
                    <a:pt x="19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" name="Google Shape;178;p17">
              <a:extLst>
                <a:ext uri="{FF2B5EF4-FFF2-40B4-BE49-F238E27FC236}">
                  <a16:creationId xmlns:a16="http://schemas.microsoft.com/office/drawing/2014/main" xmlns="" id="{DEB76B7F-EB60-97DA-94FB-E51340EB7698}"/>
                </a:ext>
              </a:extLst>
            </p:cNvPr>
            <p:cNvSpPr/>
            <p:nvPr/>
          </p:nvSpPr>
          <p:spPr>
            <a:xfrm>
              <a:off x="3799628" y="2888876"/>
              <a:ext cx="85995" cy="94297"/>
            </a:xfrm>
            <a:custGeom>
              <a:avLst/>
              <a:gdLst/>
              <a:ahLst/>
              <a:cxnLst/>
              <a:rect l="l" t="t" r="r" b="b"/>
              <a:pathLst>
                <a:path w="373" h="409" extrusionOk="0">
                  <a:moveTo>
                    <a:pt x="233" y="48"/>
                  </a:moveTo>
                  <a:cubicBezTo>
                    <a:pt x="233" y="48"/>
                    <a:pt x="244" y="48"/>
                    <a:pt x="244" y="59"/>
                  </a:cubicBezTo>
                  <a:cubicBezTo>
                    <a:pt x="244" y="59"/>
                    <a:pt x="255" y="70"/>
                    <a:pt x="255" y="82"/>
                  </a:cubicBezTo>
                  <a:lnTo>
                    <a:pt x="255" y="104"/>
                  </a:lnTo>
                  <a:cubicBezTo>
                    <a:pt x="267" y="129"/>
                    <a:pt x="281" y="129"/>
                    <a:pt x="292" y="129"/>
                  </a:cubicBezTo>
                  <a:cubicBezTo>
                    <a:pt x="292" y="129"/>
                    <a:pt x="303" y="129"/>
                    <a:pt x="314" y="140"/>
                  </a:cubicBezTo>
                  <a:lnTo>
                    <a:pt x="325" y="140"/>
                  </a:lnTo>
                  <a:lnTo>
                    <a:pt x="314" y="151"/>
                  </a:lnTo>
                  <a:lnTo>
                    <a:pt x="314" y="163"/>
                  </a:lnTo>
                  <a:lnTo>
                    <a:pt x="303" y="174"/>
                  </a:lnTo>
                  <a:cubicBezTo>
                    <a:pt x="292" y="188"/>
                    <a:pt x="292" y="188"/>
                    <a:pt x="281" y="188"/>
                  </a:cubicBezTo>
                  <a:lnTo>
                    <a:pt x="244" y="188"/>
                  </a:lnTo>
                  <a:cubicBezTo>
                    <a:pt x="244" y="188"/>
                    <a:pt x="233" y="188"/>
                    <a:pt x="222" y="199"/>
                  </a:cubicBezTo>
                  <a:cubicBezTo>
                    <a:pt x="211" y="210"/>
                    <a:pt x="211" y="221"/>
                    <a:pt x="211" y="233"/>
                  </a:cubicBezTo>
                  <a:lnTo>
                    <a:pt x="211" y="244"/>
                  </a:lnTo>
                  <a:lnTo>
                    <a:pt x="211" y="280"/>
                  </a:lnTo>
                  <a:cubicBezTo>
                    <a:pt x="222" y="291"/>
                    <a:pt x="222" y="302"/>
                    <a:pt x="222" y="328"/>
                  </a:cubicBezTo>
                  <a:lnTo>
                    <a:pt x="222" y="350"/>
                  </a:lnTo>
                  <a:lnTo>
                    <a:pt x="211" y="361"/>
                  </a:lnTo>
                  <a:lnTo>
                    <a:pt x="197" y="350"/>
                  </a:lnTo>
                  <a:lnTo>
                    <a:pt x="197" y="328"/>
                  </a:lnTo>
                  <a:cubicBezTo>
                    <a:pt x="197" y="328"/>
                    <a:pt x="211" y="314"/>
                    <a:pt x="211" y="302"/>
                  </a:cubicBezTo>
                  <a:lnTo>
                    <a:pt x="211" y="291"/>
                  </a:lnTo>
                  <a:lnTo>
                    <a:pt x="211" y="280"/>
                  </a:lnTo>
                  <a:cubicBezTo>
                    <a:pt x="211" y="269"/>
                    <a:pt x="197" y="258"/>
                    <a:pt x="197" y="244"/>
                  </a:cubicBezTo>
                  <a:cubicBezTo>
                    <a:pt x="185" y="221"/>
                    <a:pt x="174" y="210"/>
                    <a:pt x="163" y="210"/>
                  </a:cubicBezTo>
                  <a:lnTo>
                    <a:pt x="46" y="210"/>
                  </a:lnTo>
                  <a:cubicBezTo>
                    <a:pt x="46" y="210"/>
                    <a:pt x="57" y="199"/>
                    <a:pt x="57" y="188"/>
                  </a:cubicBezTo>
                  <a:cubicBezTo>
                    <a:pt x="71" y="188"/>
                    <a:pt x="82" y="174"/>
                    <a:pt x="93" y="174"/>
                  </a:cubicBezTo>
                  <a:lnTo>
                    <a:pt x="104" y="174"/>
                  </a:lnTo>
                  <a:cubicBezTo>
                    <a:pt x="104" y="174"/>
                    <a:pt x="104" y="188"/>
                    <a:pt x="116" y="188"/>
                  </a:cubicBezTo>
                  <a:lnTo>
                    <a:pt x="152" y="188"/>
                  </a:lnTo>
                  <a:cubicBezTo>
                    <a:pt x="163" y="188"/>
                    <a:pt x="163" y="174"/>
                    <a:pt x="163" y="174"/>
                  </a:cubicBezTo>
                  <a:lnTo>
                    <a:pt x="174" y="174"/>
                  </a:lnTo>
                  <a:cubicBezTo>
                    <a:pt x="185" y="174"/>
                    <a:pt x="197" y="174"/>
                    <a:pt x="211" y="163"/>
                  </a:cubicBezTo>
                  <a:cubicBezTo>
                    <a:pt x="211" y="163"/>
                    <a:pt x="222" y="151"/>
                    <a:pt x="222" y="129"/>
                  </a:cubicBezTo>
                  <a:cubicBezTo>
                    <a:pt x="222" y="104"/>
                    <a:pt x="211" y="93"/>
                    <a:pt x="211" y="93"/>
                  </a:cubicBezTo>
                  <a:cubicBezTo>
                    <a:pt x="197" y="82"/>
                    <a:pt x="197" y="70"/>
                    <a:pt x="197" y="70"/>
                  </a:cubicBezTo>
                  <a:lnTo>
                    <a:pt x="211" y="59"/>
                  </a:lnTo>
                  <a:cubicBezTo>
                    <a:pt x="222" y="59"/>
                    <a:pt x="222" y="48"/>
                    <a:pt x="233" y="48"/>
                  </a:cubicBezTo>
                  <a:close/>
                  <a:moveTo>
                    <a:pt x="222" y="0"/>
                  </a:moveTo>
                  <a:cubicBezTo>
                    <a:pt x="197" y="0"/>
                    <a:pt x="185" y="12"/>
                    <a:pt x="174" y="23"/>
                  </a:cubicBezTo>
                  <a:cubicBezTo>
                    <a:pt x="174" y="34"/>
                    <a:pt x="163" y="48"/>
                    <a:pt x="152" y="59"/>
                  </a:cubicBezTo>
                  <a:lnTo>
                    <a:pt x="152" y="70"/>
                  </a:lnTo>
                  <a:cubicBezTo>
                    <a:pt x="152" y="93"/>
                    <a:pt x="163" y="104"/>
                    <a:pt x="163" y="118"/>
                  </a:cubicBezTo>
                  <a:cubicBezTo>
                    <a:pt x="174" y="118"/>
                    <a:pt x="174" y="129"/>
                    <a:pt x="174" y="129"/>
                  </a:cubicBezTo>
                  <a:lnTo>
                    <a:pt x="152" y="129"/>
                  </a:lnTo>
                  <a:cubicBezTo>
                    <a:pt x="141" y="140"/>
                    <a:pt x="141" y="140"/>
                    <a:pt x="127" y="140"/>
                  </a:cubicBezTo>
                  <a:lnTo>
                    <a:pt x="116" y="140"/>
                  </a:lnTo>
                  <a:cubicBezTo>
                    <a:pt x="104" y="129"/>
                    <a:pt x="104" y="129"/>
                    <a:pt x="93" y="129"/>
                  </a:cubicBezTo>
                  <a:cubicBezTo>
                    <a:pt x="71" y="129"/>
                    <a:pt x="46" y="140"/>
                    <a:pt x="23" y="163"/>
                  </a:cubicBezTo>
                  <a:cubicBezTo>
                    <a:pt x="12" y="174"/>
                    <a:pt x="1" y="188"/>
                    <a:pt x="1" y="210"/>
                  </a:cubicBezTo>
                  <a:lnTo>
                    <a:pt x="1" y="221"/>
                  </a:lnTo>
                  <a:lnTo>
                    <a:pt x="1" y="233"/>
                  </a:lnTo>
                  <a:lnTo>
                    <a:pt x="12" y="244"/>
                  </a:lnTo>
                  <a:lnTo>
                    <a:pt x="34" y="258"/>
                  </a:lnTo>
                  <a:lnTo>
                    <a:pt x="152" y="258"/>
                  </a:lnTo>
                  <a:cubicBezTo>
                    <a:pt x="152" y="269"/>
                    <a:pt x="163" y="269"/>
                    <a:pt x="163" y="280"/>
                  </a:cubicBezTo>
                  <a:lnTo>
                    <a:pt x="163" y="291"/>
                  </a:lnTo>
                  <a:cubicBezTo>
                    <a:pt x="163" y="302"/>
                    <a:pt x="152" y="302"/>
                    <a:pt x="152" y="314"/>
                  </a:cubicBezTo>
                  <a:lnTo>
                    <a:pt x="152" y="350"/>
                  </a:lnTo>
                  <a:cubicBezTo>
                    <a:pt x="152" y="361"/>
                    <a:pt x="152" y="372"/>
                    <a:pt x="163" y="384"/>
                  </a:cubicBezTo>
                  <a:cubicBezTo>
                    <a:pt x="174" y="398"/>
                    <a:pt x="197" y="398"/>
                    <a:pt x="211" y="409"/>
                  </a:cubicBezTo>
                  <a:cubicBezTo>
                    <a:pt x="216" y="403"/>
                    <a:pt x="219" y="403"/>
                    <a:pt x="222" y="403"/>
                  </a:cubicBezTo>
                  <a:cubicBezTo>
                    <a:pt x="225" y="403"/>
                    <a:pt x="227" y="403"/>
                    <a:pt x="233" y="398"/>
                  </a:cubicBezTo>
                  <a:cubicBezTo>
                    <a:pt x="244" y="398"/>
                    <a:pt x="255" y="384"/>
                    <a:pt x="255" y="384"/>
                  </a:cubicBezTo>
                  <a:cubicBezTo>
                    <a:pt x="267" y="361"/>
                    <a:pt x="267" y="350"/>
                    <a:pt x="267" y="328"/>
                  </a:cubicBezTo>
                  <a:lnTo>
                    <a:pt x="267" y="314"/>
                  </a:lnTo>
                  <a:cubicBezTo>
                    <a:pt x="267" y="291"/>
                    <a:pt x="255" y="280"/>
                    <a:pt x="255" y="258"/>
                  </a:cubicBezTo>
                  <a:lnTo>
                    <a:pt x="255" y="244"/>
                  </a:lnTo>
                  <a:lnTo>
                    <a:pt x="255" y="233"/>
                  </a:lnTo>
                  <a:lnTo>
                    <a:pt x="281" y="233"/>
                  </a:lnTo>
                  <a:cubicBezTo>
                    <a:pt x="292" y="233"/>
                    <a:pt x="303" y="233"/>
                    <a:pt x="314" y="221"/>
                  </a:cubicBezTo>
                  <a:cubicBezTo>
                    <a:pt x="336" y="210"/>
                    <a:pt x="336" y="199"/>
                    <a:pt x="350" y="199"/>
                  </a:cubicBezTo>
                  <a:cubicBezTo>
                    <a:pt x="350" y="188"/>
                    <a:pt x="362" y="174"/>
                    <a:pt x="362" y="163"/>
                  </a:cubicBezTo>
                  <a:cubicBezTo>
                    <a:pt x="362" y="151"/>
                    <a:pt x="373" y="151"/>
                    <a:pt x="373" y="140"/>
                  </a:cubicBezTo>
                  <a:cubicBezTo>
                    <a:pt x="373" y="140"/>
                    <a:pt x="362" y="129"/>
                    <a:pt x="362" y="118"/>
                  </a:cubicBezTo>
                  <a:cubicBezTo>
                    <a:pt x="350" y="104"/>
                    <a:pt x="336" y="93"/>
                    <a:pt x="325" y="93"/>
                  </a:cubicBezTo>
                  <a:cubicBezTo>
                    <a:pt x="314" y="93"/>
                    <a:pt x="314" y="93"/>
                    <a:pt x="303" y="82"/>
                  </a:cubicBezTo>
                  <a:cubicBezTo>
                    <a:pt x="303" y="59"/>
                    <a:pt x="292" y="48"/>
                    <a:pt x="281" y="23"/>
                  </a:cubicBezTo>
                  <a:cubicBezTo>
                    <a:pt x="267" y="12"/>
                    <a:pt x="255" y="0"/>
                    <a:pt x="23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" name="Google Shape;179;p17">
              <a:extLst>
                <a:ext uri="{FF2B5EF4-FFF2-40B4-BE49-F238E27FC236}">
                  <a16:creationId xmlns:a16="http://schemas.microsoft.com/office/drawing/2014/main" xmlns="" id="{3E7756DD-B96C-F352-ED83-1CFDB4EAE7FF}"/>
                </a:ext>
              </a:extLst>
            </p:cNvPr>
            <p:cNvSpPr/>
            <p:nvPr/>
          </p:nvSpPr>
          <p:spPr>
            <a:xfrm>
              <a:off x="3869254" y="2805877"/>
              <a:ext cx="220867" cy="104441"/>
            </a:xfrm>
            <a:custGeom>
              <a:avLst/>
              <a:gdLst/>
              <a:ahLst/>
              <a:cxnLst/>
              <a:rect l="l" t="t" r="r" b="b"/>
              <a:pathLst>
                <a:path w="958" h="453" extrusionOk="0">
                  <a:moveTo>
                    <a:pt x="392" y="1"/>
                  </a:moveTo>
                  <a:cubicBezTo>
                    <a:pt x="357" y="1"/>
                    <a:pt x="323" y="7"/>
                    <a:pt x="292" y="22"/>
                  </a:cubicBezTo>
                  <a:cubicBezTo>
                    <a:pt x="222" y="58"/>
                    <a:pt x="174" y="140"/>
                    <a:pt x="104" y="151"/>
                  </a:cubicBezTo>
                  <a:cubicBezTo>
                    <a:pt x="82" y="162"/>
                    <a:pt x="60" y="162"/>
                    <a:pt x="34" y="173"/>
                  </a:cubicBezTo>
                  <a:cubicBezTo>
                    <a:pt x="12" y="184"/>
                    <a:pt x="1" y="209"/>
                    <a:pt x="12" y="232"/>
                  </a:cubicBezTo>
                  <a:cubicBezTo>
                    <a:pt x="23" y="232"/>
                    <a:pt x="34" y="243"/>
                    <a:pt x="34" y="243"/>
                  </a:cubicBezTo>
                  <a:cubicBezTo>
                    <a:pt x="60" y="268"/>
                    <a:pt x="48" y="291"/>
                    <a:pt x="48" y="313"/>
                  </a:cubicBezTo>
                  <a:cubicBezTo>
                    <a:pt x="60" y="338"/>
                    <a:pt x="82" y="338"/>
                    <a:pt x="104" y="338"/>
                  </a:cubicBezTo>
                  <a:cubicBezTo>
                    <a:pt x="141" y="338"/>
                    <a:pt x="174" y="313"/>
                    <a:pt x="222" y="291"/>
                  </a:cubicBezTo>
                  <a:cubicBezTo>
                    <a:pt x="244" y="277"/>
                    <a:pt x="270" y="266"/>
                    <a:pt x="295" y="266"/>
                  </a:cubicBezTo>
                  <a:cubicBezTo>
                    <a:pt x="311" y="266"/>
                    <a:pt x="325" y="270"/>
                    <a:pt x="339" y="279"/>
                  </a:cubicBezTo>
                  <a:cubicBezTo>
                    <a:pt x="362" y="291"/>
                    <a:pt x="373" y="313"/>
                    <a:pt x="384" y="338"/>
                  </a:cubicBezTo>
                  <a:lnTo>
                    <a:pt x="384" y="419"/>
                  </a:lnTo>
                  <a:cubicBezTo>
                    <a:pt x="398" y="430"/>
                    <a:pt x="398" y="453"/>
                    <a:pt x="420" y="453"/>
                  </a:cubicBezTo>
                  <a:cubicBezTo>
                    <a:pt x="431" y="453"/>
                    <a:pt x="443" y="442"/>
                    <a:pt x="443" y="430"/>
                  </a:cubicBezTo>
                  <a:cubicBezTo>
                    <a:pt x="468" y="419"/>
                    <a:pt x="490" y="419"/>
                    <a:pt x="513" y="419"/>
                  </a:cubicBezTo>
                  <a:cubicBezTo>
                    <a:pt x="525" y="425"/>
                    <a:pt x="537" y="428"/>
                    <a:pt x="547" y="428"/>
                  </a:cubicBezTo>
                  <a:cubicBezTo>
                    <a:pt x="557" y="428"/>
                    <a:pt x="566" y="425"/>
                    <a:pt x="571" y="419"/>
                  </a:cubicBezTo>
                  <a:lnTo>
                    <a:pt x="594" y="419"/>
                  </a:lnTo>
                  <a:cubicBezTo>
                    <a:pt x="608" y="419"/>
                    <a:pt x="608" y="394"/>
                    <a:pt x="608" y="383"/>
                  </a:cubicBezTo>
                  <a:lnTo>
                    <a:pt x="608" y="349"/>
                  </a:lnTo>
                  <a:cubicBezTo>
                    <a:pt x="608" y="324"/>
                    <a:pt x="652" y="313"/>
                    <a:pt x="678" y="313"/>
                  </a:cubicBezTo>
                  <a:cubicBezTo>
                    <a:pt x="711" y="313"/>
                    <a:pt x="747" y="313"/>
                    <a:pt x="759" y="279"/>
                  </a:cubicBezTo>
                  <a:cubicBezTo>
                    <a:pt x="759" y="279"/>
                    <a:pt x="759" y="268"/>
                    <a:pt x="770" y="254"/>
                  </a:cubicBezTo>
                  <a:cubicBezTo>
                    <a:pt x="770" y="249"/>
                    <a:pt x="775" y="246"/>
                    <a:pt x="784" y="246"/>
                  </a:cubicBezTo>
                  <a:cubicBezTo>
                    <a:pt x="793" y="246"/>
                    <a:pt x="805" y="249"/>
                    <a:pt x="817" y="254"/>
                  </a:cubicBezTo>
                  <a:cubicBezTo>
                    <a:pt x="840" y="254"/>
                    <a:pt x="862" y="268"/>
                    <a:pt x="887" y="268"/>
                  </a:cubicBezTo>
                  <a:cubicBezTo>
                    <a:pt x="910" y="254"/>
                    <a:pt x="921" y="254"/>
                    <a:pt x="932" y="254"/>
                  </a:cubicBezTo>
                  <a:cubicBezTo>
                    <a:pt x="943" y="243"/>
                    <a:pt x="957" y="232"/>
                    <a:pt x="957" y="221"/>
                  </a:cubicBezTo>
                  <a:cubicBezTo>
                    <a:pt x="957" y="198"/>
                    <a:pt x="932" y="184"/>
                    <a:pt x="921" y="173"/>
                  </a:cubicBezTo>
                  <a:cubicBezTo>
                    <a:pt x="898" y="162"/>
                    <a:pt x="873" y="140"/>
                    <a:pt x="887" y="128"/>
                  </a:cubicBezTo>
                  <a:cubicBezTo>
                    <a:pt x="887" y="114"/>
                    <a:pt x="898" y="103"/>
                    <a:pt x="910" y="92"/>
                  </a:cubicBezTo>
                  <a:cubicBezTo>
                    <a:pt x="921" y="92"/>
                    <a:pt x="921" y="81"/>
                    <a:pt x="921" y="70"/>
                  </a:cubicBezTo>
                  <a:cubicBezTo>
                    <a:pt x="915" y="63"/>
                    <a:pt x="907" y="60"/>
                    <a:pt x="899" y="60"/>
                  </a:cubicBezTo>
                  <a:cubicBezTo>
                    <a:pt x="886" y="60"/>
                    <a:pt x="872" y="66"/>
                    <a:pt x="859" y="66"/>
                  </a:cubicBezTo>
                  <a:cubicBezTo>
                    <a:pt x="852" y="66"/>
                    <a:pt x="846" y="64"/>
                    <a:pt x="840" y="58"/>
                  </a:cubicBezTo>
                  <a:cubicBezTo>
                    <a:pt x="817" y="45"/>
                    <a:pt x="817" y="33"/>
                    <a:pt x="803" y="22"/>
                  </a:cubicBezTo>
                  <a:cubicBezTo>
                    <a:pt x="800" y="19"/>
                    <a:pt x="796" y="18"/>
                    <a:pt x="791" y="18"/>
                  </a:cubicBezTo>
                  <a:cubicBezTo>
                    <a:pt x="780" y="18"/>
                    <a:pt x="767" y="25"/>
                    <a:pt x="759" y="33"/>
                  </a:cubicBezTo>
                  <a:cubicBezTo>
                    <a:pt x="747" y="45"/>
                    <a:pt x="747" y="58"/>
                    <a:pt x="747" y="70"/>
                  </a:cubicBezTo>
                  <a:lnTo>
                    <a:pt x="747" y="92"/>
                  </a:lnTo>
                  <a:cubicBezTo>
                    <a:pt x="747" y="92"/>
                    <a:pt x="747" y="103"/>
                    <a:pt x="733" y="103"/>
                  </a:cubicBezTo>
                  <a:cubicBezTo>
                    <a:pt x="722" y="109"/>
                    <a:pt x="711" y="112"/>
                    <a:pt x="700" y="112"/>
                  </a:cubicBezTo>
                  <a:cubicBezTo>
                    <a:pt x="688" y="112"/>
                    <a:pt x="676" y="109"/>
                    <a:pt x="664" y="103"/>
                  </a:cubicBezTo>
                  <a:cubicBezTo>
                    <a:pt x="641" y="81"/>
                    <a:pt x="619" y="70"/>
                    <a:pt x="608" y="58"/>
                  </a:cubicBezTo>
                  <a:cubicBezTo>
                    <a:pt x="582" y="33"/>
                    <a:pt x="549" y="33"/>
                    <a:pt x="524" y="22"/>
                  </a:cubicBezTo>
                  <a:cubicBezTo>
                    <a:pt x="479" y="10"/>
                    <a:pt x="435" y="1"/>
                    <a:pt x="39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" name="Google Shape;180;p17">
              <a:extLst>
                <a:ext uri="{FF2B5EF4-FFF2-40B4-BE49-F238E27FC236}">
                  <a16:creationId xmlns:a16="http://schemas.microsoft.com/office/drawing/2014/main" xmlns="" id="{8A1E327F-F8D6-A084-842C-7FFCCBC148C4}"/>
                </a:ext>
              </a:extLst>
            </p:cNvPr>
            <p:cNvSpPr/>
            <p:nvPr/>
          </p:nvSpPr>
          <p:spPr>
            <a:xfrm>
              <a:off x="3866718" y="2799883"/>
              <a:ext cx="228475" cy="116200"/>
            </a:xfrm>
            <a:custGeom>
              <a:avLst/>
              <a:gdLst/>
              <a:ahLst/>
              <a:cxnLst/>
              <a:rect l="l" t="t" r="r" b="b"/>
              <a:pathLst>
                <a:path w="991" h="504" extrusionOk="0">
                  <a:moveTo>
                    <a:pt x="409" y="48"/>
                  </a:moveTo>
                  <a:cubicBezTo>
                    <a:pt x="442" y="48"/>
                    <a:pt x="490" y="59"/>
                    <a:pt x="535" y="71"/>
                  </a:cubicBezTo>
                  <a:cubicBezTo>
                    <a:pt x="560" y="84"/>
                    <a:pt x="582" y="84"/>
                    <a:pt x="605" y="96"/>
                  </a:cubicBezTo>
                  <a:cubicBezTo>
                    <a:pt x="619" y="107"/>
                    <a:pt x="641" y="129"/>
                    <a:pt x="663" y="140"/>
                  </a:cubicBezTo>
                  <a:cubicBezTo>
                    <a:pt x="675" y="154"/>
                    <a:pt x="700" y="166"/>
                    <a:pt x="722" y="166"/>
                  </a:cubicBezTo>
                  <a:cubicBezTo>
                    <a:pt x="733" y="166"/>
                    <a:pt x="744" y="154"/>
                    <a:pt x="758" y="154"/>
                  </a:cubicBezTo>
                  <a:cubicBezTo>
                    <a:pt x="770" y="140"/>
                    <a:pt x="781" y="140"/>
                    <a:pt x="781" y="129"/>
                  </a:cubicBezTo>
                  <a:lnTo>
                    <a:pt x="781" y="107"/>
                  </a:lnTo>
                  <a:lnTo>
                    <a:pt x="781" y="96"/>
                  </a:lnTo>
                  <a:cubicBezTo>
                    <a:pt x="781" y="84"/>
                    <a:pt x="781" y="71"/>
                    <a:pt x="792" y="71"/>
                  </a:cubicBezTo>
                  <a:lnTo>
                    <a:pt x="803" y="71"/>
                  </a:lnTo>
                  <a:lnTo>
                    <a:pt x="814" y="84"/>
                  </a:lnTo>
                  <a:cubicBezTo>
                    <a:pt x="814" y="84"/>
                    <a:pt x="814" y="96"/>
                    <a:pt x="828" y="107"/>
                  </a:cubicBezTo>
                  <a:cubicBezTo>
                    <a:pt x="840" y="118"/>
                    <a:pt x="851" y="118"/>
                    <a:pt x="862" y="118"/>
                  </a:cubicBezTo>
                  <a:cubicBezTo>
                    <a:pt x="884" y="118"/>
                    <a:pt x="898" y="107"/>
                    <a:pt x="909" y="107"/>
                  </a:cubicBezTo>
                  <a:lnTo>
                    <a:pt x="909" y="107"/>
                  </a:lnTo>
                  <a:cubicBezTo>
                    <a:pt x="898" y="107"/>
                    <a:pt x="898" y="118"/>
                    <a:pt x="884" y="118"/>
                  </a:cubicBezTo>
                  <a:cubicBezTo>
                    <a:pt x="884" y="129"/>
                    <a:pt x="873" y="129"/>
                    <a:pt x="873" y="140"/>
                  </a:cubicBezTo>
                  <a:lnTo>
                    <a:pt x="873" y="154"/>
                  </a:lnTo>
                  <a:cubicBezTo>
                    <a:pt x="873" y="177"/>
                    <a:pt x="884" y="188"/>
                    <a:pt x="884" y="199"/>
                  </a:cubicBezTo>
                  <a:cubicBezTo>
                    <a:pt x="898" y="210"/>
                    <a:pt x="909" y="210"/>
                    <a:pt x="909" y="224"/>
                  </a:cubicBezTo>
                  <a:cubicBezTo>
                    <a:pt x="921" y="224"/>
                    <a:pt x="932" y="235"/>
                    <a:pt x="932" y="235"/>
                  </a:cubicBezTo>
                  <a:lnTo>
                    <a:pt x="943" y="247"/>
                  </a:lnTo>
                  <a:lnTo>
                    <a:pt x="932" y="258"/>
                  </a:lnTo>
                  <a:cubicBezTo>
                    <a:pt x="921" y="258"/>
                    <a:pt x="909" y="258"/>
                    <a:pt x="898" y="269"/>
                  </a:cubicBezTo>
                  <a:cubicBezTo>
                    <a:pt x="873" y="269"/>
                    <a:pt x="851" y="258"/>
                    <a:pt x="828" y="258"/>
                  </a:cubicBezTo>
                  <a:cubicBezTo>
                    <a:pt x="814" y="258"/>
                    <a:pt x="814" y="247"/>
                    <a:pt x="792" y="247"/>
                  </a:cubicBezTo>
                  <a:lnTo>
                    <a:pt x="781" y="258"/>
                  </a:lnTo>
                  <a:cubicBezTo>
                    <a:pt x="770" y="258"/>
                    <a:pt x="758" y="258"/>
                    <a:pt x="758" y="269"/>
                  </a:cubicBezTo>
                  <a:cubicBezTo>
                    <a:pt x="744" y="280"/>
                    <a:pt x="744" y="280"/>
                    <a:pt x="744" y="294"/>
                  </a:cubicBezTo>
                  <a:cubicBezTo>
                    <a:pt x="744" y="305"/>
                    <a:pt x="733" y="305"/>
                    <a:pt x="722" y="317"/>
                  </a:cubicBezTo>
                  <a:lnTo>
                    <a:pt x="689" y="317"/>
                  </a:lnTo>
                  <a:cubicBezTo>
                    <a:pt x="675" y="317"/>
                    <a:pt x="652" y="317"/>
                    <a:pt x="630" y="328"/>
                  </a:cubicBezTo>
                  <a:cubicBezTo>
                    <a:pt x="619" y="339"/>
                    <a:pt x="593" y="350"/>
                    <a:pt x="593" y="375"/>
                  </a:cubicBezTo>
                  <a:lnTo>
                    <a:pt x="593" y="386"/>
                  </a:lnTo>
                  <a:lnTo>
                    <a:pt x="593" y="409"/>
                  </a:lnTo>
                  <a:lnTo>
                    <a:pt x="593" y="420"/>
                  </a:lnTo>
                  <a:lnTo>
                    <a:pt x="582" y="420"/>
                  </a:lnTo>
                  <a:cubicBezTo>
                    <a:pt x="571" y="434"/>
                    <a:pt x="571" y="434"/>
                    <a:pt x="560" y="434"/>
                  </a:cubicBezTo>
                  <a:cubicBezTo>
                    <a:pt x="549" y="434"/>
                    <a:pt x="535" y="434"/>
                    <a:pt x="535" y="420"/>
                  </a:cubicBezTo>
                  <a:lnTo>
                    <a:pt x="490" y="420"/>
                  </a:lnTo>
                  <a:cubicBezTo>
                    <a:pt x="479" y="420"/>
                    <a:pt x="465" y="420"/>
                    <a:pt x="442" y="434"/>
                  </a:cubicBezTo>
                  <a:cubicBezTo>
                    <a:pt x="442" y="445"/>
                    <a:pt x="431" y="456"/>
                    <a:pt x="431" y="456"/>
                  </a:cubicBezTo>
                  <a:cubicBezTo>
                    <a:pt x="431" y="456"/>
                    <a:pt x="431" y="445"/>
                    <a:pt x="420" y="445"/>
                  </a:cubicBezTo>
                  <a:lnTo>
                    <a:pt x="420" y="364"/>
                  </a:lnTo>
                  <a:cubicBezTo>
                    <a:pt x="409" y="328"/>
                    <a:pt x="395" y="294"/>
                    <a:pt x="361" y="280"/>
                  </a:cubicBezTo>
                  <a:cubicBezTo>
                    <a:pt x="339" y="269"/>
                    <a:pt x="325" y="269"/>
                    <a:pt x="303" y="269"/>
                  </a:cubicBezTo>
                  <a:cubicBezTo>
                    <a:pt x="280" y="269"/>
                    <a:pt x="244" y="280"/>
                    <a:pt x="222" y="294"/>
                  </a:cubicBezTo>
                  <a:cubicBezTo>
                    <a:pt x="174" y="317"/>
                    <a:pt x="140" y="339"/>
                    <a:pt x="115" y="339"/>
                  </a:cubicBezTo>
                  <a:lnTo>
                    <a:pt x="93" y="339"/>
                  </a:lnTo>
                  <a:cubicBezTo>
                    <a:pt x="93" y="339"/>
                    <a:pt x="82" y="339"/>
                    <a:pt x="82" y="328"/>
                  </a:cubicBezTo>
                  <a:lnTo>
                    <a:pt x="82" y="305"/>
                  </a:lnTo>
                  <a:cubicBezTo>
                    <a:pt x="82" y="294"/>
                    <a:pt x="82" y="280"/>
                    <a:pt x="71" y="258"/>
                  </a:cubicBezTo>
                  <a:cubicBezTo>
                    <a:pt x="59" y="247"/>
                    <a:pt x="59" y="247"/>
                    <a:pt x="45" y="247"/>
                  </a:cubicBezTo>
                  <a:lnTo>
                    <a:pt x="45" y="235"/>
                  </a:lnTo>
                  <a:lnTo>
                    <a:pt x="45" y="224"/>
                  </a:lnTo>
                  <a:lnTo>
                    <a:pt x="59" y="224"/>
                  </a:lnTo>
                  <a:cubicBezTo>
                    <a:pt x="71" y="210"/>
                    <a:pt x="93" y="210"/>
                    <a:pt x="115" y="199"/>
                  </a:cubicBezTo>
                  <a:cubicBezTo>
                    <a:pt x="163" y="188"/>
                    <a:pt x="199" y="166"/>
                    <a:pt x="222" y="140"/>
                  </a:cubicBezTo>
                  <a:cubicBezTo>
                    <a:pt x="255" y="107"/>
                    <a:pt x="280" y="84"/>
                    <a:pt x="314" y="71"/>
                  </a:cubicBezTo>
                  <a:cubicBezTo>
                    <a:pt x="339" y="59"/>
                    <a:pt x="373" y="48"/>
                    <a:pt x="409" y="48"/>
                  </a:cubicBezTo>
                  <a:close/>
                  <a:moveTo>
                    <a:pt x="409" y="1"/>
                  </a:moveTo>
                  <a:cubicBezTo>
                    <a:pt x="361" y="1"/>
                    <a:pt x="325" y="15"/>
                    <a:pt x="291" y="26"/>
                  </a:cubicBezTo>
                  <a:cubicBezTo>
                    <a:pt x="255" y="48"/>
                    <a:pt x="222" y="84"/>
                    <a:pt x="199" y="107"/>
                  </a:cubicBezTo>
                  <a:cubicBezTo>
                    <a:pt x="163" y="129"/>
                    <a:pt x="140" y="154"/>
                    <a:pt x="104" y="166"/>
                  </a:cubicBezTo>
                  <a:cubicBezTo>
                    <a:pt x="93" y="166"/>
                    <a:pt x="71" y="166"/>
                    <a:pt x="34" y="177"/>
                  </a:cubicBezTo>
                  <a:cubicBezTo>
                    <a:pt x="23" y="177"/>
                    <a:pt x="12" y="188"/>
                    <a:pt x="12" y="199"/>
                  </a:cubicBezTo>
                  <a:cubicBezTo>
                    <a:pt x="1" y="210"/>
                    <a:pt x="1" y="224"/>
                    <a:pt x="1" y="235"/>
                  </a:cubicBezTo>
                  <a:cubicBezTo>
                    <a:pt x="1" y="247"/>
                    <a:pt x="1" y="258"/>
                    <a:pt x="12" y="269"/>
                  </a:cubicBezTo>
                  <a:lnTo>
                    <a:pt x="23" y="280"/>
                  </a:lnTo>
                  <a:lnTo>
                    <a:pt x="34" y="294"/>
                  </a:lnTo>
                  <a:lnTo>
                    <a:pt x="34" y="305"/>
                  </a:lnTo>
                  <a:cubicBezTo>
                    <a:pt x="34" y="317"/>
                    <a:pt x="34" y="339"/>
                    <a:pt x="45" y="350"/>
                  </a:cubicBezTo>
                  <a:cubicBezTo>
                    <a:pt x="45" y="364"/>
                    <a:pt x="59" y="375"/>
                    <a:pt x="71" y="386"/>
                  </a:cubicBezTo>
                  <a:lnTo>
                    <a:pt x="115" y="386"/>
                  </a:lnTo>
                  <a:cubicBezTo>
                    <a:pt x="163" y="386"/>
                    <a:pt x="210" y="350"/>
                    <a:pt x="244" y="339"/>
                  </a:cubicBezTo>
                  <a:cubicBezTo>
                    <a:pt x="255" y="328"/>
                    <a:pt x="291" y="317"/>
                    <a:pt x="303" y="317"/>
                  </a:cubicBezTo>
                  <a:lnTo>
                    <a:pt x="339" y="317"/>
                  </a:lnTo>
                  <a:cubicBezTo>
                    <a:pt x="350" y="328"/>
                    <a:pt x="361" y="350"/>
                    <a:pt x="373" y="375"/>
                  </a:cubicBezTo>
                  <a:cubicBezTo>
                    <a:pt x="373" y="398"/>
                    <a:pt x="373" y="420"/>
                    <a:pt x="384" y="445"/>
                  </a:cubicBezTo>
                  <a:lnTo>
                    <a:pt x="384" y="479"/>
                  </a:lnTo>
                  <a:cubicBezTo>
                    <a:pt x="395" y="479"/>
                    <a:pt x="395" y="490"/>
                    <a:pt x="409" y="490"/>
                  </a:cubicBezTo>
                  <a:cubicBezTo>
                    <a:pt x="409" y="504"/>
                    <a:pt x="420" y="504"/>
                    <a:pt x="431" y="504"/>
                  </a:cubicBezTo>
                  <a:cubicBezTo>
                    <a:pt x="442" y="504"/>
                    <a:pt x="454" y="490"/>
                    <a:pt x="454" y="490"/>
                  </a:cubicBezTo>
                  <a:cubicBezTo>
                    <a:pt x="465" y="479"/>
                    <a:pt x="465" y="479"/>
                    <a:pt x="479" y="479"/>
                  </a:cubicBezTo>
                  <a:cubicBezTo>
                    <a:pt x="479" y="468"/>
                    <a:pt x="490" y="468"/>
                    <a:pt x="490" y="468"/>
                  </a:cubicBezTo>
                  <a:lnTo>
                    <a:pt x="524" y="468"/>
                  </a:lnTo>
                  <a:cubicBezTo>
                    <a:pt x="535" y="479"/>
                    <a:pt x="549" y="479"/>
                    <a:pt x="560" y="479"/>
                  </a:cubicBezTo>
                  <a:cubicBezTo>
                    <a:pt x="571" y="479"/>
                    <a:pt x="582" y="468"/>
                    <a:pt x="593" y="468"/>
                  </a:cubicBezTo>
                  <a:lnTo>
                    <a:pt x="619" y="468"/>
                  </a:lnTo>
                  <a:cubicBezTo>
                    <a:pt x="630" y="456"/>
                    <a:pt x="630" y="445"/>
                    <a:pt x="630" y="445"/>
                  </a:cubicBezTo>
                  <a:cubicBezTo>
                    <a:pt x="641" y="434"/>
                    <a:pt x="641" y="420"/>
                    <a:pt x="641" y="420"/>
                  </a:cubicBezTo>
                  <a:lnTo>
                    <a:pt x="641" y="409"/>
                  </a:lnTo>
                  <a:lnTo>
                    <a:pt x="641" y="386"/>
                  </a:lnTo>
                  <a:cubicBezTo>
                    <a:pt x="641" y="375"/>
                    <a:pt x="641" y="375"/>
                    <a:pt x="652" y="375"/>
                  </a:cubicBezTo>
                  <a:cubicBezTo>
                    <a:pt x="663" y="364"/>
                    <a:pt x="675" y="364"/>
                    <a:pt x="689" y="364"/>
                  </a:cubicBezTo>
                  <a:cubicBezTo>
                    <a:pt x="700" y="364"/>
                    <a:pt x="722" y="364"/>
                    <a:pt x="744" y="350"/>
                  </a:cubicBezTo>
                  <a:cubicBezTo>
                    <a:pt x="758" y="350"/>
                    <a:pt x="781" y="339"/>
                    <a:pt x="781" y="317"/>
                  </a:cubicBezTo>
                  <a:cubicBezTo>
                    <a:pt x="792" y="317"/>
                    <a:pt x="792" y="305"/>
                    <a:pt x="792" y="305"/>
                  </a:cubicBezTo>
                  <a:lnTo>
                    <a:pt x="792" y="294"/>
                  </a:lnTo>
                  <a:cubicBezTo>
                    <a:pt x="803" y="294"/>
                    <a:pt x="814" y="305"/>
                    <a:pt x="814" y="305"/>
                  </a:cubicBezTo>
                  <a:cubicBezTo>
                    <a:pt x="840" y="305"/>
                    <a:pt x="862" y="317"/>
                    <a:pt x="898" y="317"/>
                  </a:cubicBezTo>
                  <a:lnTo>
                    <a:pt x="909" y="317"/>
                  </a:lnTo>
                  <a:cubicBezTo>
                    <a:pt x="921" y="305"/>
                    <a:pt x="932" y="305"/>
                    <a:pt x="954" y="305"/>
                  </a:cubicBezTo>
                  <a:lnTo>
                    <a:pt x="979" y="280"/>
                  </a:lnTo>
                  <a:cubicBezTo>
                    <a:pt x="979" y="269"/>
                    <a:pt x="991" y="258"/>
                    <a:pt x="991" y="247"/>
                  </a:cubicBezTo>
                  <a:cubicBezTo>
                    <a:pt x="991" y="224"/>
                    <a:pt x="979" y="210"/>
                    <a:pt x="968" y="199"/>
                  </a:cubicBezTo>
                  <a:cubicBezTo>
                    <a:pt x="954" y="199"/>
                    <a:pt x="943" y="188"/>
                    <a:pt x="943" y="177"/>
                  </a:cubicBezTo>
                  <a:cubicBezTo>
                    <a:pt x="932" y="177"/>
                    <a:pt x="932" y="177"/>
                    <a:pt x="921" y="166"/>
                  </a:cubicBezTo>
                  <a:lnTo>
                    <a:pt x="921" y="154"/>
                  </a:lnTo>
                  <a:cubicBezTo>
                    <a:pt x="932" y="154"/>
                    <a:pt x="932" y="140"/>
                    <a:pt x="932" y="140"/>
                  </a:cubicBezTo>
                  <a:cubicBezTo>
                    <a:pt x="943" y="129"/>
                    <a:pt x="954" y="118"/>
                    <a:pt x="954" y="96"/>
                  </a:cubicBezTo>
                  <a:lnTo>
                    <a:pt x="954" y="84"/>
                  </a:lnTo>
                  <a:lnTo>
                    <a:pt x="943" y="71"/>
                  </a:lnTo>
                  <a:cubicBezTo>
                    <a:pt x="932" y="59"/>
                    <a:pt x="921" y="59"/>
                    <a:pt x="909" y="59"/>
                  </a:cubicBezTo>
                  <a:cubicBezTo>
                    <a:pt x="884" y="59"/>
                    <a:pt x="873" y="71"/>
                    <a:pt x="862" y="71"/>
                  </a:cubicBezTo>
                  <a:lnTo>
                    <a:pt x="851" y="59"/>
                  </a:lnTo>
                  <a:cubicBezTo>
                    <a:pt x="851" y="48"/>
                    <a:pt x="840" y="37"/>
                    <a:pt x="828" y="26"/>
                  </a:cubicBezTo>
                  <a:lnTo>
                    <a:pt x="803" y="26"/>
                  </a:lnTo>
                  <a:cubicBezTo>
                    <a:pt x="781" y="26"/>
                    <a:pt x="770" y="26"/>
                    <a:pt x="758" y="37"/>
                  </a:cubicBezTo>
                  <a:cubicBezTo>
                    <a:pt x="744" y="59"/>
                    <a:pt x="733" y="71"/>
                    <a:pt x="733" y="96"/>
                  </a:cubicBezTo>
                  <a:lnTo>
                    <a:pt x="733" y="107"/>
                  </a:lnTo>
                  <a:cubicBezTo>
                    <a:pt x="733" y="118"/>
                    <a:pt x="722" y="118"/>
                    <a:pt x="722" y="118"/>
                  </a:cubicBezTo>
                  <a:cubicBezTo>
                    <a:pt x="711" y="118"/>
                    <a:pt x="700" y="107"/>
                    <a:pt x="689" y="107"/>
                  </a:cubicBezTo>
                  <a:cubicBezTo>
                    <a:pt x="663" y="96"/>
                    <a:pt x="652" y="71"/>
                    <a:pt x="630" y="59"/>
                  </a:cubicBezTo>
                  <a:cubicBezTo>
                    <a:pt x="593" y="37"/>
                    <a:pt x="571" y="37"/>
                    <a:pt x="549" y="26"/>
                  </a:cubicBezTo>
                  <a:cubicBezTo>
                    <a:pt x="501" y="15"/>
                    <a:pt x="454" y="1"/>
                    <a:pt x="40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" name="Google Shape;181;p17">
              <a:extLst>
                <a:ext uri="{FF2B5EF4-FFF2-40B4-BE49-F238E27FC236}">
                  <a16:creationId xmlns:a16="http://schemas.microsoft.com/office/drawing/2014/main" xmlns="" id="{0D550746-4781-B8A3-1B1C-71C45E87CDC2}"/>
                </a:ext>
              </a:extLst>
            </p:cNvPr>
            <p:cNvSpPr/>
            <p:nvPr/>
          </p:nvSpPr>
          <p:spPr>
            <a:xfrm>
              <a:off x="3616570" y="2875274"/>
              <a:ext cx="172451" cy="106516"/>
            </a:xfrm>
            <a:custGeom>
              <a:avLst/>
              <a:gdLst/>
              <a:ahLst/>
              <a:cxnLst/>
              <a:rect l="l" t="t" r="r" b="b"/>
              <a:pathLst>
                <a:path w="748" h="462" extrusionOk="0">
                  <a:moveTo>
                    <a:pt x="689" y="1"/>
                  </a:moveTo>
                  <a:cubicBezTo>
                    <a:pt x="666" y="1"/>
                    <a:pt x="641" y="1"/>
                    <a:pt x="630" y="12"/>
                  </a:cubicBezTo>
                  <a:cubicBezTo>
                    <a:pt x="585" y="37"/>
                    <a:pt x="560" y="59"/>
                    <a:pt x="526" y="93"/>
                  </a:cubicBezTo>
                  <a:cubicBezTo>
                    <a:pt x="490" y="118"/>
                    <a:pt x="457" y="152"/>
                    <a:pt x="409" y="152"/>
                  </a:cubicBezTo>
                  <a:cubicBezTo>
                    <a:pt x="402" y="153"/>
                    <a:pt x="395" y="154"/>
                    <a:pt x="388" y="154"/>
                  </a:cubicBezTo>
                  <a:cubicBezTo>
                    <a:pt x="352" y="154"/>
                    <a:pt x="313" y="138"/>
                    <a:pt x="272" y="138"/>
                  </a:cubicBezTo>
                  <a:cubicBezTo>
                    <a:pt x="264" y="138"/>
                    <a:pt x="255" y="139"/>
                    <a:pt x="247" y="141"/>
                  </a:cubicBezTo>
                  <a:cubicBezTo>
                    <a:pt x="210" y="152"/>
                    <a:pt x="188" y="177"/>
                    <a:pt x="166" y="199"/>
                  </a:cubicBezTo>
                  <a:cubicBezTo>
                    <a:pt x="118" y="258"/>
                    <a:pt x="96" y="303"/>
                    <a:pt x="48" y="350"/>
                  </a:cubicBezTo>
                  <a:cubicBezTo>
                    <a:pt x="37" y="373"/>
                    <a:pt x="12" y="387"/>
                    <a:pt x="12" y="409"/>
                  </a:cubicBezTo>
                  <a:cubicBezTo>
                    <a:pt x="1" y="420"/>
                    <a:pt x="12" y="443"/>
                    <a:pt x="37" y="457"/>
                  </a:cubicBezTo>
                  <a:cubicBezTo>
                    <a:pt x="40" y="458"/>
                    <a:pt x="43" y="459"/>
                    <a:pt x="46" y="459"/>
                  </a:cubicBezTo>
                  <a:cubicBezTo>
                    <a:pt x="63" y="459"/>
                    <a:pt x="79" y="440"/>
                    <a:pt x="97" y="440"/>
                  </a:cubicBezTo>
                  <a:cubicBezTo>
                    <a:pt x="100" y="440"/>
                    <a:pt x="104" y="441"/>
                    <a:pt x="107" y="443"/>
                  </a:cubicBezTo>
                  <a:cubicBezTo>
                    <a:pt x="118" y="443"/>
                    <a:pt x="118" y="457"/>
                    <a:pt x="129" y="457"/>
                  </a:cubicBezTo>
                  <a:cubicBezTo>
                    <a:pt x="133" y="460"/>
                    <a:pt x="138" y="462"/>
                    <a:pt x="144" y="462"/>
                  </a:cubicBezTo>
                  <a:cubicBezTo>
                    <a:pt x="156" y="462"/>
                    <a:pt x="169" y="457"/>
                    <a:pt x="177" y="457"/>
                  </a:cubicBezTo>
                  <a:cubicBezTo>
                    <a:pt x="222" y="431"/>
                    <a:pt x="258" y="398"/>
                    <a:pt x="280" y="350"/>
                  </a:cubicBezTo>
                  <a:lnTo>
                    <a:pt x="280" y="328"/>
                  </a:lnTo>
                  <a:cubicBezTo>
                    <a:pt x="292" y="328"/>
                    <a:pt x="306" y="317"/>
                    <a:pt x="328" y="317"/>
                  </a:cubicBezTo>
                  <a:cubicBezTo>
                    <a:pt x="339" y="317"/>
                    <a:pt x="350" y="328"/>
                    <a:pt x="361" y="328"/>
                  </a:cubicBezTo>
                  <a:cubicBezTo>
                    <a:pt x="374" y="332"/>
                    <a:pt x="386" y="334"/>
                    <a:pt x="398" y="334"/>
                  </a:cubicBezTo>
                  <a:cubicBezTo>
                    <a:pt x="456" y="334"/>
                    <a:pt x="512" y="295"/>
                    <a:pt x="560" y="258"/>
                  </a:cubicBezTo>
                  <a:cubicBezTo>
                    <a:pt x="619" y="210"/>
                    <a:pt x="666" y="152"/>
                    <a:pt x="725" y="107"/>
                  </a:cubicBezTo>
                  <a:cubicBezTo>
                    <a:pt x="736" y="93"/>
                    <a:pt x="747" y="93"/>
                    <a:pt x="747" y="82"/>
                  </a:cubicBezTo>
                  <a:lnTo>
                    <a:pt x="747" y="59"/>
                  </a:lnTo>
                  <a:cubicBezTo>
                    <a:pt x="747" y="37"/>
                    <a:pt x="747" y="12"/>
                    <a:pt x="725" y="12"/>
                  </a:cubicBezTo>
                  <a:cubicBezTo>
                    <a:pt x="711" y="1"/>
                    <a:pt x="700" y="1"/>
                    <a:pt x="68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" name="Google Shape;182;p17">
              <a:extLst>
                <a:ext uri="{FF2B5EF4-FFF2-40B4-BE49-F238E27FC236}">
                  <a16:creationId xmlns:a16="http://schemas.microsoft.com/office/drawing/2014/main" xmlns="" id="{0552E909-54F4-8C36-05E4-A4C6648B1911}"/>
                </a:ext>
              </a:extLst>
            </p:cNvPr>
            <p:cNvSpPr/>
            <p:nvPr/>
          </p:nvSpPr>
          <p:spPr>
            <a:xfrm>
              <a:off x="3614034" y="2870202"/>
              <a:ext cx="180060" cy="115508"/>
            </a:xfrm>
            <a:custGeom>
              <a:avLst/>
              <a:gdLst/>
              <a:ahLst/>
              <a:cxnLst/>
              <a:rect l="l" t="t" r="r" b="b"/>
              <a:pathLst>
                <a:path w="781" h="501" extrusionOk="0">
                  <a:moveTo>
                    <a:pt x="722" y="45"/>
                  </a:moveTo>
                  <a:cubicBezTo>
                    <a:pt x="736" y="59"/>
                    <a:pt x="736" y="70"/>
                    <a:pt x="736" y="81"/>
                  </a:cubicBezTo>
                  <a:lnTo>
                    <a:pt x="736" y="93"/>
                  </a:lnTo>
                  <a:cubicBezTo>
                    <a:pt x="736" y="93"/>
                    <a:pt x="736" y="104"/>
                    <a:pt x="722" y="104"/>
                  </a:cubicBezTo>
                  <a:cubicBezTo>
                    <a:pt x="652" y="151"/>
                    <a:pt x="619" y="221"/>
                    <a:pt x="560" y="269"/>
                  </a:cubicBezTo>
                  <a:cubicBezTo>
                    <a:pt x="512" y="302"/>
                    <a:pt x="456" y="325"/>
                    <a:pt x="409" y="325"/>
                  </a:cubicBezTo>
                  <a:lnTo>
                    <a:pt x="372" y="325"/>
                  </a:lnTo>
                  <a:cubicBezTo>
                    <a:pt x="361" y="325"/>
                    <a:pt x="350" y="325"/>
                    <a:pt x="339" y="314"/>
                  </a:cubicBezTo>
                  <a:lnTo>
                    <a:pt x="328" y="314"/>
                  </a:lnTo>
                  <a:cubicBezTo>
                    <a:pt x="317" y="314"/>
                    <a:pt x="291" y="325"/>
                    <a:pt x="280" y="339"/>
                  </a:cubicBezTo>
                  <a:cubicBezTo>
                    <a:pt x="269" y="350"/>
                    <a:pt x="269" y="361"/>
                    <a:pt x="269" y="361"/>
                  </a:cubicBezTo>
                  <a:cubicBezTo>
                    <a:pt x="247" y="409"/>
                    <a:pt x="221" y="442"/>
                    <a:pt x="177" y="453"/>
                  </a:cubicBezTo>
                  <a:lnTo>
                    <a:pt x="152" y="453"/>
                  </a:lnTo>
                  <a:cubicBezTo>
                    <a:pt x="152" y="453"/>
                    <a:pt x="140" y="453"/>
                    <a:pt x="129" y="442"/>
                  </a:cubicBezTo>
                  <a:lnTo>
                    <a:pt x="107" y="442"/>
                  </a:lnTo>
                  <a:cubicBezTo>
                    <a:pt x="93" y="442"/>
                    <a:pt x="82" y="442"/>
                    <a:pt x="70" y="453"/>
                  </a:cubicBezTo>
                  <a:lnTo>
                    <a:pt x="48" y="453"/>
                  </a:lnTo>
                  <a:lnTo>
                    <a:pt x="48" y="442"/>
                  </a:lnTo>
                  <a:lnTo>
                    <a:pt x="48" y="431"/>
                  </a:lnTo>
                  <a:cubicBezTo>
                    <a:pt x="48" y="420"/>
                    <a:pt x="59" y="409"/>
                    <a:pt x="82" y="395"/>
                  </a:cubicBezTo>
                  <a:cubicBezTo>
                    <a:pt x="118" y="350"/>
                    <a:pt x="152" y="291"/>
                    <a:pt x="188" y="244"/>
                  </a:cubicBezTo>
                  <a:cubicBezTo>
                    <a:pt x="210" y="221"/>
                    <a:pt x="233" y="199"/>
                    <a:pt x="258" y="185"/>
                  </a:cubicBezTo>
                  <a:lnTo>
                    <a:pt x="291" y="185"/>
                  </a:lnTo>
                  <a:cubicBezTo>
                    <a:pt x="317" y="185"/>
                    <a:pt x="361" y="199"/>
                    <a:pt x="409" y="199"/>
                  </a:cubicBezTo>
                  <a:lnTo>
                    <a:pt x="431" y="199"/>
                  </a:lnTo>
                  <a:cubicBezTo>
                    <a:pt x="479" y="185"/>
                    <a:pt x="526" y="163"/>
                    <a:pt x="549" y="129"/>
                  </a:cubicBezTo>
                  <a:cubicBezTo>
                    <a:pt x="582" y="104"/>
                    <a:pt x="619" y="70"/>
                    <a:pt x="652" y="59"/>
                  </a:cubicBezTo>
                  <a:cubicBezTo>
                    <a:pt x="666" y="45"/>
                    <a:pt x="677" y="45"/>
                    <a:pt x="700" y="45"/>
                  </a:cubicBezTo>
                  <a:close/>
                  <a:moveTo>
                    <a:pt x="688" y="0"/>
                  </a:moveTo>
                  <a:cubicBezTo>
                    <a:pt x="677" y="0"/>
                    <a:pt x="652" y="0"/>
                    <a:pt x="630" y="12"/>
                  </a:cubicBezTo>
                  <a:cubicBezTo>
                    <a:pt x="582" y="34"/>
                    <a:pt x="549" y="70"/>
                    <a:pt x="526" y="93"/>
                  </a:cubicBezTo>
                  <a:cubicBezTo>
                    <a:pt x="490" y="129"/>
                    <a:pt x="456" y="151"/>
                    <a:pt x="420" y="151"/>
                  </a:cubicBezTo>
                  <a:lnTo>
                    <a:pt x="409" y="151"/>
                  </a:lnTo>
                  <a:cubicBezTo>
                    <a:pt x="372" y="151"/>
                    <a:pt x="328" y="140"/>
                    <a:pt x="291" y="140"/>
                  </a:cubicBezTo>
                  <a:lnTo>
                    <a:pt x="247" y="140"/>
                  </a:lnTo>
                  <a:cubicBezTo>
                    <a:pt x="210" y="151"/>
                    <a:pt x="177" y="185"/>
                    <a:pt x="152" y="210"/>
                  </a:cubicBezTo>
                  <a:cubicBezTo>
                    <a:pt x="107" y="269"/>
                    <a:pt x="82" y="314"/>
                    <a:pt x="48" y="361"/>
                  </a:cubicBezTo>
                  <a:cubicBezTo>
                    <a:pt x="23" y="372"/>
                    <a:pt x="12" y="395"/>
                    <a:pt x="1" y="420"/>
                  </a:cubicBezTo>
                  <a:lnTo>
                    <a:pt x="1" y="442"/>
                  </a:lnTo>
                  <a:lnTo>
                    <a:pt x="1" y="479"/>
                  </a:lnTo>
                  <a:cubicBezTo>
                    <a:pt x="12" y="490"/>
                    <a:pt x="23" y="501"/>
                    <a:pt x="37" y="501"/>
                  </a:cubicBezTo>
                  <a:lnTo>
                    <a:pt x="48" y="501"/>
                  </a:lnTo>
                  <a:cubicBezTo>
                    <a:pt x="70" y="501"/>
                    <a:pt x="82" y="501"/>
                    <a:pt x="93" y="490"/>
                  </a:cubicBezTo>
                  <a:lnTo>
                    <a:pt x="118" y="490"/>
                  </a:lnTo>
                  <a:lnTo>
                    <a:pt x="129" y="501"/>
                  </a:lnTo>
                  <a:lnTo>
                    <a:pt x="199" y="501"/>
                  </a:lnTo>
                  <a:cubicBezTo>
                    <a:pt x="247" y="479"/>
                    <a:pt x="291" y="431"/>
                    <a:pt x="303" y="383"/>
                  </a:cubicBezTo>
                  <a:lnTo>
                    <a:pt x="317" y="372"/>
                  </a:lnTo>
                  <a:cubicBezTo>
                    <a:pt x="317" y="372"/>
                    <a:pt x="317" y="361"/>
                    <a:pt x="328" y="361"/>
                  </a:cubicBezTo>
                  <a:cubicBezTo>
                    <a:pt x="339" y="361"/>
                    <a:pt x="350" y="372"/>
                    <a:pt x="361" y="372"/>
                  </a:cubicBezTo>
                  <a:lnTo>
                    <a:pt x="409" y="372"/>
                  </a:lnTo>
                  <a:cubicBezTo>
                    <a:pt x="479" y="372"/>
                    <a:pt x="537" y="339"/>
                    <a:pt x="596" y="302"/>
                  </a:cubicBezTo>
                  <a:cubicBezTo>
                    <a:pt x="652" y="244"/>
                    <a:pt x="688" y="185"/>
                    <a:pt x="747" y="140"/>
                  </a:cubicBezTo>
                  <a:cubicBezTo>
                    <a:pt x="758" y="140"/>
                    <a:pt x="770" y="129"/>
                    <a:pt x="781" y="115"/>
                  </a:cubicBezTo>
                  <a:lnTo>
                    <a:pt x="781" y="81"/>
                  </a:lnTo>
                  <a:cubicBezTo>
                    <a:pt x="781" y="59"/>
                    <a:pt x="770" y="23"/>
                    <a:pt x="747" y="12"/>
                  </a:cubicBezTo>
                  <a:cubicBezTo>
                    <a:pt x="736" y="0"/>
                    <a:pt x="711" y="0"/>
                    <a:pt x="70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" name="Google Shape;183;p17">
              <a:extLst>
                <a:ext uri="{FF2B5EF4-FFF2-40B4-BE49-F238E27FC236}">
                  <a16:creationId xmlns:a16="http://schemas.microsoft.com/office/drawing/2014/main" xmlns="" id="{13C2305D-227B-6D17-1EE5-3848260B4751}"/>
                </a:ext>
              </a:extLst>
            </p:cNvPr>
            <p:cNvSpPr/>
            <p:nvPr/>
          </p:nvSpPr>
          <p:spPr>
            <a:xfrm>
              <a:off x="1440857" y="1126063"/>
              <a:ext cx="588825" cy="600596"/>
            </a:xfrm>
            <a:custGeom>
              <a:avLst/>
              <a:gdLst/>
              <a:ahLst/>
              <a:cxnLst/>
              <a:rect l="l" t="t" r="r" b="b"/>
              <a:pathLst>
                <a:path w="2554" h="2605" extrusionOk="0">
                  <a:moveTo>
                    <a:pt x="1671" y="0"/>
                  </a:moveTo>
                  <a:cubicBezTo>
                    <a:pt x="1647" y="0"/>
                    <a:pt x="1629" y="22"/>
                    <a:pt x="1608" y="49"/>
                  </a:cubicBezTo>
                  <a:cubicBezTo>
                    <a:pt x="1597" y="86"/>
                    <a:pt x="1586" y="119"/>
                    <a:pt x="1564" y="144"/>
                  </a:cubicBezTo>
                  <a:cubicBezTo>
                    <a:pt x="1542" y="160"/>
                    <a:pt x="1515" y="168"/>
                    <a:pt x="1490" y="168"/>
                  </a:cubicBezTo>
                  <a:cubicBezTo>
                    <a:pt x="1459" y="168"/>
                    <a:pt x="1430" y="156"/>
                    <a:pt x="1410" y="130"/>
                  </a:cubicBezTo>
                  <a:cubicBezTo>
                    <a:pt x="1387" y="119"/>
                    <a:pt x="1387" y="97"/>
                    <a:pt x="1365" y="74"/>
                  </a:cubicBezTo>
                  <a:cubicBezTo>
                    <a:pt x="1340" y="38"/>
                    <a:pt x="1306" y="16"/>
                    <a:pt x="1259" y="16"/>
                  </a:cubicBezTo>
                  <a:cubicBezTo>
                    <a:pt x="1178" y="27"/>
                    <a:pt x="1130" y="97"/>
                    <a:pt x="1060" y="144"/>
                  </a:cubicBezTo>
                  <a:cubicBezTo>
                    <a:pt x="1034" y="151"/>
                    <a:pt x="1008" y="157"/>
                    <a:pt x="980" y="157"/>
                  </a:cubicBezTo>
                  <a:cubicBezTo>
                    <a:pt x="961" y="157"/>
                    <a:pt x="941" y="154"/>
                    <a:pt x="920" y="144"/>
                  </a:cubicBezTo>
                  <a:cubicBezTo>
                    <a:pt x="895" y="134"/>
                    <a:pt x="868" y="112"/>
                    <a:pt x="841" y="112"/>
                  </a:cubicBezTo>
                  <a:cubicBezTo>
                    <a:pt x="833" y="112"/>
                    <a:pt x="825" y="114"/>
                    <a:pt x="817" y="119"/>
                  </a:cubicBezTo>
                  <a:cubicBezTo>
                    <a:pt x="806" y="119"/>
                    <a:pt x="806" y="130"/>
                    <a:pt x="795" y="130"/>
                  </a:cubicBezTo>
                  <a:cubicBezTo>
                    <a:pt x="747" y="167"/>
                    <a:pt x="688" y="178"/>
                    <a:pt x="630" y="178"/>
                  </a:cubicBezTo>
                  <a:cubicBezTo>
                    <a:pt x="585" y="178"/>
                    <a:pt x="526" y="155"/>
                    <a:pt x="467" y="155"/>
                  </a:cubicBezTo>
                  <a:cubicBezTo>
                    <a:pt x="456" y="155"/>
                    <a:pt x="445" y="155"/>
                    <a:pt x="431" y="167"/>
                  </a:cubicBezTo>
                  <a:cubicBezTo>
                    <a:pt x="398" y="178"/>
                    <a:pt x="409" y="237"/>
                    <a:pt x="386" y="270"/>
                  </a:cubicBezTo>
                  <a:cubicBezTo>
                    <a:pt x="386" y="284"/>
                    <a:pt x="375" y="284"/>
                    <a:pt x="375" y="295"/>
                  </a:cubicBezTo>
                  <a:cubicBezTo>
                    <a:pt x="361" y="306"/>
                    <a:pt x="361" y="329"/>
                    <a:pt x="361" y="340"/>
                  </a:cubicBezTo>
                  <a:lnTo>
                    <a:pt x="361" y="354"/>
                  </a:lnTo>
                  <a:cubicBezTo>
                    <a:pt x="361" y="365"/>
                    <a:pt x="375" y="365"/>
                    <a:pt x="386" y="365"/>
                  </a:cubicBezTo>
                  <a:cubicBezTo>
                    <a:pt x="398" y="376"/>
                    <a:pt x="409" y="387"/>
                    <a:pt x="409" y="399"/>
                  </a:cubicBezTo>
                  <a:cubicBezTo>
                    <a:pt x="420" y="410"/>
                    <a:pt x="420" y="424"/>
                    <a:pt x="420" y="435"/>
                  </a:cubicBezTo>
                  <a:cubicBezTo>
                    <a:pt x="420" y="469"/>
                    <a:pt x="445" y="505"/>
                    <a:pt x="479" y="516"/>
                  </a:cubicBezTo>
                  <a:cubicBezTo>
                    <a:pt x="515" y="538"/>
                    <a:pt x="526" y="586"/>
                    <a:pt x="526" y="620"/>
                  </a:cubicBezTo>
                  <a:cubicBezTo>
                    <a:pt x="526" y="678"/>
                    <a:pt x="526" y="737"/>
                    <a:pt x="537" y="796"/>
                  </a:cubicBezTo>
                  <a:cubicBezTo>
                    <a:pt x="537" y="829"/>
                    <a:pt x="537" y="877"/>
                    <a:pt x="501" y="899"/>
                  </a:cubicBezTo>
                  <a:cubicBezTo>
                    <a:pt x="493" y="903"/>
                    <a:pt x="483" y="904"/>
                    <a:pt x="474" y="904"/>
                  </a:cubicBezTo>
                  <a:cubicBezTo>
                    <a:pt x="460" y="904"/>
                    <a:pt x="445" y="901"/>
                    <a:pt x="431" y="901"/>
                  </a:cubicBezTo>
                  <a:cubicBezTo>
                    <a:pt x="418" y="901"/>
                    <a:pt x="406" y="904"/>
                    <a:pt x="398" y="913"/>
                  </a:cubicBezTo>
                  <a:cubicBezTo>
                    <a:pt x="386" y="924"/>
                    <a:pt x="375" y="936"/>
                    <a:pt x="375" y="947"/>
                  </a:cubicBezTo>
                  <a:cubicBezTo>
                    <a:pt x="375" y="983"/>
                    <a:pt x="361" y="1017"/>
                    <a:pt x="350" y="1039"/>
                  </a:cubicBezTo>
                  <a:cubicBezTo>
                    <a:pt x="334" y="1057"/>
                    <a:pt x="311" y="1073"/>
                    <a:pt x="287" y="1073"/>
                  </a:cubicBezTo>
                  <a:cubicBezTo>
                    <a:pt x="277" y="1073"/>
                    <a:pt x="267" y="1071"/>
                    <a:pt x="258" y="1064"/>
                  </a:cubicBezTo>
                  <a:cubicBezTo>
                    <a:pt x="247" y="1064"/>
                    <a:pt x="247" y="1053"/>
                    <a:pt x="235" y="1039"/>
                  </a:cubicBezTo>
                  <a:cubicBezTo>
                    <a:pt x="222" y="1031"/>
                    <a:pt x="209" y="1027"/>
                    <a:pt x="196" y="1027"/>
                  </a:cubicBezTo>
                  <a:cubicBezTo>
                    <a:pt x="175" y="1027"/>
                    <a:pt x="156" y="1037"/>
                    <a:pt x="140" y="1053"/>
                  </a:cubicBezTo>
                  <a:cubicBezTo>
                    <a:pt x="140" y="1075"/>
                    <a:pt x="129" y="1098"/>
                    <a:pt x="118" y="1109"/>
                  </a:cubicBezTo>
                  <a:cubicBezTo>
                    <a:pt x="107" y="1123"/>
                    <a:pt x="82" y="1123"/>
                    <a:pt x="70" y="1123"/>
                  </a:cubicBezTo>
                  <a:cubicBezTo>
                    <a:pt x="59" y="1134"/>
                    <a:pt x="48" y="1145"/>
                    <a:pt x="48" y="1168"/>
                  </a:cubicBezTo>
                  <a:cubicBezTo>
                    <a:pt x="48" y="1168"/>
                    <a:pt x="48" y="1179"/>
                    <a:pt x="37" y="1179"/>
                  </a:cubicBezTo>
                  <a:cubicBezTo>
                    <a:pt x="37" y="1238"/>
                    <a:pt x="26" y="1307"/>
                    <a:pt x="12" y="1366"/>
                  </a:cubicBezTo>
                  <a:cubicBezTo>
                    <a:pt x="0" y="1377"/>
                    <a:pt x="0" y="1389"/>
                    <a:pt x="0" y="1389"/>
                  </a:cubicBezTo>
                  <a:cubicBezTo>
                    <a:pt x="12" y="1403"/>
                    <a:pt x="37" y="1403"/>
                    <a:pt x="48" y="1403"/>
                  </a:cubicBezTo>
                  <a:cubicBezTo>
                    <a:pt x="59" y="1389"/>
                    <a:pt x="70" y="1389"/>
                    <a:pt x="82" y="1377"/>
                  </a:cubicBezTo>
                  <a:cubicBezTo>
                    <a:pt x="96" y="1377"/>
                    <a:pt x="118" y="1377"/>
                    <a:pt x="140" y="1389"/>
                  </a:cubicBezTo>
                  <a:cubicBezTo>
                    <a:pt x="151" y="1389"/>
                    <a:pt x="177" y="1403"/>
                    <a:pt x="188" y="1414"/>
                  </a:cubicBezTo>
                  <a:cubicBezTo>
                    <a:pt x="188" y="1425"/>
                    <a:pt x="199" y="1436"/>
                    <a:pt x="199" y="1447"/>
                  </a:cubicBezTo>
                  <a:cubicBezTo>
                    <a:pt x="210" y="1458"/>
                    <a:pt x="221" y="1472"/>
                    <a:pt x="247" y="1484"/>
                  </a:cubicBezTo>
                  <a:cubicBezTo>
                    <a:pt x="269" y="1495"/>
                    <a:pt x="291" y="1495"/>
                    <a:pt x="316" y="1517"/>
                  </a:cubicBezTo>
                  <a:cubicBezTo>
                    <a:pt x="339" y="1528"/>
                    <a:pt x="339" y="1565"/>
                    <a:pt x="339" y="1587"/>
                  </a:cubicBezTo>
                  <a:cubicBezTo>
                    <a:pt x="339" y="1612"/>
                    <a:pt x="339" y="1646"/>
                    <a:pt x="361" y="1668"/>
                  </a:cubicBezTo>
                  <a:cubicBezTo>
                    <a:pt x="375" y="1693"/>
                    <a:pt x="398" y="1705"/>
                    <a:pt x="409" y="1727"/>
                  </a:cubicBezTo>
                  <a:cubicBezTo>
                    <a:pt x="420" y="1752"/>
                    <a:pt x="409" y="1786"/>
                    <a:pt x="386" y="1808"/>
                  </a:cubicBezTo>
                  <a:cubicBezTo>
                    <a:pt x="375" y="1822"/>
                    <a:pt x="361" y="1833"/>
                    <a:pt x="350" y="1844"/>
                  </a:cubicBezTo>
                  <a:cubicBezTo>
                    <a:pt x="339" y="1856"/>
                    <a:pt x="339" y="1878"/>
                    <a:pt x="350" y="1892"/>
                  </a:cubicBezTo>
                  <a:cubicBezTo>
                    <a:pt x="361" y="1903"/>
                    <a:pt x="375" y="1903"/>
                    <a:pt x="375" y="1914"/>
                  </a:cubicBezTo>
                  <a:cubicBezTo>
                    <a:pt x="386" y="1914"/>
                    <a:pt x="386" y="1925"/>
                    <a:pt x="386" y="1937"/>
                  </a:cubicBezTo>
                  <a:cubicBezTo>
                    <a:pt x="386" y="1962"/>
                    <a:pt x="386" y="1984"/>
                    <a:pt x="409" y="1995"/>
                  </a:cubicBezTo>
                  <a:cubicBezTo>
                    <a:pt x="431" y="2018"/>
                    <a:pt x="456" y="2032"/>
                    <a:pt x="479" y="2032"/>
                  </a:cubicBezTo>
                  <a:cubicBezTo>
                    <a:pt x="494" y="2032"/>
                    <a:pt x="505" y="2025"/>
                    <a:pt x="514" y="2025"/>
                  </a:cubicBezTo>
                  <a:cubicBezTo>
                    <a:pt x="518" y="2025"/>
                    <a:pt x="522" y="2027"/>
                    <a:pt x="526" y="2032"/>
                  </a:cubicBezTo>
                  <a:cubicBezTo>
                    <a:pt x="537" y="2032"/>
                    <a:pt x="549" y="2054"/>
                    <a:pt x="549" y="2065"/>
                  </a:cubicBezTo>
                  <a:cubicBezTo>
                    <a:pt x="549" y="2088"/>
                    <a:pt x="549" y="2102"/>
                    <a:pt x="537" y="2113"/>
                  </a:cubicBezTo>
                  <a:cubicBezTo>
                    <a:pt x="526" y="2135"/>
                    <a:pt x="526" y="2158"/>
                    <a:pt x="501" y="2171"/>
                  </a:cubicBezTo>
                  <a:cubicBezTo>
                    <a:pt x="479" y="2183"/>
                    <a:pt x="467" y="2183"/>
                    <a:pt x="456" y="2194"/>
                  </a:cubicBezTo>
                  <a:cubicBezTo>
                    <a:pt x="445" y="2194"/>
                    <a:pt x="445" y="2205"/>
                    <a:pt x="445" y="2216"/>
                  </a:cubicBezTo>
                  <a:cubicBezTo>
                    <a:pt x="456" y="2275"/>
                    <a:pt x="537" y="2297"/>
                    <a:pt x="549" y="2356"/>
                  </a:cubicBezTo>
                  <a:cubicBezTo>
                    <a:pt x="560" y="2392"/>
                    <a:pt x="549" y="2437"/>
                    <a:pt x="560" y="2473"/>
                  </a:cubicBezTo>
                  <a:cubicBezTo>
                    <a:pt x="571" y="2496"/>
                    <a:pt x="596" y="2507"/>
                    <a:pt x="630" y="2521"/>
                  </a:cubicBezTo>
                  <a:cubicBezTo>
                    <a:pt x="655" y="2521"/>
                    <a:pt x="688" y="2507"/>
                    <a:pt x="711" y="2485"/>
                  </a:cubicBezTo>
                  <a:cubicBezTo>
                    <a:pt x="740" y="2476"/>
                    <a:pt x="768" y="2459"/>
                    <a:pt x="796" y="2459"/>
                  </a:cubicBezTo>
                  <a:cubicBezTo>
                    <a:pt x="803" y="2459"/>
                    <a:pt x="810" y="2460"/>
                    <a:pt x="817" y="2462"/>
                  </a:cubicBezTo>
                  <a:cubicBezTo>
                    <a:pt x="817" y="2473"/>
                    <a:pt x="828" y="2485"/>
                    <a:pt x="839" y="2485"/>
                  </a:cubicBezTo>
                  <a:cubicBezTo>
                    <a:pt x="851" y="2496"/>
                    <a:pt x="876" y="2496"/>
                    <a:pt x="898" y="2496"/>
                  </a:cubicBezTo>
                  <a:cubicBezTo>
                    <a:pt x="909" y="2496"/>
                    <a:pt x="934" y="2496"/>
                    <a:pt x="946" y="2507"/>
                  </a:cubicBezTo>
                  <a:cubicBezTo>
                    <a:pt x="957" y="2521"/>
                    <a:pt x="957" y="2543"/>
                    <a:pt x="968" y="2555"/>
                  </a:cubicBezTo>
                  <a:cubicBezTo>
                    <a:pt x="977" y="2585"/>
                    <a:pt x="1019" y="2605"/>
                    <a:pt x="1053" y="2605"/>
                  </a:cubicBezTo>
                  <a:cubicBezTo>
                    <a:pt x="1061" y="2605"/>
                    <a:pt x="1068" y="2604"/>
                    <a:pt x="1074" y="2602"/>
                  </a:cubicBezTo>
                  <a:cubicBezTo>
                    <a:pt x="1108" y="2591"/>
                    <a:pt x="1144" y="2543"/>
                    <a:pt x="1144" y="2496"/>
                  </a:cubicBezTo>
                  <a:cubicBezTo>
                    <a:pt x="1130" y="2473"/>
                    <a:pt x="1119" y="2437"/>
                    <a:pt x="1144" y="2426"/>
                  </a:cubicBezTo>
                  <a:lnTo>
                    <a:pt x="1178" y="2426"/>
                  </a:lnTo>
                  <a:cubicBezTo>
                    <a:pt x="1225" y="2426"/>
                    <a:pt x="1259" y="2437"/>
                    <a:pt x="1306" y="2437"/>
                  </a:cubicBezTo>
                  <a:cubicBezTo>
                    <a:pt x="1317" y="2437"/>
                    <a:pt x="1329" y="2451"/>
                    <a:pt x="1354" y="2451"/>
                  </a:cubicBezTo>
                  <a:cubicBezTo>
                    <a:pt x="1365" y="2462"/>
                    <a:pt x="1376" y="2473"/>
                    <a:pt x="1387" y="2473"/>
                  </a:cubicBezTo>
                  <a:cubicBezTo>
                    <a:pt x="1399" y="2479"/>
                    <a:pt x="1413" y="2479"/>
                    <a:pt x="1428" y="2479"/>
                  </a:cubicBezTo>
                  <a:cubicBezTo>
                    <a:pt x="1443" y="2479"/>
                    <a:pt x="1457" y="2479"/>
                    <a:pt x="1468" y="2485"/>
                  </a:cubicBezTo>
                  <a:cubicBezTo>
                    <a:pt x="1516" y="2496"/>
                    <a:pt x="1538" y="2555"/>
                    <a:pt x="1586" y="2555"/>
                  </a:cubicBezTo>
                  <a:cubicBezTo>
                    <a:pt x="1629" y="2555"/>
                    <a:pt x="1661" y="2506"/>
                    <a:pt x="1702" y="2506"/>
                  </a:cubicBezTo>
                  <a:cubicBezTo>
                    <a:pt x="1706" y="2506"/>
                    <a:pt x="1710" y="2506"/>
                    <a:pt x="1715" y="2507"/>
                  </a:cubicBezTo>
                  <a:cubicBezTo>
                    <a:pt x="1737" y="2521"/>
                    <a:pt x="1748" y="2555"/>
                    <a:pt x="1784" y="2566"/>
                  </a:cubicBezTo>
                  <a:cubicBezTo>
                    <a:pt x="1791" y="2568"/>
                    <a:pt x="1797" y="2569"/>
                    <a:pt x="1803" y="2569"/>
                  </a:cubicBezTo>
                  <a:cubicBezTo>
                    <a:pt x="1828" y="2569"/>
                    <a:pt x="1850" y="2552"/>
                    <a:pt x="1877" y="2543"/>
                  </a:cubicBezTo>
                  <a:cubicBezTo>
                    <a:pt x="1881" y="2541"/>
                    <a:pt x="1886" y="2540"/>
                    <a:pt x="1891" y="2540"/>
                  </a:cubicBezTo>
                  <a:cubicBezTo>
                    <a:pt x="1912" y="2540"/>
                    <a:pt x="1940" y="2557"/>
                    <a:pt x="1958" y="2566"/>
                  </a:cubicBezTo>
                  <a:cubicBezTo>
                    <a:pt x="1969" y="2577"/>
                    <a:pt x="1983" y="2577"/>
                    <a:pt x="2005" y="2577"/>
                  </a:cubicBezTo>
                  <a:cubicBezTo>
                    <a:pt x="2017" y="2566"/>
                    <a:pt x="2017" y="2566"/>
                    <a:pt x="2028" y="2566"/>
                  </a:cubicBezTo>
                  <a:cubicBezTo>
                    <a:pt x="2039" y="2555"/>
                    <a:pt x="2039" y="2532"/>
                    <a:pt x="2028" y="2507"/>
                  </a:cubicBezTo>
                  <a:cubicBezTo>
                    <a:pt x="2028" y="2507"/>
                    <a:pt x="2017" y="2496"/>
                    <a:pt x="2017" y="2485"/>
                  </a:cubicBezTo>
                  <a:cubicBezTo>
                    <a:pt x="2017" y="2473"/>
                    <a:pt x="2028" y="2462"/>
                    <a:pt x="2028" y="2451"/>
                  </a:cubicBezTo>
                  <a:cubicBezTo>
                    <a:pt x="2039" y="2415"/>
                    <a:pt x="2017" y="2392"/>
                    <a:pt x="1994" y="2381"/>
                  </a:cubicBezTo>
                  <a:cubicBezTo>
                    <a:pt x="1983" y="2381"/>
                    <a:pt x="1969" y="2381"/>
                    <a:pt x="1958" y="2367"/>
                  </a:cubicBezTo>
                  <a:cubicBezTo>
                    <a:pt x="1958" y="2367"/>
                    <a:pt x="1947" y="2356"/>
                    <a:pt x="1947" y="2345"/>
                  </a:cubicBezTo>
                  <a:cubicBezTo>
                    <a:pt x="1958" y="2345"/>
                    <a:pt x="1983" y="2334"/>
                    <a:pt x="1983" y="2322"/>
                  </a:cubicBezTo>
                  <a:cubicBezTo>
                    <a:pt x="1994" y="2311"/>
                    <a:pt x="1994" y="2311"/>
                    <a:pt x="1994" y="2297"/>
                  </a:cubicBezTo>
                  <a:cubicBezTo>
                    <a:pt x="2017" y="2264"/>
                    <a:pt x="2064" y="2275"/>
                    <a:pt x="2098" y="2253"/>
                  </a:cubicBezTo>
                  <a:lnTo>
                    <a:pt x="2109" y="2241"/>
                  </a:lnTo>
                  <a:cubicBezTo>
                    <a:pt x="2123" y="2227"/>
                    <a:pt x="2109" y="2205"/>
                    <a:pt x="2109" y="2194"/>
                  </a:cubicBezTo>
                  <a:cubicBezTo>
                    <a:pt x="2109" y="2158"/>
                    <a:pt x="2145" y="2124"/>
                    <a:pt x="2168" y="2113"/>
                  </a:cubicBezTo>
                  <a:cubicBezTo>
                    <a:pt x="2204" y="2088"/>
                    <a:pt x="2237" y="2076"/>
                    <a:pt x="2263" y="2054"/>
                  </a:cubicBezTo>
                  <a:cubicBezTo>
                    <a:pt x="2285" y="2018"/>
                    <a:pt x="2319" y="1995"/>
                    <a:pt x="2344" y="1962"/>
                  </a:cubicBezTo>
                  <a:cubicBezTo>
                    <a:pt x="2355" y="1948"/>
                    <a:pt x="2377" y="1925"/>
                    <a:pt x="2377" y="1914"/>
                  </a:cubicBezTo>
                  <a:cubicBezTo>
                    <a:pt x="2366" y="1892"/>
                    <a:pt x="2355" y="1878"/>
                    <a:pt x="2366" y="1856"/>
                  </a:cubicBezTo>
                  <a:cubicBezTo>
                    <a:pt x="2377" y="1856"/>
                    <a:pt x="2377" y="1856"/>
                    <a:pt x="2388" y="1844"/>
                  </a:cubicBezTo>
                  <a:cubicBezTo>
                    <a:pt x="2402" y="1833"/>
                    <a:pt x="2388" y="1822"/>
                    <a:pt x="2388" y="1808"/>
                  </a:cubicBezTo>
                  <a:cubicBezTo>
                    <a:pt x="2388" y="1786"/>
                    <a:pt x="2402" y="1774"/>
                    <a:pt x="2414" y="1763"/>
                  </a:cubicBezTo>
                  <a:cubicBezTo>
                    <a:pt x="2402" y="1738"/>
                    <a:pt x="2402" y="1716"/>
                    <a:pt x="2414" y="1693"/>
                  </a:cubicBezTo>
                  <a:cubicBezTo>
                    <a:pt x="2436" y="1657"/>
                    <a:pt x="2484" y="1635"/>
                    <a:pt x="2506" y="1612"/>
                  </a:cubicBezTo>
                  <a:cubicBezTo>
                    <a:pt x="2553" y="1554"/>
                    <a:pt x="2542" y="1447"/>
                    <a:pt x="2484" y="1403"/>
                  </a:cubicBezTo>
                  <a:cubicBezTo>
                    <a:pt x="2458" y="1389"/>
                    <a:pt x="2425" y="1366"/>
                    <a:pt x="2414" y="1344"/>
                  </a:cubicBezTo>
                  <a:cubicBezTo>
                    <a:pt x="2402" y="1296"/>
                    <a:pt x="2436" y="1238"/>
                    <a:pt x="2402" y="1226"/>
                  </a:cubicBezTo>
                  <a:cubicBezTo>
                    <a:pt x="2388" y="1215"/>
                    <a:pt x="2377" y="1215"/>
                    <a:pt x="2366" y="1215"/>
                  </a:cubicBezTo>
                  <a:cubicBezTo>
                    <a:pt x="2354" y="1218"/>
                    <a:pt x="2343" y="1219"/>
                    <a:pt x="2332" y="1219"/>
                  </a:cubicBezTo>
                  <a:cubicBezTo>
                    <a:pt x="2298" y="1219"/>
                    <a:pt x="2268" y="1206"/>
                    <a:pt x="2249" y="1179"/>
                  </a:cubicBezTo>
                  <a:cubicBezTo>
                    <a:pt x="2237" y="1168"/>
                    <a:pt x="2237" y="1156"/>
                    <a:pt x="2226" y="1145"/>
                  </a:cubicBezTo>
                  <a:cubicBezTo>
                    <a:pt x="2215" y="1134"/>
                    <a:pt x="2203" y="1131"/>
                    <a:pt x="2190" y="1131"/>
                  </a:cubicBezTo>
                  <a:cubicBezTo>
                    <a:pt x="2177" y="1131"/>
                    <a:pt x="2162" y="1134"/>
                    <a:pt x="2145" y="1134"/>
                  </a:cubicBezTo>
                  <a:cubicBezTo>
                    <a:pt x="2075" y="1134"/>
                    <a:pt x="2017" y="1028"/>
                    <a:pt x="2053" y="969"/>
                  </a:cubicBezTo>
                  <a:cubicBezTo>
                    <a:pt x="2064" y="958"/>
                    <a:pt x="2064" y="947"/>
                    <a:pt x="2064" y="936"/>
                  </a:cubicBezTo>
                  <a:cubicBezTo>
                    <a:pt x="2075" y="888"/>
                    <a:pt x="2017" y="877"/>
                    <a:pt x="2005" y="829"/>
                  </a:cubicBezTo>
                  <a:cubicBezTo>
                    <a:pt x="1983" y="773"/>
                    <a:pt x="2075" y="726"/>
                    <a:pt x="2064" y="667"/>
                  </a:cubicBezTo>
                  <a:cubicBezTo>
                    <a:pt x="2039" y="597"/>
                    <a:pt x="1924" y="634"/>
                    <a:pt x="1877" y="575"/>
                  </a:cubicBezTo>
                  <a:cubicBezTo>
                    <a:pt x="1829" y="527"/>
                    <a:pt x="1877" y="435"/>
                    <a:pt x="1807" y="399"/>
                  </a:cubicBezTo>
                  <a:cubicBezTo>
                    <a:pt x="1784" y="387"/>
                    <a:pt x="1759" y="399"/>
                    <a:pt x="1748" y="376"/>
                  </a:cubicBezTo>
                  <a:cubicBezTo>
                    <a:pt x="1726" y="354"/>
                    <a:pt x="1759" y="306"/>
                    <a:pt x="1748" y="284"/>
                  </a:cubicBezTo>
                  <a:cubicBezTo>
                    <a:pt x="1737" y="248"/>
                    <a:pt x="1703" y="225"/>
                    <a:pt x="1726" y="189"/>
                  </a:cubicBezTo>
                  <a:cubicBezTo>
                    <a:pt x="1737" y="167"/>
                    <a:pt x="1759" y="167"/>
                    <a:pt x="1784" y="167"/>
                  </a:cubicBezTo>
                  <a:cubicBezTo>
                    <a:pt x="1807" y="167"/>
                    <a:pt x="1835" y="172"/>
                    <a:pt x="1862" y="172"/>
                  </a:cubicBezTo>
                  <a:cubicBezTo>
                    <a:pt x="1888" y="172"/>
                    <a:pt x="1912" y="167"/>
                    <a:pt x="1924" y="144"/>
                  </a:cubicBezTo>
                  <a:cubicBezTo>
                    <a:pt x="1935" y="108"/>
                    <a:pt x="1924" y="86"/>
                    <a:pt x="1899" y="60"/>
                  </a:cubicBezTo>
                  <a:cubicBezTo>
                    <a:pt x="1888" y="38"/>
                    <a:pt x="1877" y="27"/>
                    <a:pt x="1866" y="16"/>
                  </a:cubicBezTo>
                  <a:lnTo>
                    <a:pt x="1854" y="16"/>
                  </a:lnTo>
                  <a:cubicBezTo>
                    <a:pt x="1836" y="27"/>
                    <a:pt x="1816" y="32"/>
                    <a:pt x="1796" y="32"/>
                  </a:cubicBezTo>
                  <a:cubicBezTo>
                    <a:pt x="1775" y="32"/>
                    <a:pt x="1755" y="27"/>
                    <a:pt x="1737" y="16"/>
                  </a:cubicBezTo>
                  <a:cubicBezTo>
                    <a:pt x="1726" y="16"/>
                    <a:pt x="1703" y="4"/>
                    <a:pt x="1689" y="4"/>
                  </a:cubicBezTo>
                  <a:cubicBezTo>
                    <a:pt x="1683" y="2"/>
                    <a:pt x="1677" y="0"/>
                    <a:pt x="167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" name="Google Shape;184;p17">
              <a:extLst>
                <a:ext uri="{FF2B5EF4-FFF2-40B4-BE49-F238E27FC236}">
                  <a16:creationId xmlns:a16="http://schemas.microsoft.com/office/drawing/2014/main" xmlns="" id="{29DED33C-E1E2-1047-9AF3-D46320C3A177}"/>
                </a:ext>
              </a:extLst>
            </p:cNvPr>
            <p:cNvSpPr/>
            <p:nvPr/>
          </p:nvSpPr>
          <p:spPr>
            <a:xfrm>
              <a:off x="1433019" y="1118685"/>
              <a:ext cx="599199" cy="612585"/>
            </a:xfrm>
            <a:custGeom>
              <a:avLst/>
              <a:gdLst/>
              <a:ahLst/>
              <a:cxnLst/>
              <a:rect l="l" t="t" r="r" b="b"/>
              <a:pathLst>
                <a:path w="2599" h="2657" extrusionOk="0">
                  <a:moveTo>
                    <a:pt x="1712" y="48"/>
                  </a:moveTo>
                  <a:lnTo>
                    <a:pt x="1723" y="59"/>
                  </a:lnTo>
                  <a:cubicBezTo>
                    <a:pt x="1723" y="59"/>
                    <a:pt x="1749" y="59"/>
                    <a:pt x="1760" y="70"/>
                  </a:cubicBezTo>
                  <a:cubicBezTo>
                    <a:pt x="1782" y="81"/>
                    <a:pt x="1807" y="81"/>
                    <a:pt x="1830" y="81"/>
                  </a:cubicBezTo>
                  <a:cubicBezTo>
                    <a:pt x="1848" y="81"/>
                    <a:pt x="1868" y="81"/>
                    <a:pt x="1887" y="69"/>
                  </a:cubicBezTo>
                  <a:lnTo>
                    <a:pt x="1887" y="69"/>
                  </a:lnTo>
                  <a:cubicBezTo>
                    <a:pt x="1898" y="81"/>
                    <a:pt x="1911" y="96"/>
                    <a:pt x="1911" y="106"/>
                  </a:cubicBezTo>
                  <a:lnTo>
                    <a:pt x="1922" y="106"/>
                  </a:lnTo>
                  <a:cubicBezTo>
                    <a:pt x="1922" y="118"/>
                    <a:pt x="1933" y="140"/>
                    <a:pt x="1933" y="151"/>
                  </a:cubicBezTo>
                  <a:lnTo>
                    <a:pt x="1933" y="162"/>
                  </a:lnTo>
                  <a:cubicBezTo>
                    <a:pt x="1933" y="162"/>
                    <a:pt x="1922" y="176"/>
                    <a:pt x="1911" y="176"/>
                  </a:cubicBezTo>
                  <a:lnTo>
                    <a:pt x="1818" y="176"/>
                  </a:lnTo>
                  <a:cubicBezTo>
                    <a:pt x="1807" y="176"/>
                    <a:pt x="1793" y="176"/>
                    <a:pt x="1782" y="187"/>
                  </a:cubicBezTo>
                  <a:cubicBezTo>
                    <a:pt x="1771" y="187"/>
                    <a:pt x="1749" y="199"/>
                    <a:pt x="1737" y="210"/>
                  </a:cubicBezTo>
                  <a:cubicBezTo>
                    <a:pt x="1737" y="221"/>
                    <a:pt x="1723" y="232"/>
                    <a:pt x="1723" y="246"/>
                  </a:cubicBezTo>
                  <a:cubicBezTo>
                    <a:pt x="1723" y="269"/>
                    <a:pt x="1737" y="280"/>
                    <a:pt x="1737" y="291"/>
                  </a:cubicBezTo>
                  <a:cubicBezTo>
                    <a:pt x="1749" y="302"/>
                    <a:pt x="1749" y="316"/>
                    <a:pt x="1760" y="316"/>
                  </a:cubicBezTo>
                  <a:lnTo>
                    <a:pt x="1760" y="327"/>
                  </a:lnTo>
                  <a:lnTo>
                    <a:pt x="1760" y="350"/>
                  </a:lnTo>
                  <a:cubicBezTo>
                    <a:pt x="1749" y="361"/>
                    <a:pt x="1749" y="372"/>
                    <a:pt x="1749" y="386"/>
                  </a:cubicBezTo>
                  <a:cubicBezTo>
                    <a:pt x="1749" y="397"/>
                    <a:pt x="1749" y="408"/>
                    <a:pt x="1760" y="419"/>
                  </a:cubicBezTo>
                  <a:cubicBezTo>
                    <a:pt x="1771" y="431"/>
                    <a:pt x="1771" y="442"/>
                    <a:pt x="1782" y="442"/>
                  </a:cubicBezTo>
                  <a:cubicBezTo>
                    <a:pt x="1793" y="442"/>
                    <a:pt x="1807" y="456"/>
                    <a:pt x="1807" y="456"/>
                  </a:cubicBezTo>
                  <a:lnTo>
                    <a:pt x="1830" y="456"/>
                  </a:lnTo>
                  <a:cubicBezTo>
                    <a:pt x="1841" y="456"/>
                    <a:pt x="1841" y="467"/>
                    <a:pt x="1852" y="478"/>
                  </a:cubicBezTo>
                  <a:cubicBezTo>
                    <a:pt x="1852" y="489"/>
                    <a:pt x="1852" y="512"/>
                    <a:pt x="1863" y="537"/>
                  </a:cubicBezTo>
                  <a:cubicBezTo>
                    <a:pt x="1863" y="570"/>
                    <a:pt x="1863" y="596"/>
                    <a:pt x="1888" y="629"/>
                  </a:cubicBezTo>
                  <a:cubicBezTo>
                    <a:pt x="1911" y="640"/>
                    <a:pt x="1922" y="652"/>
                    <a:pt x="1947" y="666"/>
                  </a:cubicBezTo>
                  <a:cubicBezTo>
                    <a:pt x="1981" y="666"/>
                    <a:pt x="2017" y="677"/>
                    <a:pt x="2039" y="677"/>
                  </a:cubicBezTo>
                  <a:cubicBezTo>
                    <a:pt x="2051" y="677"/>
                    <a:pt x="2051" y="688"/>
                    <a:pt x="2062" y="688"/>
                  </a:cubicBezTo>
                  <a:cubicBezTo>
                    <a:pt x="2062" y="688"/>
                    <a:pt x="2073" y="699"/>
                    <a:pt x="2073" y="710"/>
                  </a:cubicBezTo>
                  <a:cubicBezTo>
                    <a:pt x="2073" y="721"/>
                    <a:pt x="2073" y="721"/>
                    <a:pt x="2062" y="735"/>
                  </a:cubicBezTo>
                  <a:cubicBezTo>
                    <a:pt x="2062" y="758"/>
                    <a:pt x="2039" y="769"/>
                    <a:pt x="2028" y="780"/>
                  </a:cubicBezTo>
                  <a:cubicBezTo>
                    <a:pt x="2017" y="805"/>
                    <a:pt x="2003" y="828"/>
                    <a:pt x="2003" y="850"/>
                  </a:cubicBezTo>
                  <a:cubicBezTo>
                    <a:pt x="2003" y="861"/>
                    <a:pt x="2017" y="861"/>
                    <a:pt x="2017" y="875"/>
                  </a:cubicBezTo>
                  <a:cubicBezTo>
                    <a:pt x="2028" y="898"/>
                    <a:pt x="2039" y="920"/>
                    <a:pt x="2062" y="931"/>
                  </a:cubicBezTo>
                  <a:lnTo>
                    <a:pt x="2073" y="945"/>
                  </a:lnTo>
                  <a:lnTo>
                    <a:pt x="2073" y="956"/>
                  </a:lnTo>
                  <a:cubicBezTo>
                    <a:pt x="2073" y="968"/>
                    <a:pt x="2073" y="979"/>
                    <a:pt x="2062" y="990"/>
                  </a:cubicBezTo>
                  <a:cubicBezTo>
                    <a:pt x="2051" y="1001"/>
                    <a:pt x="2051" y="1026"/>
                    <a:pt x="2051" y="1049"/>
                  </a:cubicBezTo>
                  <a:cubicBezTo>
                    <a:pt x="2051" y="1085"/>
                    <a:pt x="2062" y="1119"/>
                    <a:pt x="2087" y="1141"/>
                  </a:cubicBezTo>
                  <a:cubicBezTo>
                    <a:pt x="2109" y="1166"/>
                    <a:pt x="2143" y="1188"/>
                    <a:pt x="2179" y="1188"/>
                  </a:cubicBezTo>
                  <a:lnTo>
                    <a:pt x="2249" y="1188"/>
                  </a:lnTo>
                  <a:lnTo>
                    <a:pt x="2249" y="1200"/>
                  </a:lnTo>
                  <a:cubicBezTo>
                    <a:pt x="2260" y="1211"/>
                    <a:pt x="2260" y="1211"/>
                    <a:pt x="2260" y="1225"/>
                  </a:cubicBezTo>
                  <a:cubicBezTo>
                    <a:pt x="2271" y="1247"/>
                    <a:pt x="2297" y="1258"/>
                    <a:pt x="2319" y="1270"/>
                  </a:cubicBezTo>
                  <a:lnTo>
                    <a:pt x="2422" y="1270"/>
                  </a:lnTo>
                  <a:lnTo>
                    <a:pt x="2422" y="1281"/>
                  </a:lnTo>
                  <a:lnTo>
                    <a:pt x="2436" y="1281"/>
                  </a:lnTo>
                  <a:cubicBezTo>
                    <a:pt x="2436" y="1295"/>
                    <a:pt x="2422" y="1306"/>
                    <a:pt x="2422" y="1317"/>
                  </a:cubicBezTo>
                  <a:lnTo>
                    <a:pt x="2422" y="1351"/>
                  </a:lnTo>
                  <a:lnTo>
                    <a:pt x="2422" y="1376"/>
                  </a:lnTo>
                  <a:cubicBezTo>
                    <a:pt x="2436" y="1398"/>
                    <a:pt x="2448" y="1421"/>
                    <a:pt x="2459" y="1421"/>
                  </a:cubicBezTo>
                  <a:cubicBezTo>
                    <a:pt x="2481" y="1435"/>
                    <a:pt x="2492" y="1446"/>
                    <a:pt x="2506" y="1457"/>
                  </a:cubicBezTo>
                  <a:cubicBezTo>
                    <a:pt x="2529" y="1479"/>
                    <a:pt x="2551" y="1516"/>
                    <a:pt x="2551" y="1549"/>
                  </a:cubicBezTo>
                  <a:cubicBezTo>
                    <a:pt x="2551" y="1574"/>
                    <a:pt x="2540" y="1608"/>
                    <a:pt x="2518" y="1619"/>
                  </a:cubicBezTo>
                  <a:cubicBezTo>
                    <a:pt x="2506" y="1644"/>
                    <a:pt x="2492" y="1655"/>
                    <a:pt x="2481" y="1667"/>
                  </a:cubicBezTo>
                  <a:cubicBezTo>
                    <a:pt x="2459" y="1678"/>
                    <a:pt x="2448" y="1689"/>
                    <a:pt x="2436" y="1714"/>
                  </a:cubicBezTo>
                  <a:cubicBezTo>
                    <a:pt x="2422" y="1725"/>
                    <a:pt x="2411" y="1748"/>
                    <a:pt x="2411" y="1759"/>
                  </a:cubicBezTo>
                  <a:cubicBezTo>
                    <a:pt x="2411" y="1767"/>
                    <a:pt x="2417" y="1777"/>
                    <a:pt x="2421" y="1786"/>
                  </a:cubicBezTo>
                  <a:lnTo>
                    <a:pt x="2421" y="1786"/>
                  </a:lnTo>
                  <a:cubicBezTo>
                    <a:pt x="2410" y="1798"/>
                    <a:pt x="2400" y="1819"/>
                    <a:pt x="2400" y="1840"/>
                  </a:cubicBezTo>
                  <a:lnTo>
                    <a:pt x="2400" y="1854"/>
                  </a:lnTo>
                  <a:lnTo>
                    <a:pt x="2400" y="1865"/>
                  </a:lnTo>
                  <a:lnTo>
                    <a:pt x="2389" y="1876"/>
                  </a:lnTo>
                  <a:cubicBezTo>
                    <a:pt x="2378" y="1888"/>
                    <a:pt x="2378" y="1899"/>
                    <a:pt x="2378" y="1899"/>
                  </a:cubicBezTo>
                  <a:lnTo>
                    <a:pt x="2378" y="1935"/>
                  </a:lnTo>
                  <a:lnTo>
                    <a:pt x="2389" y="1946"/>
                  </a:lnTo>
                  <a:lnTo>
                    <a:pt x="2378" y="1957"/>
                  </a:lnTo>
                  <a:cubicBezTo>
                    <a:pt x="2378" y="1969"/>
                    <a:pt x="2367" y="1969"/>
                    <a:pt x="2367" y="1980"/>
                  </a:cubicBezTo>
                  <a:cubicBezTo>
                    <a:pt x="2330" y="2005"/>
                    <a:pt x="2308" y="2039"/>
                    <a:pt x="2271" y="2064"/>
                  </a:cubicBezTo>
                  <a:cubicBezTo>
                    <a:pt x="2260" y="2086"/>
                    <a:pt x="2227" y="2097"/>
                    <a:pt x="2190" y="2120"/>
                  </a:cubicBezTo>
                  <a:cubicBezTo>
                    <a:pt x="2179" y="2134"/>
                    <a:pt x="2157" y="2145"/>
                    <a:pt x="2143" y="2156"/>
                  </a:cubicBezTo>
                  <a:cubicBezTo>
                    <a:pt x="2132" y="2178"/>
                    <a:pt x="2120" y="2190"/>
                    <a:pt x="2120" y="2226"/>
                  </a:cubicBezTo>
                  <a:lnTo>
                    <a:pt x="2120" y="2248"/>
                  </a:lnTo>
                  <a:lnTo>
                    <a:pt x="2120" y="2259"/>
                  </a:lnTo>
                  <a:cubicBezTo>
                    <a:pt x="2109" y="2273"/>
                    <a:pt x="2087" y="2273"/>
                    <a:pt x="2073" y="2285"/>
                  </a:cubicBezTo>
                  <a:cubicBezTo>
                    <a:pt x="2062" y="2285"/>
                    <a:pt x="2051" y="2285"/>
                    <a:pt x="2039" y="2296"/>
                  </a:cubicBezTo>
                  <a:cubicBezTo>
                    <a:pt x="2028" y="2296"/>
                    <a:pt x="2017" y="2307"/>
                    <a:pt x="2017" y="2318"/>
                  </a:cubicBezTo>
                  <a:cubicBezTo>
                    <a:pt x="2003" y="2329"/>
                    <a:pt x="2003" y="2343"/>
                    <a:pt x="2003" y="2343"/>
                  </a:cubicBezTo>
                  <a:cubicBezTo>
                    <a:pt x="1992" y="2354"/>
                    <a:pt x="1992" y="2354"/>
                    <a:pt x="1981" y="2354"/>
                  </a:cubicBezTo>
                  <a:lnTo>
                    <a:pt x="1969" y="2354"/>
                  </a:lnTo>
                  <a:lnTo>
                    <a:pt x="1958" y="2366"/>
                  </a:lnTo>
                  <a:lnTo>
                    <a:pt x="1958" y="2377"/>
                  </a:lnTo>
                  <a:cubicBezTo>
                    <a:pt x="1958" y="2388"/>
                    <a:pt x="1969" y="2399"/>
                    <a:pt x="1969" y="2413"/>
                  </a:cubicBezTo>
                  <a:cubicBezTo>
                    <a:pt x="1969" y="2413"/>
                    <a:pt x="1981" y="2424"/>
                    <a:pt x="1992" y="2424"/>
                  </a:cubicBezTo>
                  <a:cubicBezTo>
                    <a:pt x="2003" y="2424"/>
                    <a:pt x="2017" y="2436"/>
                    <a:pt x="2017" y="2436"/>
                  </a:cubicBezTo>
                  <a:cubicBezTo>
                    <a:pt x="2028" y="2436"/>
                    <a:pt x="2039" y="2447"/>
                    <a:pt x="2039" y="2469"/>
                  </a:cubicBezTo>
                  <a:cubicBezTo>
                    <a:pt x="2039" y="2483"/>
                    <a:pt x="2028" y="2494"/>
                    <a:pt x="2028" y="2517"/>
                  </a:cubicBezTo>
                  <a:cubicBezTo>
                    <a:pt x="2028" y="2539"/>
                    <a:pt x="2039" y="2553"/>
                    <a:pt x="2051" y="2553"/>
                  </a:cubicBezTo>
                  <a:lnTo>
                    <a:pt x="2051" y="2564"/>
                  </a:lnTo>
                  <a:cubicBezTo>
                    <a:pt x="2051" y="2575"/>
                    <a:pt x="2051" y="2575"/>
                    <a:pt x="2039" y="2575"/>
                  </a:cubicBezTo>
                  <a:cubicBezTo>
                    <a:pt x="2039" y="2575"/>
                    <a:pt x="2039" y="2587"/>
                    <a:pt x="2028" y="2587"/>
                  </a:cubicBezTo>
                  <a:lnTo>
                    <a:pt x="2017" y="2587"/>
                  </a:lnTo>
                  <a:lnTo>
                    <a:pt x="2003" y="2575"/>
                  </a:lnTo>
                  <a:cubicBezTo>
                    <a:pt x="1981" y="2564"/>
                    <a:pt x="1958" y="2553"/>
                    <a:pt x="1922" y="2553"/>
                  </a:cubicBezTo>
                  <a:lnTo>
                    <a:pt x="1900" y="2553"/>
                  </a:lnTo>
                  <a:cubicBezTo>
                    <a:pt x="1888" y="2553"/>
                    <a:pt x="1877" y="2564"/>
                    <a:pt x="1863" y="2564"/>
                  </a:cubicBezTo>
                  <a:cubicBezTo>
                    <a:pt x="1852" y="2575"/>
                    <a:pt x="1841" y="2575"/>
                    <a:pt x="1830" y="2575"/>
                  </a:cubicBezTo>
                  <a:cubicBezTo>
                    <a:pt x="1818" y="2575"/>
                    <a:pt x="1807" y="2564"/>
                    <a:pt x="1793" y="2553"/>
                  </a:cubicBezTo>
                  <a:cubicBezTo>
                    <a:pt x="1782" y="2539"/>
                    <a:pt x="1771" y="2528"/>
                    <a:pt x="1749" y="2517"/>
                  </a:cubicBezTo>
                  <a:lnTo>
                    <a:pt x="1737" y="2517"/>
                  </a:lnTo>
                  <a:cubicBezTo>
                    <a:pt x="1701" y="2517"/>
                    <a:pt x="1679" y="2528"/>
                    <a:pt x="1667" y="2539"/>
                  </a:cubicBezTo>
                  <a:cubicBezTo>
                    <a:pt x="1642" y="2553"/>
                    <a:pt x="1631" y="2564"/>
                    <a:pt x="1620" y="2564"/>
                  </a:cubicBezTo>
                  <a:cubicBezTo>
                    <a:pt x="1609" y="2564"/>
                    <a:pt x="1609" y="2564"/>
                    <a:pt x="1598" y="2553"/>
                  </a:cubicBezTo>
                  <a:cubicBezTo>
                    <a:pt x="1584" y="2553"/>
                    <a:pt x="1572" y="2539"/>
                    <a:pt x="1561" y="2528"/>
                  </a:cubicBezTo>
                  <a:cubicBezTo>
                    <a:pt x="1550" y="2517"/>
                    <a:pt x="1539" y="2505"/>
                    <a:pt x="1514" y="2494"/>
                  </a:cubicBezTo>
                  <a:lnTo>
                    <a:pt x="1458" y="2494"/>
                  </a:lnTo>
                  <a:cubicBezTo>
                    <a:pt x="1444" y="2494"/>
                    <a:pt x="1433" y="2494"/>
                    <a:pt x="1433" y="2483"/>
                  </a:cubicBezTo>
                  <a:cubicBezTo>
                    <a:pt x="1421" y="2483"/>
                    <a:pt x="1410" y="2469"/>
                    <a:pt x="1388" y="2458"/>
                  </a:cubicBezTo>
                  <a:cubicBezTo>
                    <a:pt x="1374" y="2458"/>
                    <a:pt x="1351" y="2447"/>
                    <a:pt x="1340" y="2447"/>
                  </a:cubicBezTo>
                  <a:cubicBezTo>
                    <a:pt x="1304" y="2447"/>
                    <a:pt x="1259" y="2436"/>
                    <a:pt x="1212" y="2436"/>
                  </a:cubicBezTo>
                  <a:lnTo>
                    <a:pt x="1200" y="2436"/>
                  </a:lnTo>
                  <a:cubicBezTo>
                    <a:pt x="1189" y="2436"/>
                    <a:pt x="1178" y="2436"/>
                    <a:pt x="1164" y="2447"/>
                  </a:cubicBezTo>
                  <a:cubicBezTo>
                    <a:pt x="1153" y="2447"/>
                    <a:pt x="1153" y="2458"/>
                    <a:pt x="1153" y="2469"/>
                  </a:cubicBezTo>
                  <a:cubicBezTo>
                    <a:pt x="1142" y="2469"/>
                    <a:pt x="1142" y="2483"/>
                    <a:pt x="1142" y="2494"/>
                  </a:cubicBezTo>
                  <a:cubicBezTo>
                    <a:pt x="1142" y="2505"/>
                    <a:pt x="1142" y="2528"/>
                    <a:pt x="1153" y="2539"/>
                  </a:cubicBezTo>
                  <a:cubicBezTo>
                    <a:pt x="1153" y="2575"/>
                    <a:pt x="1131" y="2598"/>
                    <a:pt x="1094" y="2609"/>
                  </a:cubicBezTo>
                  <a:lnTo>
                    <a:pt x="1083" y="2609"/>
                  </a:lnTo>
                  <a:cubicBezTo>
                    <a:pt x="1061" y="2609"/>
                    <a:pt x="1024" y="2598"/>
                    <a:pt x="1013" y="2575"/>
                  </a:cubicBezTo>
                  <a:lnTo>
                    <a:pt x="1024" y="2575"/>
                  </a:lnTo>
                  <a:cubicBezTo>
                    <a:pt x="1013" y="2564"/>
                    <a:pt x="1013" y="2539"/>
                    <a:pt x="991" y="2528"/>
                  </a:cubicBezTo>
                  <a:cubicBezTo>
                    <a:pt x="980" y="2517"/>
                    <a:pt x="968" y="2517"/>
                    <a:pt x="954" y="2505"/>
                  </a:cubicBezTo>
                  <a:lnTo>
                    <a:pt x="932" y="2505"/>
                  </a:lnTo>
                  <a:cubicBezTo>
                    <a:pt x="910" y="2505"/>
                    <a:pt x="898" y="2505"/>
                    <a:pt x="885" y="2494"/>
                  </a:cubicBezTo>
                  <a:cubicBezTo>
                    <a:pt x="873" y="2494"/>
                    <a:pt x="873" y="2483"/>
                    <a:pt x="851" y="2469"/>
                  </a:cubicBezTo>
                  <a:lnTo>
                    <a:pt x="829" y="2469"/>
                  </a:lnTo>
                  <a:cubicBezTo>
                    <a:pt x="803" y="2469"/>
                    <a:pt x="792" y="2469"/>
                    <a:pt x="770" y="2483"/>
                  </a:cubicBezTo>
                  <a:cubicBezTo>
                    <a:pt x="759" y="2483"/>
                    <a:pt x="745" y="2494"/>
                    <a:pt x="734" y="2505"/>
                  </a:cubicBezTo>
                  <a:cubicBezTo>
                    <a:pt x="711" y="2517"/>
                    <a:pt x="689" y="2528"/>
                    <a:pt x="664" y="2528"/>
                  </a:cubicBezTo>
                  <a:cubicBezTo>
                    <a:pt x="641" y="2517"/>
                    <a:pt x="619" y="2505"/>
                    <a:pt x="619" y="2494"/>
                  </a:cubicBezTo>
                  <a:cubicBezTo>
                    <a:pt x="605" y="2483"/>
                    <a:pt x="605" y="2483"/>
                    <a:pt x="605" y="2469"/>
                  </a:cubicBezTo>
                  <a:cubicBezTo>
                    <a:pt x="605" y="2458"/>
                    <a:pt x="619" y="2436"/>
                    <a:pt x="619" y="2413"/>
                  </a:cubicBezTo>
                  <a:cubicBezTo>
                    <a:pt x="619" y="2413"/>
                    <a:pt x="605" y="2399"/>
                    <a:pt x="605" y="2388"/>
                  </a:cubicBezTo>
                  <a:cubicBezTo>
                    <a:pt x="594" y="2343"/>
                    <a:pt x="571" y="2329"/>
                    <a:pt x="549" y="2307"/>
                  </a:cubicBezTo>
                  <a:cubicBezTo>
                    <a:pt x="535" y="2296"/>
                    <a:pt x="524" y="2285"/>
                    <a:pt x="513" y="2273"/>
                  </a:cubicBezTo>
                  <a:cubicBezTo>
                    <a:pt x="513" y="2273"/>
                    <a:pt x="501" y="2259"/>
                    <a:pt x="501" y="2248"/>
                  </a:cubicBezTo>
                  <a:lnTo>
                    <a:pt x="501" y="2237"/>
                  </a:lnTo>
                  <a:lnTo>
                    <a:pt x="513" y="2237"/>
                  </a:lnTo>
                  <a:cubicBezTo>
                    <a:pt x="524" y="2237"/>
                    <a:pt x="524" y="2226"/>
                    <a:pt x="535" y="2226"/>
                  </a:cubicBezTo>
                  <a:cubicBezTo>
                    <a:pt x="560" y="2215"/>
                    <a:pt x="571" y="2203"/>
                    <a:pt x="583" y="2190"/>
                  </a:cubicBezTo>
                  <a:cubicBezTo>
                    <a:pt x="583" y="2178"/>
                    <a:pt x="594" y="2167"/>
                    <a:pt x="594" y="2156"/>
                  </a:cubicBezTo>
                  <a:cubicBezTo>
                    <a:pt x="605" y="2145"/>
                    <a:pt x="605" y="2120"/>
                    <a:pt x="605" y="2097"/>
                  </a:cubicBezTo>
                  <a:cubicBezTo>
                    <a:pt x="605" y="2086"/>
                    <a:pt x="605" y="2075"/>
                    <a:pt x="594" y="2064"/>
                  </a:cubicBezTo>
                  <a:cubicBezTo>
                    <a:pt x="594" y="2050"/>
                    <a:pt x="583" y="2039"/>
                    <a:pt x="571" y="2039"/>
                  </a:cubicBezTo>
                  <a:lnTo>
                    <a:pt x="513" y="2039"/>
                  </a:lnTo>
                  <a:cubicBezTo>
                    <a:pt x="490" y="2039"/>
                    <a:pt x="479" y="2027"/>
                    <a:pt x="465" y="2016"/>
                  </a:cubicBezTo>
                  <a:cubicBezTo>
                    <a:pt x="454" y="2005"/>
                    <a:pt x="454" y="2005"/>
                    <a:pt x="454" y="1994"/>
                  </a:cubicBezTo>
                  <a:cubicBezTo>
                    <a:pt x="443" y="1994"/>
                    <a:pt x="443" y="1980"/>
                    <a:pt x="443" y="1969"/>
                  </a:cubicBezTo>
                  <a:cubicBezTo>
                    <a:pt x="443" y="1957"/>
                    <a:pt x="443" y="1946"/>
                    <a:pt x="432" y="1924"/>
                  </a:cubicBezTo>
                  <a:cubicBezTo>
                    <a:pt x="420" y="1924"/>
                    <a:pt x="420" y="1910"/>
                    <a:pt x="409" y="1910"/>
                  </a:cubicBezTo>
                  <a:lnTo>
                    <a:pt x="409" y="1899"/>
                  </a:lnTo>
                  <a:lnTo>
                    <a:pt x="409" y="1888"/>
                  </a:lnTo>
                  <a:cubicBezTo>
                    <a:pt x="409" y="1876"/>
                    <a:pt x="420" y="1865"/>
                    <a:pt x="443" y="1854"/>
                  </a:cubicBezTo>
                  <a:cubicBezTo>
                    <a:pt x="454" y="1829"/>
                    <a:pt x="465" y="1806"/>
                    <a:pt x="465" y="1784"/>
                  </a:cubicBezTo>
                  <a:lnTo>
                    <a:pt x="465" y="1748"/>
                  </a:lnTo>
                  <a:cubicBezTo>
                    <a:pt x="454" y="1737"/>
                    <a:pt x="443" y="1725"/>
                    <a:pt x="432" y="1714"/>
                  </a:cubicBezTo>
                  <a:cubicBezTo>
                    <a:pt x="420" y="1700"/>
                    <a:pt x="420" y="1689"/>
                    <a:pt x="409" y="1689"/>
                  </a:cubicBezTo>
                  <a:cubicBezTo>
                    <a:pt x="395" y="1678"/>
                    <a:pt x="395" y="1655"/>
                    <a:pt x="395" y="1619"/>
                  </a:cubicBezTo>
                  <a:lnTo>
                    <a:pt x="395" y="1574"/>
                  </a:lnTo>
                  <a:cubicBezTo>
                    <a:pt x="384" y="1560"/>
                    <a:pt x="384" y="1538"/>
                    <a:pt x="373" y="1527"/>
                  </a:cubicBezTo>
                  <a:cubicBezTo>
                    <a:pt x="350" y="1516"/>
                    <a:pt x="339" y="1516"/>
                    <a:pt x="325" y="1504"/>
                  </a:cubicBezTo>
                  <a:cubicBezTo>
                    <a:pt x="303" y="1504"/>
                    <a:pt x="292" y="1504"/>
                    <a:pt x="292" y="1490"/>
                  </a:cubicBezTo>
                  <a:cubicBezTo>
                    <a:pt x="269" y="1490"/>
                    <a:pt x="255" y="1479"/>
                    <a:pt x="255" y="1468"/>
                  </a:cubicBezTo>
                  <a:cubicBezTo>
                    <a:pt x="244" y="1457"/>
                    <a:pt x="244" y="1446"/>
                    <a:pt x="233" y="1435"/>
                  </a:cubicBezTo>
                  <a:cubicBezTo>
                    <a:pt x="222" y="1409"/>
                    <a:pt x="199" y="1409"/>
                    <a:pt x="185" y="1398"/>
                  </a:cubicBezTo>
                  <a:cubicBezTo>
                    <a:pt x="174" y="1398"/>
                    <a:pt x="152" y="1387"/>
                    <a:pt x="141" y="1387"/>
                  </a:cubicBezTo>
                  <a:cubicBezTo>
                    <a:pt x="130" y="1387"/>
                    <a:pt x="116" y="1387"/>
                    <a:pt x="104" y="1398"/>
                  </a:cubicBezTo>
                  <a:cubicBezTo>
                    <a:pt x="93" y="1398"/>
                    <a:pt x="82" y="1398"/>
                    <a:pt x="82" y="1409"/>
                  </a:cubicBezTo>
                  <a:lnTo>
                    <a:pt x="71" y="1409"/>
                  </a:lnTo>
                  <a:cubicBezTo>
                    <a:pt x="82" y="1339"/>
                    <a:pt x="93" y="1281"/>
                    <a:pt x="93" y="1225"/>
                  </a:cubicBezTo>
                  <a:cubicBezTo>
                    <a:pt x="104" y="1211"/>
                    <a:pt x="104" y="1211"/>
                    <a:pt x="104" y="1200"/>
                  </a:cubicBezTo>
                  <a:cubicBezTo>
                    <a:pt x="104" y="1188"/>
                    <a:pt x="104" y="1177"/>
                    <a:pt x="116" y="1177"/>
                  </a:cubicBezTo>
                  <a:cubicBezTo>
                    <a:pt x="116" y="1177"/>
                    <a:pt x="130" y="1177"/>
                    <a:pt x="141" y="1166"/>
                  </a:cubicBezTo>
                  <a:cubicBezTo>
                    <a:pt x="141" y="1166"/>
                    <a:pt x="163" y="1166"/>
                    <a:pt x="174" y="1155"/>
                  </a:cubicBezTo>
                  <a:cubicBezTo>
                    <a:pt x="185" y="1141"/>
                    <a:pt x="185" y="1130"/>
                    <a:pt x="185" y="1119"/>
                  </a:cubicBezTo>
                  <a:cubicBezTo>
                    <a:pt x="199" y="1107"/>
                    <a:pt x="199" y="1107"/>
                    <a:pt x="199" y="1096"/>
                  </a:cubicBezTo>
                  <a:cubicBezTo>
                    <a:pt x="199" y="1096"/>
                    <a:pt x="222" y="1085"/>
                    <a:pt x="233" y="1085"/>
                  </a:cubicBezTo>
                  <a:lnTo>
                    <a:pt x="244" y="1085"/>
                  </a:lnTo>
                  <a:cubicBezTo>
                    <a:pt x="255" y="1096"/>
                    <a:pt x="269" y="1107"/>
                    <a:pt x="281" y="1119"/>
                  </a:cubicBezTo>
                  <a:cubicBezTo>
                    <a:pt x="292" y="1130"/>
                    <a:pt x="303" y="1130"/>
                    <a:pt x="314" y="1130"/>
                  </a:cubicBezTo>
                  <a:cubicBezTo>
                    <a:pt x="350" y="1130"/>
                    <a:pt x="384" y="1107"/>
                    <a:pt x="395" y="1085"/>
                  </a:cubicBezTo>
                  <a:cubicBezTo>
                    <a:pt x="420" y="1049"/>
                    <a:pt x="432" y="1015"/>
                    <a:pt x="432" y="979"/>
                  </a:cubicBezTo>
                  <a:cubicBezTo>
                    <a:pt x="432" y="968"/>
                    <a:pt x="443" y="956"/>
                    <a:pt x="443" y="956"/>
                  </a:cubicBezTo>
                  <a:lnTo>
                    <a:pt x="501" y="956"/>
                  </a:lnTo>
                  <a:cubicBezTo>
                    <a:pt x="513" y="956"/>
                    <a:pt x="535" y="956"/>
                    <a:pt x="549" y="945"/>
                  </a:cubicBezTo>
                  <a:cubicBezTo>
                    <a:pt x="571" y="945"/>
                    <a:pt x="583" y="920"/>
                    <a:pt x="583" y="898"/>
                  </a:cubicBezTo>
                  <a:cubicBezTo>
                    <a:pt x="594" y="886"/>
                    <a:pt x="594" y="861"/>
                    <a:pt x="594" y="850"/>
                  </a:cubicBezTo>
                  <a:lnTo>
                    <a:pt x="594" y="828"/>
                  </a:lnTo>
                  <a:cubicBezTo>
                    <a:pt x="583" y="769"/>
                    <a:pt x="583" y="710"/>
                    <a:pt x="583" y="652"/>
                  </a:cubicBezTo>
                  <a:cubicBezTo>
                    <a:pt x="583" y="629"/>
                    <a:pt x="571" y="607"/>
                    <a:pt x="571" y="596"/>
                  </a:cubicBezTo>
                  <a:cubicBezTo>
                    <a:pt x="560" y="570"/>
                    <a:pt x="549" y="548"/>
                    <a:pt x="524" y="537"/>
                  </a:cubicBezTo>
                  <a:cubicBezTo>
                    <a:pt x="513" y="526"/>
                    <a:pt x="501" y="512"/>
                    <a:pt x="490" y="501"/>
                  </a:cubicBezTo>
                  <a:cubicBezTo>
                    <a:pt x="479" y="489"/>
                    <a:pt x="479" y="478"/>
                    <a:pt x="479" y="467"/>
                  </a:cubicBezTo>
                  <a:cubicBezTo>
                    <a:pt x="479" y="456"/>
                    <a:pt x="479" y="442"/>
                    <a:pt x="465" y="431"/>
                  </a:cubicBezTo>
                  <a:cubicBezTo>
                    <a:pt x="465" y="408"/>
                    <a:pt x="443" y="386"/>
                    <a:pt x="432" y="386"/>
                  </a:cubicBezTo>
                  <a:lnTo>
                    <a:pt x="420" y="372"/>
                  </a:lnTo>
                  <a:lnTo>
                    <a:pt x="420" y="338"/>
                  </a:lnTo>
                  <a:cubicBezTo>
                    <a:pt x="432" y="338"/>
                    <a:pt x="432" y="327"/>
                    <a:pt x="443" y="316"/>
                  </a:cubicBezTo>
                  <a:cubicBezTo>
                    <a:pt x="454" y="291"/>
                    <a:pt x="454" y="269"/>
                    <a:pt x="465" y="246"/>
                  </a:cubicBezTo>
                  <a:lnTo>
                    <a:pt x="465" y="221"/>
                  </a:lnTo>
                  <a:cubicBezTo>
                    <a:pt x="465" y="221"/>
                    <a:pt x="479" y="221"/>
                    <a:pt x="479" y="210"/>
                  </a:cubicBezTo>
                  <a:lnTo>
                    <a:pt x="501" y="210"/>
                  </a:lnTo>
                  <a:cubicBezTo>
                    <a:pt x="560" y="210"/>
                    <a:pt x="605" y="221"/>
                    <a:pt x="664" y="232"/>
                  </a:cubicBezTo>
                  <a:lnTo>
                    <a:pt x="689" y="232"/>
                  </a:lnTo>
                  <a:cubicBezTo>
                    <a:pt x="734" y="232"/>
                    <a:pt x="792" y="221"/>
                    <a:pt x="840" y="187"/>
                  </a:cubicBezTo>
                  <a:cubicBezTo>
                    <a:pt x="851" y="176"/>
                    <a:pt x="851" y="176"/>
                    <a:pt x="862" y="162"/>
                  </a:cubicBezTo>
                  <a:lnTo>
                    <a:pt x="873" y="162"/>
                  </a:lnTo>
                  <a:cubicBezTo>
                    <a:pt x="873" y="162"/>
                    <a:pt x="885" y="176"/>
                    <a:pt x="898" y="176"/>
                  </a:cubicBezTo>
                  <a:cubicBezTo>
                    <a:pt x="910" y="187"/>
                    <a:pt x="932" y="187"/>
                    <a:pt x="943" y="199"/>
                  </a:cubicBezTo>
                  <a:cubicBezTo>
                    <a:pt x="968" y="210"/>
                    <a:pt x="991" y="210"/>
                    <a:pt x="1013" y="210"/>
                  </a:cubicBezTo>
                  <a:cubicBezTo>
                    <a:pt x="1038" y="210"/>
                    <a:pt x="1072" y="210"/>
                    <a:pt x="1108" y="187"/>
                  </a:cubicBezTo>
                  <a:cubicBezTo>
                    <a:pt x="1142" y="176"/>
                    <a:pt x="1178" y="140"/>
                    <a:pt x="1200" y="118"/>
                  </a:cubicBezTo>
                  <a:cubicBezTo>
                    <a:pt x="1234" y="92"/>
                    <a:pt x="1259" y="81"/>
                    <a:pt x="1293" y="70"/>
                  </a:cubicBezTo>
                  <a:lnTo>
                    <a:pt x="1304" y="70"/>
                  </a:lnTo>
                  <a:cubicBezTo>
                    <a:pt x="1329" y="70"/>
                    <a:pt x="1363" y="92"/>
                    <a:pt x="1388" y="118"/>
                  </a:cubicBezTo>
                  <a:cubicBezTo>
                    <a:pt x="1399" y="129"/>
                    <a:pt x="1399" y="151"/>
                    <a:pt x="1421" y="176"/>
                  </a:cubicBezTo>
                  <a:cubicBezTo>
                    <a:pt x="1444" y="210"/>
                    <a:pt x="1480" y="221"/>
                    <a:pt x="1528" y="221"/>
                  </a:cubicBezTo>
                  <a:cubicBezTo>
                    <a:pt x="1550" y="221"/>
                    <a:pt x="1584" y="210"/>
                    <a:pt x="1609" y="187"/>
                  </a:cubicBezTo>
                  <a:cubicBezTo>
                    <a:pt x="1642" y="151"/>
                    <a:pt x="1653" y="118"/>
                    <a:pt x="1667" y="92"/>
                  </a:cubicBezTo>
                  <a:cubicBezTo>
                    <a:pt x="1667" y="81"/>
                    <a:pt x="1679" y="70"/>
                    <a:pt x="1690" y="59"/>
                  </a:cubicBezTo>
                  <a:cubicBezTo>
                    <a:pt x="1701" y="59"/>
                    <a:pt x="1712" y="48"/>
                    <a:pt x="1712" y="48"/>
                  </a:cubicBezTo>
                  <a:close/>
                  <a:moveTo>
                    <a:pt x="1712" y="0"/>
                  </a:moveTo>
                  <a:cubicBezTo>
                    <a:pt x="1690" y="0"/>
                    <a:pt x="1679" y="11"/>
                    <a:pt x="1667" y="22"/>
                  </a:cubicBezTo>
                  <a:cubicBezTo>
                    <a:pt x="1642" y="36"/>
                    <a:pt x="1631" y="59"/>
                    <a:pt x="1620" y="70"/>
                  </a:cubicBezTo>
                  <a:cubicBezTo>
                    <a:pt x="1609" y="106"/>
                    <a:pt x="1598" y="140"/>
                    <a:pt x="1572" y="151"/>
                  </a:cubicBezTo>
                  <a:cubicBezTo>
                    <a:pt x="1561" y="176"/>
                    <a:pt x="1539" y="176"/>
                    <a:pt x="1528" y="176"/>
                  </a:cubicBezTo>
                  <a:cubicBezTo>
                    <a:pt x="1491" y="176"/>
                    <a:pt x="1469" y="162"/>
                    <a:pt x="1458" y="151"/>
                  </a:cubicBezTo>
                  <a:cubicBezTo>
                    <a:pt x="1444" y="140"/>
                    <a:pt x="1433" y="118"/>
                    <a:pt x="1421" y="92"/>
                  </a:cubicBezTo>
                  <a:cubicBezTo>
                    <a:pt x="1399" y="48"/>
                    <a:pt x="1351" y="22"/>
                    <a:pt x="1304" y="22"/>
                  </a:cubicBezTo>
                  <a:lnTo>
                    <a:pt x="1293" y="22"/>
                  </a:lnTo>
                  <a:cubicBezTo>
                    <a:pt x="1248" y="36"/>
                    <a:pt x="1212" y="59"/>
                    <a:pt x="1178" y="81"/>
                  </a:cubicBezTo>
                  <a:cubicBezTo>
                    <a:pt x="1142" y="106"/>
                    <a:pt x="1108" y="129"/>
                    <a:pt x="1083" y="151"/>
                  </a:cubicBezTo>
                  <a:cubicBezTo>
                    <a:pt x="1061" y="162"/>
                    <a:pt x="1038" y="162"/>
                    <a:pt x="1013" y="162"/>
                  </a:cubicBezTo>
                  <a:cubicBezTo>
                    <a:pt x="991" y="162"/>
                    <a:pt x="980" y="162"/>
                    <a:pt x="968" y="151"/>
                  </a:cubicBezTo>
                  <a:cubicBezTo>
                    <a:pt x="954" y="151"/>
                    <a:pt x="932" y="140"/>
                    <a:pt x="921" y="140"/>
                  </a:cubicBezTo>
                  <a:cubicBezTo>
                    <a:pt x="910" y="129"/>
                    <a:pt x="885" y="118"/>
                    <a:pt x="873" y="118"/>
                  </a:cubicBezTo>
                  <a:cubicBezTo>
                    <a:pt x="862" y="118"/>
                    <a:pt x="851" y="118"/>
                    <a:pt x="840" y="129"/>
                  </a:cubicBezTo>
                  <a:cubicBezTo>
                    <a:pt x="829" y="129"/>
                    <a:pt x="815" y="140"/>
                    <a:pt x="815" y="151"/>
                  </a:cubicBezTo>
                  <a:cubicBezTo>
                    <a:pt x="781" y="176"/>
                    <a:pt x="734" y="187"/>
                    <a:pt x="689" y="187"/>
                  </a:cubicBezTo>
                  <a:lnTo>
                    <a:pt x="675" y="187"/>
                  </a:lnTo>
                  <a:cubicBezTo>
                    <a:pt x="619" y="187"/>
                    <a:pt x="560" y="162"/>
                    <a:pt x="501" y="162"/>
                  </a:cubicBezTo>
                  <a:cubicBezTo>
                    <a:pt x="490" y="162"/>
                    <a:pt x="465" y="162"/>
                    <a:pt x="454" y="176"/>
                  </a:cubicBezTo>
                  <a:cubicBezTo>
                    <a:pt x="443" y="176"/>
                    <a:pt x="432" y="187"/>
                    <a:pt x="432" y="199"/>
                  </a:cubicBezTo>
                  <a:cubicBezTo>
                    <a:pt x="420" y="221"/>
                    <a:pt x="420" y="246"/>
                    <a:pt x="420" y="257"/>
                  </a:cubicBezTo>
                  <a:cubicBezTo>
                    <a:pt x="409" y="269"/>
                    <a:pt x="409" y="280"/>
                    <a:pt x="409" y="291"/>
                  </a:cubicBezTo>
                  <a:cubicBezTo>
                    <a:pt x="395" y="302"/>
                    <a:pt x="395" y="302"/>
                    <a:pt x="384" y="316"/>
                  </a:cubicBezTo>
                  <a:cubicBezTo>
                    <a:pt x="373" y="338"/>
                    <a:pt x="373" y="350"/>
                    <a:pt x="373" y="372"/>
                  </a:cubicBezTo>
                  <a:lnTo>
                    <a:pt x="373" y="397"/>
                  </a:lnTo>
                  <a:cubicBezTo>
                    <a:pt x="384" y="408"/>
                    <a:pt x="384" y="419"/>
                    <a:pt x="395" y="419"/>
                  </a:cubicBezTo>
                  <a:lnTo>
                    <a:pt x="409" y="419"/>
                  </a:lnTo>
                  <a:cubicBezTo>
                    <a:pt x="420" y="431"/>
                    <a:pt x="420" y="431"/>
                    <a:pt x="420" y="442"/>
                  </a:cubicBezTo>
                  <a:cubicBezTo>
                    <a:pt x="432" y="442"/>
                    <a:pt x="432" y="456"/>
                    <a:pt x="432" y="467"/>
                  </a:cubicBezTo>
                  <a:cubicBezTo>
                    <a:pt x="432" y="489"/>
                    <a:pt x="443" y="512"/>
                    <a:pt x="454" y="537"/>
                  </a:cubicBezTo>
                  <a:cubicBezTo>
                    <a:pt x="465" y="548"/>
                    <a:pt x="479" y="559"/>
                    <a:pt x="501" y="570"/>
                  </a:cubicBezTo>
                  <a:cubicBezTo>
                    <a:pt x="513" y="582"/>
                    <a:pt x="524" y="596"/>
                    <a:pt x="524" y="607"/>
                  </a:cubicBezTo>
                  <a:cubicBezTo>
                    <a:pt x="524" y="618"/>
                    <a:pt x="535" y="640"/>
                    <a:pt x="535" y="652"/>
                  </a:cubicBezTo>
                  <a:cubicBezTo>
                    <a:pt x="535" y="710"/>
                    <a:pt x="535" y="769"/>
                    <a:pt x="549" y="828"/>
                  </a:cubicBezTo>
                  <a:lnTo>
                    <a:pt x="549" y="850"/>
                  </a:lnTo>
                  <a:cubicBezTo>
                    <a:pt x="549" y="861"/>
                    <a:pt x="549" y="875"/>
                    <a:pt x="535" y="886"/>
                  </a:cubicBezTo>
                  <a:cubicBezTo>
                    <a:pt x="535" y="898"/>
                    <a:pt x="535" y="898"/>
                    <a:pt x="524" y="909"/>
                  </a:cubicBezTo>
                  <a:lnTo>
                    <a:pt x="432" y="909"/>
                  </a:lnTo>
                  <a:cubicBezTo>
                    <a:pt x="432" y="909"/>
                    <a:pt x="420" y="920"/>
                    <a:pt x="409" y="920"/>
                  </a:cubicBezTo>
                  <a:cubicBezTo>
                    <a:pt x="395" y="945"/>
                    <a:pt x="395" y="956"/>
                    <a:pt x="384" y="979"/>
                  </a:cubicBezTo>
                  <a:cubicBezTo>
                    <a:pt x="384" y="1015"/>
                    <a:pt x="373" y="1037"/>
                    <a:pt x="362" y="1060"/>
                  </a:cubicBezTo>
                  <a:cubicBezTo>
                    <a:pt x="350" y="1071"/>
                    <a:pt x="339" y="1085"/>
                    <a:pt x="314" y="1085"/>
                  </a:cubicBezTo>
                  <a:lnTo>
                    <a:pt x="303" y="1071"/>
                  </a:lnTo>
                  <a:cubicBezTo>
                    <a:pt x="303" y="1071"/>
                    <a:pt x="292" y="1060"/>
                    <a:pt x="281" y="1049"/>
                  </a:cubicBezTo>
                  <a:cubicBezTo>
                    <a:pt x="269" y="1037"/>
                    <a:pt x="244" y="1037"/>
                    <a:pt x="233" y="1037"/>
                  </a:cubicBezTo>
                  <a:cubicBezTo>
                    <a:pt x="199" y="1037"/>
                    <a:pt x="174" y="1049"/>
                    <a:pt x="152" y="1085"/>
                  </a:cubicBezTo>
                  <a:lnTo>
                    <a:pt x="152" y="1107"/>
                  </a:lnTo>
                  <a:lnTo>
                    <a:pt x="141" y="1119"/>
                  </a:lnTo>
                  <a:cubicBezTo>
                    <a:pt x="141" y="1119"/>
                    <a:pt x="130" y="1119"/>
                    <a:pt x="130" y="1130"/>
                  </a:cubicBezTo>
                  <a:cubicBezTo>
                    <a:pt x="116" y="1130"/>
                    <a:pt x="104" y="1130"/>
                    <a:pt x="93" y="1141"/>
                  </a:cubicBezTo>
                  <a:cubicBezTo>
                    <a:pt x="71" y="1155"/>
                    <a:pt x="60" y="1177"/>
                    <a:pt x="60" y="1188"/>
                  </a:cubicBezTo>
                  <a:cubicBezTo>
                    <a:pt x="60" y="1200"/>
                    <a:pt x="60" y="1200"/>
                    <a:pt x="46" y="1211"/>
                  </a:cubicBezTo>
                  <a:cubicBezTo>
                    <a:pt x="46" y="1270"/>
                    <a:pt x="34" y="1339"/>
                    <a:pt x="23" y="1398"/>
                  </a:cubicBezTo>
                  <a:lnTo>
                    <a:pt x="12" y="1409"/>
                  </a:lnTo>
                  <a:lnTo>
                    <a:pt x="1" y="1435"/>
                  </a:lnTo>
                  <a:lnTo>
                    <a:pt x="23" y="1446"/>
                  </a:lnTo>
                  <a:cubicBezTo>
                    <a:pt x="34" y="1457"/>
                    <a:pt x="46" y="1457"/>
                    <a:pt x="60" y="1457"/>
                  </a:cubicBezTo>
                  <a:cubicBezTo>
                    <a:pt x="71" y="1457"/>
                    <a:pt x="82" y="1457"/>
                    <a:pt x="93" y="1446"/>
                  </a:cubicBezTo>
                  <a:cubicBezTo>
                    <a:pt x="104" y="1446"/>
                    <a:pt x="116" y="1446"/>
                    <a:pt x="116" y="1435"/>
                  </a:cubicBezTo>
                  <a:lnTo>
                    <a:pt x="141" y="1435"/>
                  </a:lnTo>
                  <a:cubicBezTo>
                    <a:pt x="141" y="1435"/>
                    <a:pt x="152" y="1435"/>
                    <a:pt x="163" y="1446"/>
                  </a:cubicBezTo>
                  <a:cubicBezTo>
                    <a:pt x="185" y="1446"/>
                    <a:pt x="199" y="1457"/>
                    <a:pt x="199" y="1457"/>
                  </a:cubicBezTo>
                  <a:cubicBezTo>
                    <a:pt x="199" y="1468"/>
                    <a:pt x="211" y="1479"/>
                    <a:pt x="211" y="1490"/>
                  </a:cubicBezTo>
                  <a:cubicBezTo>
                    <a:pt x="222" y="1516"/>
                    <a:pt x="244" y="1527"/>
                    <a:pt x="269" y="1538"/>
                  </a:cubicBezTo>
                  <a:cubicBezTo>
                    <a:pt x="281" y="1549"/>
                    <a:pt x="303" y="1549"/>
                    <a:pt x="314" y="1549"/>
                  </a:cubicBezTo>
                  <a:cubicBezTo>
                    <a:pt x="325" y="1549"/>
                    <a:pt x="325" y="1560"/>
                    <a:pt x="339" y="1560"/>
                  </a:cubicBezTo>
                  <a:cubicBezTo>
                    <a:pt x="339" y="1574"/>
                    <a:pt x="350" y="1574"/>
                    <a:pt x="350" y="1586"/>
                  </a:cubicBezTo>
                  <a:lnTo>
                    <a:pt x="350" y="1619"/>
                  </a:lnTo>
                  <a:cubicBezTo>
                    <a:pt x="350" y="1644"/>
                    <a:pt x="350" y="1678"/>
                    <a:pt x="373" y="1714"/>
                  </a:cubicBezTo>
                  <a:cubicBezTo>
                    <a:pt x="384" y="1725"/>
                    <a:pt x="395" y="1737"/>
                    <a:pt x="409" y="1748"/>
                  </a:cubicBezTo>
                  <a:cubicBezTo>
                    <a:pt x="420" y="1759"/>
                    <a:pt x="420" y="1759"/>
                    <a:pt x="420" y="1770"/>
                  </a:cubicBezTo>
                  <a:lnTo>
                    <a:pt x="420" y="1784"/>
                  </a:lnTo>
                  <a:cubicBezTo>
                    <a:pt x="420" y="1795"/>
                    <a:pt x="420" y="1806"/>
                    <a:pt x="409" y="1818"/>
                  </a:cubicBezTo>
                  <a:cubicBezTo>
                    <a:pt x="395" y="1829"/>
                    <a:pt x="384" y="1840"/>
                    <a:pt x="362" y="1865"/>
                  </a:cubicBezTo>
                  <a:lnTo>
                    <a:pt x="362" y="1899"/>
                  </a:lnTo>
                  <a:cubicBezTo>
                    <a:pt x="362" y="1910"/>
                    <a:pt x="362" y="1924"/>
                    <a:pt x="373" y="1935"/>
                  </a:cubicBezTo>
                  <a:cubicBezTo>
                    <a:pt x="373" y="1946"/>
                    <a:pt x="384" y="1946"/>
                    <a:pt x="384" y="1946"/>
                  </a:cubicBezTo>
                  <a:lnTo>
                    <a:pt x="395" y="1957"/>
                  </a:lnTo>
                  <a:lnTo>
                    <a:pt x="395" y="1969"/>
                  </a:lnTo>
                  <a:cubicBezTo>
                    <a:pt x="395" y="1980"/>
                    <a:pt x="395" y="1994"/>
                    <a:pt x="409" y="2005"/>
                  </a:cubicBezTo>
                  <a:cubicBezTo>
                    <a:pt x="409" y="2027"/>
                    <a:pt x="420" y="2039"/>
                    <a:pt x="432" y="2050"/>
                  </a:cubicBezTo>
                  <a:cubicBezTo>
                    <a:pt x="454" y="2075"/>
                    <a:pt x="479" y="2086"/>
                    <a:pt x="513" y="2086"/>
                  </a:cubicBezTo>
                  <a:lnTo>
                    <a:pt x="560" y="2086"/>
                  </a:lnTo>
                  <a:lnTo>
                    <a:pt x="560" y="2097"/>
                  </a:lnTo>
                  <a:cubicBezTo>
                    <a:pt x="560" y="2108"/>
                    <a:pt x="560" y="2120"/>
                    <a:pt x="549" y="2134"/>
                  </a:cubicBezTo>
                  <a:cubicBezTo>
                    <a:pt x="549" y="2145"/>
                    <a:pt x="549" y="2156"/>
                    <a:pt x="535" y="2167"/>
                  </a:cubicBezTo>
                  <a:cubicBezTo>
                    <a:pt x="535" y="2178"/>
                    <a:pt x="524" y="2178"/>
                    <a:pt x="524" y="2178"/>
                  </a:cubicBezTo>
                  <a:cubicBezTo>
                    <a:pt x="513" y="2190"/>
                    <a:pt x="513" y="2190"/>
                    <a:pt x="501" y="2190"/>
                  </a:cubicBezTo>
                  <a:cubicBezTo>
                    <a:pt x="490" y="2190"/>
                    <a:pt x="479" y="2190"/>
                    <a:pt x="465" y="2203"/>
                  </a:cubicBezTo>
                  <a:cubicBezTo>
                    <a:pt x="465" y="2215"/>
                    <a:pt x="454" y="2237"/>
                    <a:pt x="454" y="2248"/>
                  </a:cubicBezTo>
                  <a:lnTo>
                    <a:pt x="454" y="2259"/>
                  </a:lnTo>
                  <a:cubicBezTo>
                    <a:pt x="465" y="2273"/>
                    <a:pt x="465" y="2296"/>
                    <a:pt x="479" y="2307"/>
                  </a:cubicBezTo>
                  <a:cubicBezTo>
                    <a:pt x="501" y="2329"/>
                    <a:pt x="513" y="2343"/>
                    <a:pt x="535" y="2354"/>
                  </a:cubicBezTo>
                  <a:cubicBezTo>
                    <a:pt x="549" y="2366"/>
                    <a:pt x="560" y="2388"/>
                    <a:pt x="560" y="2399"/>
                  </a:cubicBezTo>
                  <a:cubicBezTo>
                    <a:pt x="571" y="2399"/>
                    <a:pt x="571" y="2413"/>
                    <a:pt x="571" y="2413"/>
                  </a:cubicBezTo>
                  <a:cubicBezTo>
                    <a:pt x="571" y="2436"/>
                    <a:pt x="560" y="2447"/>
                    <a:pt x="560" y="2469"/>
                  </a:cubicBezTo>
                  <a:cubicBezTo>
                    <a:pt x="560" y="2483"/>
                    <a:pt x="560" y="2494"/>
                    <a:pt x="571" y="2505"/>
                  </a:cubicBezTo>
                  <a:cubicBezTo>
                    <a:pt x="583" y="2553"/>
                    <a:pt x="630" y="2564"/>
                    <a:pt x="664" y="2575"/>
                  </a:cubicBezTo>
                  <a:cubicBezTo>
                    <a:pt x="700" y="2575"/>
                    <a:pt x="734" y="2553"/>
                    <a:pt x="759" y="2539"/>
                  </a:cubicBezTo>
                  <a:cubicBezTo>
                    <a:pt x="770" y="2539"/>
                    <a:pt x="781" y="2528"/>
                    <a:pt x="792" y="2517"/>
                  </a:cubicBezTo>
                  <a:lnTo>
                    <a:pt x="840" y="2517"/>
                  </a:lnTo>
                  <a:cubicBezTo>
                    <a:pt x="840" y="2517"/>
                    <a:pt x="851" y="2528"/>
                    <a:pt x="862" y="2539"/>
                  </a:cubicBezTo>
                  <a:cubicBezTo>
                    <a:pt x="885" y="2553"/>
                    <a:pt x="910" y="2553"/>
                    <a:pt x="921" y="2553"/>
                  </a:cubicBezTo>
                  <a:lnTo>
                    <a:pt x="943" y="2553"/>
                  </a:lnTo>
                  <a:cubicBezTo>
                    <a:pt x="954" y="2553"/>
                    <a:pt x="954" y="2564"/>
                    <a:pt x="954" y="2564"/>
                  </a:cubicBezTo>
                  <a:cubicBezTo>
                    <a:pt x="968" y="2564"/>
                    <a:pt x="968" y="2575"/>
                    <a:pt x="980" y="2598"/>
                  </a:cubicBezTo>
                  <a:cubicBezTo>
                    <a:pt x="1002" y="2634"/>
                    <a:pt x="1038" y="2656"/>
                    <a:pt x="1083" y="2656"/>
                  </a:cubicBezTo>
                  <a:lnTo>
                    <a:pt x="1119" y="2656"/>
                  </a:lnTo>
                  <a:cubicBezTo>
                    <a:pt x="1164" y="2634"/>
                    <a:pt x="1200" y="2587"/>
                    <a:pt x="1200" y="2539"/>
                  </a:cubicBezTo>
                  <a:lnTo>
                    <a:pt x="1200" y="2528"/>
                  </a:lnTo>
                  <a:cubicBezTo>
                    <a:pt x="1189" y="2517"/>
                    <a:pt x="1189" y="2505"/>
                    <a:pt x="1189" y="2494"/>
                  </a:cubicBezTo>
                  <a:lnTo>
                    <a:pt x="1189" y="2483"/>
                  </a:lnTo>
                  <a:lnTo>
                    <a:pt x="1212" y="2483"/>
                  </a:lnTo>
                  <a:cubicBezTo>
                    <a:pt x="1248" y="2483"/>
                    <a:pt x="1293" y="2494"/>
                    <a:pt x="1340" y="2494"/>
                  </a:cubicBezTo>
                  <a:cubicBezTo>
                    <a:pt x="1351" y="2494"/>
                    <a:pt x="1363" y="2494"/>
                    <a:pt x="1374" y="2505"/>
                  </a:cubicBezTo>
                  <a:cubicBezTo>
                    <a:pt x="1388" y="2505"/>
                    <a:pt x="1399" y="2517"/>
                    <a:pt x="1410" y="2528"/>
                  </a:cubicBezTo>
                  <a:cubicBezTo>
                    <a:pt x="1433" y="2539"/>
                    <a:pt x="1444" y="2539"/>
                    <a:pt x="1458" y="2539"/>
                  </a:cubicBezTo>
                  <a:lnTo>
                    <a:pt x="1502" y="2539"/>
                  </a:lnTo>
                  <a:cubicBezTo>
                    <a:pt x="1514" y="2539"/>
                    <a:pt x="1528" y="2553"/>
                    <a:pt x="1550" y="2575"/>
                  </a:cubicBezTo>
                  <a:lnTo>
                    <a:pt x="1572" y="2598"/>
                  </a:lnTo>
                  <a:cubicBezTo>
                    <a:pt x="1584" y="2598"/>
                    <a:pt x="1598" y="2609"/>
                    <a:pt x="1620" y="2609"/>
                  </a:cubicBezTo>
                  <a:cubicBezTo>
                    <a:pt x="1642" y="2609"/>
                    <a:pt x="1667" y="2598"/>
                    <a:pt x="1690" y="2587"/>
                  </a:cubicBezTo>
                  <a:cubicBezTo>
                    <a:pt x="1701" y="2575"/>
                    <a:pt x="1723" y="2564"/>
                    <a:pt x="1737" y="2564"/>
                  </a:cubicBezTo>
                  <a:cubicBezTo>
                    <a:pt x="1749" y="2564"/>
                    <a:pt x="1749" y="2575"/>
                    <a:pt x="1760" y="2587"/>
                  </a:cubicBezTo>
                  <a:cubicBezTo>
                    <a:pt x="1771" y="2598"/>
                    <a:pt x="1782" y="2609"/>
                    <a:pt x="1807" y="2623"/>
                  </a:cubicBezTo>
                  <a:lnTo>
                    <a:pt x="1830" y="2623"/>
                  </a:lnTo>
                  <a:cubicBezTo>
                    <a:pt x="1852" y="2623"/>
                    <a:pt x="1863" y="2623"/>
                    <a:pt x="1877" y="2609"/>
                  </a:cubicBezTo>
                  <a:cubicBezTo>
                    <a:pt x="1900" y="2598"/>
                    <a:pt x="1900" y="2598"/>
                    <a:pt x="1911" y="2598"/>
                  </a:cubicBezTo>
                  <a:lnTo>
                    <a:pt x="1922" y="2598"/>
                  </a:lnTo>
                  <a:cubicBezTo>
                    <a:pt x="1933" y="2598"/>
                    <a:pt x="1958" y="2609"/>
                    <a:pt x="1981" y="2609"/>
                  </a:cubicBezTo>
                  <a:cubicBezTo>
                    <a:pt x="1981" y="2623"/>
                    <a:pt x="1992" y="2623"/>
                    <a:pt x="1992" y="2623"/>
                  </a:cubicBezTo>
                  <a:cubicBezTo>
                    <a:pt x="2003" y="2634"/>
                    <a:pt x="2017" y="2634"/>
                    <a:pt x="2028" y="2634"/>
                  </a:cubicBezTo>
                  <a:lnTo>
                    <a:pt x="2051" y="2634"/>
                  </a:lnTo>
                  <a:cubicBezTo>
                    <a:pt x="2051" y="2623"/>
                    <a:pt x="2062" y="2623"/>
                    <a:pt x="2073" y="2609"/>
                  </a:cubicBezTo>
                  <a:cubicBezTo>
                    <a:pt x="2087" y="2598"/>
                    <a:pt x="2098" y="2587"/>
                    <a:pt x="2098" y="2564"/>
                  </a:cubicBezTo>
                  <a:cubicBezTo>
                    <a:pt x="2098" y="2553"/>
                    <a:pt x="2098" y="2539"/>
                    <a:pt x="2087" y="2539"/>
                  </a:cubicBezTo>
                  <a:lnTo>
                    <a:pt x="2087" y="2528"/>
                  </a:lnTo>
                  <a:cubicBezTo>
                    <a:pt x="2087" y="2517"/>
                    <a:pt x="2073" y="2517"/>
                    <a:pt x="2073" y="2517"/>
                  </a:cubicBezTo>
                  <a:cubicBezTo>
                    <a:pt x="2073" y="2505"/>
                    <a:pt x="2087" y="2505"/>
                    <a:pt x="2087" y="2483"/>
                  </a:cubicBezTo>
                  <a:lnTo>
                    <a:pt x="2087" y="2469"/>
                  </a:lnTo>
                  <a:cubicBezTo>
                    <a:pt x="2087" y="2436"/>
                    <a:pt x="2073" y="2399"/>
                    <a:pt x="2039" y="2388"/>
                  </a:cubicBezTo>
                  <a:cubicBezTo>
                    <a:pt x="2033" y="2388"/>
                    <a:pt x="2028" y="2388"/>
                    <a:pt x="2021" y="2386"/>
                  </a:cubicBezTo>
                  <a:lnTo>
                    <a:pt x="2021" y="2386"/>
                  </a:lnTo>
                  <a:cubicBezTo>
                    <a:pt x="2029" y="2381"/>
                    <a:pt x="2035" y="2374"/>
                    <a:pt x="2039" y="2366"/>
                  </a:cubicBezTo>
                  <a:cubicBezTo>
                    <a:pt x="2051" y="2354"/>
                    <a:pt x="2051" y="2343"/>
                    <a:pt x="2051" y="2343"/>
                  </a:cubicBezTo>
                  <a:cubicBezTo>
                    <a:pt x="2051" y="2343"/>
                    <a:pt x="2051" y="2329"/>
                    <a:pt x="2062" y="2329"/>
                  </a:cubicBezTo>
                  <a:cubicBezTo>
                    <a:pt x="2073" y="2329"/>
                    <a:pt x="2087" y="2318"/>
                    <a:pt x="2098" y="2318"/>
                  </a:cubicBezTo>
                  <a:cubicBezTo>
                    <a:pt x="2109" y="2318"/>
                    <a:pt x="2132" y="2307"/>
                    <a:pt x="2143" y="2307"/>
                  </a:cubicBezTo>
                  <a:cubicBezTo>
                    <a:pt x="2143" y="2296"/>
                    <a:pt x="2157" y="2296"/>
                    <a:pt x="2168" y="2285"/>
                  </a:cubicBezTo>
                  <a:lnTo>
                    <a:pt x="2168" y="2248"/>
                  </a:lnTo>
                  <a:lnTo>
                    <a:pt x="2168" y="2226"/>
                  </a:lnTo>
                  <a:cubicBezTo>
                    <a:pt x="2168" y="2215"/>
                    <a:pt x="2168" y="2203"/>
                    <a:pt x="2179" y="2190"/>
                  </a:cubicBezTo>
                  <a:cubicBezTo>
                    <a:pt x="2190" y="2178"/>
                    <a:pt x="2202" y="2167"/>
                    <a:pt x="2213" y="2167"/>
                  </a:cubicBezTo>
                  <a:cubicBezTo>
                    <a:pt x="2249" y="2145"/>
                    <a:pt x="2283" y="2120"/>
                    <a:pt x="2308" y="2097"/>
                  </a:cubicBezTo>
                  <a:cubicBezTo>
                    <a:pt x="2341" y="2075"/>
                    <a:pt x="2367" y="2039"/>
                    <a:pt x="2389" y="2016"/>
                  </a:cubicBezTo>
                  <a:cubicBezTo>
                    <a:pt x="2400" y="2005"/>
                    <a:pt x="2411" y="1994"/>
                    <a:pt x="2411" y="1980"/>
                  </a:cubicBezTo>
                  <a:cubicBezTo>
                    <a:pt x="2422" y="1969"/>
                    <a:pt x="2436" y="1957"/>
                    <a:pt x="2436" y="1946"/>
                  </a:cubicBezTo>
                  <a:lnTo>
                    <a:pt x="2436" y="1935"/>
                  </a:lnTo>
                  <a:cubicBezTo>
                    <a:pt x="2436" y="1935"/>
                    <a:pt x="2422" y="1924"/>
                    <a:pt x="2422" y="1910"/>
                  </a:cubicBezTo>
                  <a:lnTo>
                    <a:pt x="2422" y="1899"/>
                  </a:lnTo>
                  <a:cubicBezTo>
                    <a:pt x="2436" y="1899"/>
                    <a:pt x="2436" y="1899"/>
                    <a:pt x="2448" y="1888"/>
                  </a:cubicBezTo>
                  <a:lnTo>
                    <a:pt x="2448" y="1854"/>
                  </a:lnTo>
                  <a:lnTo>
                    <a:pt x="2448" y="1840"/>
                  </a:lnTo>
                  <a:cubicBezTo>
                    <a:pt x="2448" y="1829"/>
                    <a:pt x="2459" y="1818"/>
                    <a:pt x="2459" y="1806"/>
                  </a:cubicBezTo>
                  <a:lnTo>
                    <a:pt x="2470" y="1795"/>
                  </a:lnTo>
                  <a:lnTo>
                    <a:pt x="2470" y="1784"/>
                  </a:lnTo>
                  <a:cubicBezTo>
                    <a:pt x="2459" y="1770"/>
                    <a:pt x="2459" y="1770"/>
                    <a:pt x="2459" y="1759"/>
                  </a:cubicBezTo>
                  <a:cubicBezTo>
                    <a:pt x="2459" y="1759"/>
                    <a:pt x="2470" y="1748"/>
                    <a:pt x="2470" y="1737"/>
                  </a:cubicBezTo>
                  <a:cubicBezTo>
                    <a:pt x="2481" y="1725"/>
                    <a:pt x="2492" y="1714"/>
                    <a:pt x="2506" y="1700"/>
                  </a:cubicBezTo>
                  <a:cubicBezTo>
                    <a:pt x="2529" y="1689"/>
                    <a:pt x="2540" y="1678"/>
                    <a:pt x="2551" y="1655"/>
                  </a:cubicBezTo>
                  <a:cubicBezTo>
                    <a:pt x="2587" y="1630"/>
                    <a:pt x="2599" y="1586"/>
                    <a:pt x="2599" y="1549"/>
                  </a:cubicBezTo>
                  <a:cubicBezTo>
                    <a:pt x="2599" y="1504"/>
                    <a:pt x="2576" y="1446"/>
                    <a:pt x="2529" y="1421"/>
                  </a:cubicBezTo>
                  <a:cubicBezTo>
                    <a:pt x="2518" y="1409"/>
                    <a:pt x="2506" y="1398"/>
                    <a:pt x="2492" y="1387"/>
                  </a:cubicBezTo>
                  <a:cubicBezTo>
                    <a:pt x="2481" y="1387"/>
                    <a:pt x="2470" y="1376"/>
                    <a:pt x="2470" y="1365"/>
                  </a:cubicBezTo>
                  <a:lnTo>
                    <a:pt x="2470" y="1351"/>
                  </a:lnTo>
                  <a:lnTo>
                    <a:pt x="2470" y="1328"/>
                  </a:lnTo>
                  <a:cubicBezTo>
                    <a:pt x="2470" y="1317"/>
                    <a:pt x="2481" y="1295"/>
                    <a:pt x="2481" y="1281"/>
                  </a:cubicBezTo>
                  <a:cubicBezTo>
                    <a:pt x="2481" y="1281"/>
                    <a:pt x="2470" y="1270"/>
                    <a:pt x="2470" y="1258"/>
                  </a:cubicBezTo>
                  <a:cubicBezTo>
                    <a:pt x="2470" y="1247"/>
                    <a:pt x="2459" y="1236"/>
                    <a:pt x="2448" y="1236"/>
                  </a:cubicBezTo>
                  <a:cubicBezTo>
                    <a:pt x="2436" y="1225"/>
                    <a:pt x="2422" y="1225"/>
                    <a:pt x="2411" y="1225"/>
                  </a:cubicBezTo>
                  <a:lnTo>
                    <a:pt x="2330" y="1225"/>
                  </a:lnTo>
                  <a:cubicBezTo>
                    <a:pt x="2319" y="1211"/>
                    <a:pt x="2308" y="1211"/>
                    <a:pt x="2308" y="1200"/>
                  </a:cubicBezTo>
                  <a:lnTo>
                    <a:pt x="2297" y="1188"/>
                  </a:lnTo>
                  <a:cubicBezTo>
                    <a:pt x="2297" y="1177"/>
                    <a:pt x="2283" y="1166"/>
                    <a:pt x="2283" y="1155"/>
                  </a:cubicBezTo>
                  <a:cubicBezTo>
                    <a:pt x="2271" y="1155"/>
                    <a:pt x="2260" y="1141"/>
                    <a:pt x="2249" y="1141"/>
                  </a:cubicBezTo>
                  <a:lnTo>
                    <a:pt x="2179" y="1141"/>
                  </a:lnTo>
                  <a:cubicBezTo>
                    <a:pt x="2157" y="1141"/>
                    <a:pt x="2143" y="1130"/>
                    <a:pt x="2120" y="1107"/>
                  </a:cubicBezTo>
                  <a:cubicBezTo>
                    <a:pt x="2109" y="1096"/>
                    <a:pt x="2098" y="1071"/>
                    <a:pt x="2098" y="1049"/>
                  </a:cubicBezTo>
                  <a:cubicBezTo>
                    <a:pt x="2098" y="1037"/>
                    <a:pt x="2098" y="1015"/>
                    <a:pt x="2109" y="1015"/>
                  </a:cubicBezTo>
                  <a:cubicBezTo>
                    <a:pt x="2109" y="1001"/>
                    <a:pt x="2120" y="990"/>
                    <a:pt x="2120" y="968"/>
                  </a:cubicBezTo>
                  <a:lnTo>
                    <a:pt x="2120" y="956"/>
                  </a:lnTo>
                  <a:cubicBezTo>
                    <a:pt x="2120" y="945"/>
                    <a:pt x="2120" y="931"/>
                    <a:pt x="2109" y="920"/>
                  </a:cubicBezTo>
                  <a:cubicBezTo>
                    <a:pt x="2098" y="909"/>
                    <a:pt x="2087" y="898"/>
                    <a:pt x="2073" y="886"/>
                  </a:cubicBezTo>
                  <a:cubicBezTo>
                    <a:pt x="2062" y="875"/>
                    <a:pt x="2062" y="861"/>
                    <a:pt x="2062" y="861"/>
                  </a:cubicBezTo>
                  <a:lnTo>
                    <a:pt x="2051" y="850"/>
                  </a:lnTo>
                  <a:cubicBezTo>
                    <a:pt x="2051" y="839"/>
                    <a:pt x="2062" y="839"/>
                    <a:pt x="2062" y="828"/>
                  </a:cubicBezTo>
                  <a:cubicBezTo>
                    <a:pt x="2073" y="817"/>
                    <a:pt x="2087" y="791"/>
                    <a:pt x="2098" y="780"/>
                  </a:cubicBezTo>
                  <a:cubicBezTo>
                    <a:pt x="2109" y="758"/>
                    <a:pt x="2120" y="735"/>
                    <a:pt x="2120" y="710"/>
                  </a:cubicBezTo>
                  <a:lnTo>
                    <a:pt x="2120" y="699"/>
                  </a:lnTo>
                  <a:cubicBezTo>
                    <a:pt x="2109" y="677"/>
                    <a:pt x="2098" y="652"/>
                    <a:pt x="2073" y="640"/>
                  </a:cubicBezTo>
                  <a:cubicBezTo>
                    <a:pt x="2051" y="629"/>
                    <a:pt x="2017" y="629"/>
                    <a:pt x="1992" y="618"/>
                  </a:cubicBezTo>
                  <a:cubicBezTo>
                    <a:pt x="1958" y="618"/>
                    <a:pt x="1933" y="607"/>
                    <a:pt x="1922" y="596"/>
                  </a:cubicBezTo>
                  <a:cubicBezTo>
                    <a:pt x="1922" y="582"/>
                    <a:pt x="1911" y="570"/>
                    <a:pt x="1911" y="559"/>
                  </a:cubicBezTo>
                  <a:cubicBezTo>
                    <a:pt x="1911" y="537"/>
                    <a:pt x="1911" y="512"/>
                    <a:pt x="1900" y="489"/>
                  </a:cubicBezTo>
                  <a:cubicBezTo>
                    <a:pt x="1900" y="467"/>
                    <a:pt x="1900" y="456"/>
                    <a:pt x="1888" y="442"/>
                  </a:cubicBezTo>
                  <a:cubicBezTo>
                    <a:pt x="1877" y="431"/>
                    <a:pt x="1863" y="419"/>
                    <a:pt x="1841" y="408"/>
                  </a:cubicBezTo>
                  <a:lnTo>
                    <a:pt x="1807" y="408"/>
                  </a:lnTo>
                  <a:lnTo>
                    <a:pt x="1807" y="397"/>
                  </a:lnTo>
                  <a:lnTo>
                    <a:pt x="1793" y="397"/>
                  </a:lnTo>
                  <a:lnTo>
                    <a:pt x="1793" y="386"/>
                  </a:lnTo>
                  <a:lnTo>
                    <a:pt x="1793" y="361"/>
                  </a:lnTo>
                  <a:cubicBezTo>
                    <a:pt x="1807" y="350"/>
                    <a:pt x="1807" y="338"/>
                    <a:pt x="1807" y="327"/>
                  </a:cubicBezTo>
                  <a:cubicBezTo>
                    <a:pt x="1807" y="316"/>
                    <a:pt x="1807" y="316"/>
                    <a:pt x="1793" y="302"/>
                  </a:cubicBezTo>
                  <a:cubicBezTo>
                    <a:pt x="1793" y="291"/>
                    <a:pt x="1782" y="280"/>
                    <a:pt x="1782" y="269"/>
                  </a:cubicBezTo>
                  <a:cubicBezTo>
                    <a:pt x="1771" y="257"/>
                    <a:pt x="1771" y="246"/>
                    <a:pt x="1771" y="246"/>
                  </a:cubicBezTo>
                  <a:lnTo>
                    <a:pt x="1771" y="232"/>
                  </a:lnTo>
                  <a:lnTo>
                    <a:pt x="1793" y="232"/>
                  </a:lnTo>
                  <a:cubicBezTo>
                    <a:pt x="1793" y="221"/>
                    <a:pt x="1807" y="221"/>
                    <a:pt x="1818" y="221"/>
                  </a:cubicBezTo>
                  <a:lnTo>
                    <a:pt x="1933" y="221"/>
                  </a:lnTo>
                  <a:cubicBezTo>
                    <a:pt x="1947" y="210"/>
                    <a:pt x="1969" y="199"/>
                    <a:pt x="1969" y="176"/>
                  </a:cubicBezTo>
                  <a:cubicBezTo>
                    <a:pt x="1981" y="176"/>
                    <a:pt x="1981" y="162"/>
                    <a:pt x="1981" y="151"/>
                  </a:cubicBezTo>
                  <a:cubicBezTo>
                    <a:pt x="1981" y="118"/>
                    <a:pt x="1969" y="92"/>
                    <a:pt x="1958" y="70"/>
                  </a:cubicBezTo>
                  <a:cubicBezTo>
                    <a:pt x="1933" y="59"/>
                    <a:pt x="1922" y="48"/>
                    <a:pt x="1911" y="22"/>
                  </a:cubicBezTo>
                  <a:lnTo>
                    <a:pt x="1900" y="11"/>
                  </a:lnTo>
                  <a:lnTo>
                    <a:pt x="1877" y="22"/>
                  </a:lnTo>
                  <a:cubicBezTo>
                    <a:pt x="1863" y="36"/>
                    <a:pt x="1841" y="36"/>
                    <a:pt x="1830" y="36"/>
                  </a:cubicBezTo>
                  <a:cubicBezTo>
                    <a:pt x="1807" y="36"/>
                    <a:pt x="1793" y="36"/>
                    <a:pt x="1782" y="22"/>
                  </a:cubicBezTo>
                  <a:cubicBezTo>
                    <a:pt x="1771" y="22"/>
                    <a:pt x="1749" y="11"/>
                    <a:pt x="1723" y="11"/>
                  </a:cubicBezTo>
                  <a:cubicBezTo>
                    <a:pt x="1723" y="11"/>
                    <a:pt x="1723" y="0"/>
                    <a:pt x="171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85;p17">
              <a:extLst>
                <a:ext uri="{FF2B5EF4-FFF2-40B4-BE49-F238E27FC236}">
                  <a16:creationId xmlns:a16="http://schemas.microsoft.com/office/drawing/2014/main" xmlns="" id="{272BDBD4-85B7-3890-6434-3377B1034F1E}"/>
                </a:ext>
              </a:extLst>
            </p:cNvPr>
            <p:cNvSpPr/>
            <p:nvPr/>
          </p:nvSpPr>
          <p:spPr>
            <a:xfrm>
              <a:off x="2271303" y="2153180"/>
              <a:ext cx="762659" cy="617887"/>
            </a:xfrm>
            <a:custGeom>
              <a:avLst/>
              <a:gdLst/>
              <a:ahLst/>
              <a:cxnLst/>
              <a:rect l="l" t="t" r="r" b="b"/>
              <a:pathLst>
                <a:path w="3308" h="2680" extrusionOk="0">
                  <a:moveTo>
                    <a:pt x="955" y="1"/>
                  </a:moveTo>
                  <a:cubicBezTo>
                    <a:pt x="946" y="1"/>
                    <a:pt x="937" y="4"/>
                    <a:pt x="931" y="9"/>
                  </a:cubicBezTo>
                  <a:cubicBezTo>
                    <a:pt x="861" y="35"/>
                    <a:pt x="814" y="116"/>
                    <a:pt x="733" y="116"/>
                  </a:cubicBezTo>
                  <a:cubicBezTo>
                    <a:pt x="726" y="117"/>
                    <a:pt x="719" y="118"/>
                    <a:pt x="712" y="118"/>
                  </a:cubicBezTo>
                  <a:cubicBezTo>
                    <a:pt x="683" y="118"/>
                    <a:pt x="651" y="108"/>
                    <a:pt x="621" y="108"/>
                  </a:cubicBezTo>
                  <a:cubicBezTo>
                    <a:pt x="607" y="108"/>
                    <a:pt x="594" y="110"/>
                    <a:pt x="582" y="116"/>
                  </a:cubicBezTo>
                  <a:cubicBezTo>
                    <a:pt x="548" y="138"/>
                    <a:pt x="548" y="186"/>
                    <a:pt x="523" y="233"/>
                  </a:cubicBezTo>
                  <a:cubicBezTo>
                    <a:pt x="512" y="233"/>
                    <a:pt x="512" y="244"/>
                    <a:pt x="501" y="255"/>
                  </a:cubicBezTo>
                  <a:cubicBezTo>
                    <a:pt x="478" y="278"/>
                    <a:pt x="431" y="303"/>
                    <a:pt x="394" y="314"/>
                  </a:cubicBezTo>
                  <a:cubicBezTo>
                    <a:pt x="280" y="348"/>
                    <a:pt x="162" y="395"/>
                    <a:pt x="45" y="443"/>
                  </a:cubicBezTo>
                  <a:cubicBezTo>
                    <a:pt x="34" y="454"/>
                    <a:pt x="11" y="465"/>
                    <a:pt x="0" y="476"/>
                  </a:cubicBezTo>
                  <a:cubicBezTo>
                    <a:pt x="0" y="488"/>
                    <a:pt x="0" y="513"/>
                    <a:pt x="11" y="524"/>
                  </a:cubicBezTo>
                  <a:cubicBezTo>
                    <a:pt x="35" y="516"/>
                    <a:pt x="65" y="507"/>
                    <a:pt x="98" y="507"/>
                  </a:cubicBezTo>
                  <a:cubicBezTo>
                    <a:pt x="111" y="507"/>
                    <a:pt x="126" y="509"/>
                    <a:pt x="140" y="513"/>
                  </a:cubicBezTo>
                  <a:cubicBezTo>
                    <a:pt x="162" y="513"/>
                    <a:pt x="185" y="524"/>
                    <a:pt x="210" y="524"/>
                  </a:cubicBezTo>
                  <a:cubicBezTo>
                    <a:pt x="224" y="529"/>
                    <a:pt x="238" y="531"/>
                    <a:pt x="252" y="531"/>
                  </a:cubicBezTo>
                  <a:cubicBezTo>
                    <a:pt x="271" y="531"/>
                    <a:pt x="289" y="526"/>
                    <a:pt x="302" y="513"/>
                  </a:cubicBezTo>
                  <a:cubicBezTo>
                    <a:pt x="324" y="488"/>
                    <a:pt x="350" y="454"/>
                    <a:pt x="338" y="418"/>
                  </a:cubicBezTo>
                  <a:cubicBezTo>
                    <a:pt x="383" y="418"/>
                    <a:pt x="419" y="488"/>
                    <a:pt x="464" y="513"/>
                  </a:cubicBezTo>
                  <a:cubicBezTo>
                    <a:pt x="478" y="521"/>
                    <a:pt x="494" y="523"/>
                    <a:pt x="511" y="523"/>
                  </a:cubicBezTo>
                  <a:cubicBezTo>
                    <a:pt x="553" y="523"/>
                    <a:pt x="602" y="506"/>
                    <a:pt x="647" y="506"/>
                  </a:cubicBezTo>
                  <a:cubicBezTo>
                    <a:pt x="661" y="506"/>
                    <a:pt x="675" y="508"/>
                    <a:pt x="688" y="513"/>
                  </a:cubicBezTo>
                  <a:cubicBezTo>
                    <a:pt x="758" y="535"/>
                    <a:pt x="780" y="653"/>
                    <a:pt x="861" y="675"/>
                  </a:cubicBezTo>
                  <a:cubicBezTo>
                    <a:pt x="884" y="675"/>
                    <a:pt x="909" y="675"/>
                    <a:pt x="931" y="697"/>
                  </a:cubicBezTo>
                  <a:cubicBezTo>
                    <a:pt x="968" y="722"/>
                    <a:pt x="968" y="767"/>
                    <a:pt x="990" y="792"/>
                  </a:cubicBezTo>
                  <a:cubicBezTo>
                    <a:pt x="1023" y="826"/>
                    <a:pt x="1082" y="826"/>
                    <a:pt x="1118" y="848"/>
                  </a:cubicBezTo>
                  <a:cubicBezTo>
                    <a:pt x="1141" y="885"/>
                    <a:pt x="1141" y="932"/>
                    <a:pt x="1163" y="955"/>
                  </a:cubicBezTo>
                  <a:cubicBezTo>
                    <a:pt x="1177" y="955"/>
                    <a:pt x="1188" y="966"/>
                    <a:pt x="1200" y="966"/>
                  </a:cubicBezTo>
                  <a:cubicBezTo>
                    <a:pt x="1247" y="988"/>
                    <a:pt x="1222" y="1072"/>
                    <a:pt x="1269" y="1106"/>
                  </a:cubicBezTo>
                  <a:cubicBezTo>
                    <a:pt x="1292" y="1117"/>
                    <a:pt x="1328" y="1117"/>
                    <a:pt x="1351" y="1117"/>
                  </a:cubicBezTo>
                  <a:cubicBezTo>
                    <a:pt x="1443" y="1128"/>
                    <a:pt x="1502" y="1234"/>
                    <a:pt x="1479" y="1315"/>
                  </a:cubicBezTo>
                  <a:cubicBezTo>
                    <a:pt x="1479" y="1326"/>
                    <a:pt x="1479" y="1326"/>
                    <a:pt x="1468" y="1338"/>
                  </a:cubicBezTo>
                  <a:cubicBezTo>
                    <a:pt x="1457" y="1338"/>
                    <a:pt x="1443" y="1352"/>
                    <a:pt x="1432" y="1352"/>
                  </a:cubicBezTo>
                  <a:cubicBezTo>
                    <a:pt x="1432" y="1363"/>
                    <a:pt x="1420" y="1374"/>
                    <a:pt x="1420" y="1396"/>
                  </a:cubicBezTo>
                  <a:cubicBezTo>
                    <a:pt x="1420" y="1396"/>
                    <a:pt x="1420" y="1407"/>
                    <a:pt x="1432" y="1421"/>
                  </a:cubicBezTo>
                  <a:cubicBezTo>
                    <a:pt x="1457" y="1466"/>
                    <a:pt x="1490" y="1525"/>
                    <a:pt x="1538" y="1572"/>
                  </a:cubicBezTo>
                  <a:lnTo>
                    <a:pt x="1549" y="1561"/>
                  </a:lnTo>
                  <a:cubicBezTo>
                    <a:pt x="1583" y="1536"/>
                    <a:pt x="1630" y="1536"/>
                    <a:pt x="1678" y="1536"/>
                  </a:cubicBezTo>
                  <a:lnTo>
                    <a:pt x="1689" y="1536"/>
                  </a:lnTo>
                  <a:cubicBezTo>
                    <a:pt x="1700" y="1536"/>
                    <a:pt x="1722" y="1536"/>
                    <a:pt x="1736" y="1547"/>
                  </a:cubicBezTo>
                  <a:cubicBezTo>
                    <a:pt x="1759" y="1561"/>
                    <a:pt x="1770" y="1572"/>
                    <a:pt x="1781" y="1584"/>
                  </a:cubicBezTo>
                  <a:cubicBezTo>
                    <a:pt x="1787" y="1589"/>
                    <a:pt x="1799" y="1592"/>
                    <a:pt x="1811" y="1592"/>
                  </a:cubicBezTo>
                  <a:cubicBezTo>
                    <a:pt x="1822" y="1592"/>
                    <a:pt x="1834" y="1589"/>
                    <a:pt x="1840" y="1584"/>
                  </a:cubicBezTo>
                  <a:cubicBezTo>
                    <a:pt x="1840" y="1572"/>
                    <a:pt x="1840" y="1572"/>
                    <a:pt x="1851" y="1561"/>
                  </a:cubicBezTo>
                  <a:cubicBezTo>
                    <a:pt x="1855" y="1553"/>
                    <a:pt x="1862" y="1550"/>
                    <a:pt x="1870" y="1550"/>
                  </a:cubicBezTo>
                  <a:cubicBezTo>
                    <a:pt x="1890" y="1550"/>
                    <a:pt x="1917" y="1565"/>
                    <a:pt x="1932" y="1572"/>
                  </a:cubicBezTo>
                  <a:cubicBezTo>
                    <a:pt x="1965" y="1591"/>
                    <a:pt x="2000" y="1599"/>
                    <a:pt x="2036" y="1599"/>
                  </a:cubicBezTo>
                  <a:cubicBezTo>
                    <a:pt x="2065" y="1599"/>
                    <a:pt x="2093" y="1594"/>
                    <a:pt x="2120" y="1584"/>
                  </a:cubicBezTo>
                  <a:cubicBezTo>
                    <a:pt x="2145" y="1568"/>
                    <a:pt x="2175" y="1551"/>
                    <a:pt x="2203" y="1551"/>
                  </a:cubicBezTo>
                  <a:cubicBezTo>
                    <a:pt x="2215" y="1551"/>
                    <a:pt x="2226" y="1554"/>
                    <a:pt x="2237" y="1561"/>
                  </a:cubicBezTo>
                  <a:cubicBezTo>
                    <a:pt x="2271" y="1584"/>
                    <a:pt x="2259" y="1642"/>
                    <a:pt x="2237" y="1676"/>
                  </a:cubicBezTo>
                  <a:lnTo>
                    <a:pt x="2237" y="1701"/>
                  </a:lnTo>
                  <a:cubicBezTo>
                    <a:pt x="2237" y="1735"/>
                    <a:pt x="2259" y="1746"/>
                    <a:pt x="2296" y="1746"/>
                  </a:cubicBezTo>
                  <a:cubicBezTo>
                    <a:pt x="2318" y="1746"/>
                    <a:pt x="2352" y="1746"/>
                    <a:pt x="2366" y="1757"/>
                  </a:cubicBezTo>
                  <a:cubicBezTo>
                    <a:pt x="2377" y="1782"/>
                    <a:pt x="2377" y="1793"/>
                    <a:pt x="2377" y="1816"/>
                  </a:cubicBezTo>
                  <a:cubicBezTo>
                    <a:pt x="2386" y="1836"/>
                    <a:pt x="2395" y="1855"/>
                    <a:pt x="2410" y="1855"/>
                  </a:cubicBezTo>
                  <a:cubicBezTo>
                    <a:pt x="2414" y="1855"/>
                    <a:pt x="2417" y="1854"/>
                    <a:pt x="2422" y="1852"/>
                  </a:cubicBezTo>
                  <a:lnTo>
                    <a:pt x="2422" y="1852"/>
                  </a:lnTo>
                  <a:cubicBezTo>
                    <a:pt x="2410" y="1886"/>
                    <a:pt x="2410" y="1922"/>
                    <a:pt x="2410" y="1956"/>
                  </a:cubicBezTo>
                  <a:cubicBezTo>
                    <a:pt x="2422" y="1956"/>
                    <a:pt x="2436" y="1944"/>
                    <a:pt x="2447" y="1944"/>
                  </a:cubicBezTo>
                  <a:cubicBezTo>
                    <a:pt x="2451" y="1942"/>
                    <a:pt x="2455" y="1941"/>
                    <a:pt x="2459" y="1941"/>
                  </a:cubicBezTo>
                  <a:cubicBezTo>
                    <a:pt x="2476" y="1941"/>
                    <a:pt x="2491" y="1960"/>
                    <a:pt x="2491" y="1981"/>
                  </a:cubicBezTo>
                  <a:cubicBezTo>
                    <a:pt x="2491" y="2003"/>
                    <a:pt x="2480" y="2025"/>
                    <a:pt x="2480" y="2051"/>
                  </a:cubicBezTo>
                  <a:cubicBezTo>
                    <a:pt x="2480" y="2062"/>
                    <a:pt x="2491" y="2095"/>
                    <a:pt x="2517" y="2095"/>
                  </a:cubicBezTo>
                  <a:cubicBezTo>
                    <a:pt x="2517" y="2084"/>
                    <a:pt x="2528" y="2062"/>
                    <a:pt x="2528" y="2051"/>
                  </a:cubicBezTo>
                  <a:cubicBezTo>
                    <a:pt x="2532" y="2048"/>
                    <a:pt x="2537" y="2047"/>
                    <a:pt x="2540" y="2047"/>
                  </a:cubicBezTo>
                  <a:cubicBezTo>
                    <a:pt x="2554" y="2047"/>
                    <a:pt x="2561" y="2064"/>
                    <a:pt x="2561" y="2073"/>
                  </a:cubicBezTo>
                  <a:cubicBezTo>
                    <a:pt x="2561" y="2084"/>
                    <a:pt x="2550" y="2107"/>
                    <a:pt x="2539" y="2121"/>
                  </a:cubicBezTo>
                  <a:cubicBezTo>
                    <a:pt x="2528" y="2132"/>
                    <a:pt x="2517" y="2143"/>
                    <a:pt x="2517" y="2154"/>
                  </a:cubicBezTo>
                  <a:cubicBezTo>
                    <a:pt x="2505" y="2165"/>
                    <a:pt x="2517" y="2190"/>
                    <a:pt x="2528" y="2202"/>
                  </a:cubicBezTo>
                  <a:cubicBezTo>
                    <a:pt x="2528" y="2235"/>
                    <a:pt x="2550" y="2272"/>
                    <a:pt x="2575" y="2283"/>
                  </a:cubicBezTo>
                  <a:cubicBezTo>
                    <a:pt x="2585" y="2288"/>
                    <a:pt x="2597" y="2289"/>
                    <a:pt x="2609" y="2289"/>
                  </a:cubicBezTo>
                  <a:cubicBezTo>
                    <a:pt x="2630" y="2289"/>
                    <a:pt x="2653" y="2284"/>
                    <a:pt x="2672" y="2284"/>
                  </a:cubicBezTo>
                  <a:cubicBezTo>
                    <a:pt x="2690" y="2284"/>
                    <a:pt x="2706" y="2289"/>
                    <a:pt x="2715" y="2305"/>
                  </a:cubicBezTo>
                  <a:cubicBezTo>
                    <a:pt x="2749" y="2353"/>
                    <a:pt x="2656" y="2423"/>
                    <a:pt x="2690" y="2470"/>
                  </a:cubicBezTo>
                  <a:lnTo>
                    <a:pt x="2726" y="2470"/>
                  </a:lnTo>
                  <a:cubicBezTo>
                    <a:pt x="2707" y="2451"/>
                    <a:pt x="2724" y="2426"/>
                    <a:pt x="2743" y="2426"/>
                  </a:cubicBezTo>
                  <a:cubicBezTo>
                    <a:pt x="2749" y="2426"/>
                    <a:pt x="2755" y="2429"/>
                    <a:pt x="2760" y="2434"/>
                  </a:cubicBezTo>
                  <a:cubicBezTo>
                    <a:pt x="2796" y="2445"/>
                    <a:pt x="2796" y="2470"/>
                    <a:pt x="2807" y="2492"/>
                  </a:cubicBezTo>
                  <a:cubicBezTo>
                    <a:pt x="2807" y="2526"/>
                    <a:pt x="2819" y="2551"/>
                    <a:pt x="2841" y="2562"/>
                  </a:cubicBezTo>
                  <a:cubicBezTo>
                    <a:pt x="2849" y="2569"/>
                    <a:pt x="2864" y="2575"/>
                    <a:pt x="2877" y="2575"/>
                  </a:cubicBezTo>
                  <a:cubicBezTo>
                    <a:pt x="2886" y="2575"/>
                    <a:pt x="2895" y="2572"/>
                    <a:pt x="2900" y="2562"/>
                  </a:cubicBezTo>
                  <a:cubicBezTo>
                    <a:pt x="2925" y="2540"/>
                    <a:pt x="2911" y="2515"/>
                    <a:pt x="2936" y="2492"/>
                  </a:cubicBezTo>
                  <a:cubicBezTo>
                    <a:pt x="2941" y="2476"/>
                    <a:pt x="2955" y="2470"/>
                    <a:pt x="2972" y="2470"/>
                  </a:cubicBezTo>
                  <a:cubicBezTo>
                    <a:pt x="2992" y="2470"/>
                    <a:pt x="3016" y="2480"/>
                    <a:pt x="3028" y="2492"/>
                  </a:cubicBezTo>
                  <a:cubicBezTo>
                    <a:pt x="3051" y="2515"/>
                    <a:pt x="3065" y="2562"/>
                    <a:pt x="3076" y="2596"/>
                  </a:cubicBezTo>
                  <a:cubicBezTo>
                    <a:pt x="3087" y="2632"/>
                    <a:pt x="3109" y="2666"/>
                    <a:pt x="3146" y="2680"/>
                  </a:cubicBezTo>
                  <a:cubicBezTo>
                    <a:pt x="3191" y="2596"/>
                    <a:pt x="3216" y="2515"/>
                    <a:pt x="3249" y="2434"/>
                  </a:cubicBezTo>
                  <a:cubicBezTo>
                    <a:pt x="3260" y="2400"/>
                    <a:pt x="3286" y="2364"/>
                    <a:pt x="3274" y="2330"/>
                  </a:cubicBezTo>
                  <a:cubicBezTo>
                    <a:pt x="3260" y="2305"/>
                    <a:pt x="3249" y="2283"/>
                    <a:pt x="3249" y="2260"/>
                  </a:cubicBezTo>
                  <a:cubicBezTo>
                    <a:pt x="3249" y="2235"/>
                    <a:pt x="3274" y="2213"/>
                    <a:pt x="3286" y="2190"/>
                  </a:cubicBezTo>
                  <a:cubicBezTo>
                    <a:pt x="3297" y="2165"/>
                    <a:pt x="3308" y="2143"/>
                    <a:pt x="3286" y="2121"/>
                  </a:cubicBezTo>
                  <a:cubicBezTo>
                    <a:pt x="3286" y="2116"/>
                    <a:pt x="3283" y="2115"/>
                    <a:pt x="3280" y="2115"/>
                  </a:cubicBezTo>
                  <a:cubicBezTo>
                    <a:pt x="3272" y="2115"/>
                    <a:pt x="3257" y="2124"/>
                    <a:pt x="3249" y="2132"/>
                  </a:cubicBezTo>
                  <a:cubicBezTo>
                    <a:pt x="3238" y="2132"/>
                    <a:pt x="3227" y="2143"/>
                    <a:pt x="3216" y="2154"/>
                  </a:cubicBezTo>
                  <a:lnTo>
                    <a:pt x="3051" y="2154"/>
                  </a:lnTo>
                  <a:cubicBezTo>
                    <a:pt x="3017" y="2143"/>
                    <a:pt x="2995" y="2143"/>
                    <a:pt x="2970" y="2132"/>
                  </a:cubicBezTo>
                  <a:cubicBezTo>
                    <a:pt x="2958" y="2121"/>
                    <a:pt x="2947" y="2107"/>
                    <a:pt x="2936" y="2107"/>
                  </a:cubicBezTo>
                  <a:cubicBezTo>
                    <a:pt x="2927" y="2101"/>
                    <a:pt x="2917" y="2099"/>
                    <a:pt x="2907" y="2099"/>
                  </a:cubicBezTo>
                  <a:cubicBezTo>
                    <a:pt x="2889" y="2099"/>
                    <a:pt x="2871" y="2105"/>
                    <a:pt x="2855" y="2105"/>
                  </a:cubicBezTo>
                  <a:cubicBezTo>
                    <a:pt x="2846" y="2105"/>
                    <a:pt x="2837" y="2102"/>
                    <a:pt x="2830" y="2095"/>
                  </a:cubicBezTo>
                  <a:cubicBezTo>
                    <a:pt x="2819" y="2084"/>
                    <a:pt x="2819" y="2062"/>
                    <a:pt x="2807" y="2062"/>
                  </a:cubicBezTo>
                  <a:cubicBezTo>
                    <a:pt x="2802" y="2050"/>
                    <a:pt x="2794" y="2047"/>
                    <a:pt x="2784" y="2047"/>
                  </a:cubicBezTo>
                  <a:cubicBezTo>
                    <a:pt x="2773" y="2047"/>
                    <a:pt x="2760" y="2051"/>
                    <a:pt x="2749" y="2051"/>
                  </a:cubicBezTo>
                  <a:cubicBezTo>
                    <a:pt x="2744" y="2052"/>
                    <a:pt x="2739" y="2052"/>
                    <a:pt x="2735" y="2052"/>
                  </a:cubicBezTo>
                  <a:cubicBezTo>
                    <a:pt x="2697" y="2052"/>
                    <a:pt x="2678" y="2011"/>
                    <a:pt x="2668" y="1981"/>
                  </a:cubicBezTo>
                  <a:cubicBezTo>
                    <a:pt x="2656" y="1944"/>
                    <a:pt x="2668" y="1897"/>
                    <a:pt x="2668" y="1863"/>
                  </a:cubicBezTo>
                  <a:cubicBezTo>
                    <a:pt x="2668" y="1827"/>
                    <a:pt x="2656" y="1782"/>
                    <a:pt x="2631" y="1757"/>
                  </a:cubicBezTo>
                  <a:cubicBezTo>
                    <a:pt x="2620" y="1735"/>
                    <a:pt x="2609" y="1735"/>
                    <a:pt x="2598" y="1712"/>
                  </a:cubicBezTo>
                  <a:cubicBezTo>
                    <a:pt x="2587" y="1701"/>
                    <a:pt x="2587" y="1665"/>
                    <a:pt x="2575" y="1654"/>
                  </a:cubicBezTo>
                  <a:cubicBezTo>
                    <a:pt x="2561" y="1631"/>
                    <a:pt x="2539" y="1617"/>
                    <a:pt x="2539" y="1595"/>
                  </a:cubicBezTo>
                  <a:cubicBezTo>
                    <a:pt x="2539" y="1584"/>
                    <a:pt x="2550" y="1584"/>
                    <a:pt x="2550" y="1572"/>
                  </a:cubicBezTo>
                  <a:cubicBezTo>
                    <a:pt x="2575" y="1525"/>
                    <a:pt x="2528" y="1491"/>
                    <a:pt x="2528" y="1444"/>
                  </a:cubicBezTo>
                  <a:cubicBezTo>
                    <a:pt x="2528" y="1396"/>
                    <a:pt x="2561" y="1352"/>
                    <a:pt x="2575" y="1315"/>
                  </a:cubicBezTo>
                  <a:cubicBezTo>
                    <a:pt x="2598" y="1268"/>
                    <a:pt x="2598" y="1212"/>
                    <a:pt x="2575" y="1175"/>
                  </a:cubicBezTo>
                  <a:cubicBezTo>
                    <a:pt x="2539" y="1153"/>
                    <a:pt x="2491" y="1142"/>
                    <a:pt x="2458" y="1117"/>
                  </a:cubicBezTo>
                  <a:cubicBezTo>
                    <a:pt x="2422" y="1094"/>
                    <a:pt x="2399" y="1036"/>
                    <a:pt x="2436" y="1002"/>
                  </a:cubicBezTo>
                  <a:cubicBezTo>
                    <a:pt x="2458" y="988"/>
                    <a:pt x="2491" y="977"/>
                    <a:pt x="2491" y="955"/>
                  </a:cubicBezTo>
                  <a:cubicBezTo>
                    <a:pt x="2480" y="943"/>
                    <a:pt x="2480" y="943"/>
                    <a:pt x="2480" y="932"/>
                  </a:cubicBezTo>
                  <a:cubicBezTo>
                    <a:pt x="2447" y="896"/>
                    <a:pt x="2388" y="873"/>
                    <a:pt x="2340" y="873"/>
                  </a:cubicBezTo>
                  <a:cubicBezTo>
                    <a:pt x="2332" y="872"/>
                    <a:pt x="2324" y="872"/>
                    <a:pt x="2315" y="872"/>
                  </a:cubicBezTo>
                  <a:cubicBezTo>
                    <a:pt x="2231" y="872"/>
                    <a:pt x="2147" y="918"/>
                    <a:pt x="2061" y="918"/>
                  </a:cubicBezTo>
                  <a:cubicBezTo>
                    <a:pt x="2002" y="918"/>
                    <a:pt x="1957" y="907"/>
                    <a:pt x="1921" y="896"/>
                  </a:cubicBezTo>
                  <a:cubicBezTo>
                    <a:pt x="1876" y="885"/>
                    <a:pt x="1829" y="873"/>
                    <a:pt x="1781" y="862"/>
                  </a:cubicBezTo>
                  <a:cubicBezTo>
                    <a:pt x="1770" y="862"/>
                    <a:pt x="1748" y="848"/>
                    <a:pt x="1736" y="837"/>
                  </a:cubicBezTo>
                  <a:cubicBezTo>
                    <a:pt x="1700" y="792"/>
                    <a:pt x="1722" y="708"/>
                    <a:pt x="1678" y="686"/>
                  </a:cubicBezTo>
                  <a:cubicBezTo>
                    <a:pt x="1669" y="680"/>
                    <a:pt x="1660" y="678"/>
                    <a:pt x="1651" y="678"/>
                  </a:cubicBezTo>
                  <a:cubicBezTo>
                    <a:pt x="1624" y="678"/>
                    <a:pt x="1599" y="697"/>
                    <a:pt x="1571" y="697"/>
                  </a:cubicBezTo>
                  <a:cubicBezTo>
                    <a:pt x="1562" y="700"/>
                    <a:pt x="1553" y="702"/>
                    <a:pt x="1542" y="702"/>
                  </a:cubicBezTo>
                  <a:cubicBezTo>
                    <a:pt x="1513" y="702"/>
                    <a:pt x="1481" y="691"/>
                    <a:pt x="1457" y="675"/>
                  </a:cubicBezTo>
                  <a:cubicBezTo>
                    <a:pt x="1351" y="627"/>
                    <a:pt x="1269" y="557"/>
                    <a:pt x="1200" y="465"/>
                  </a:cubicBezTo>
                  <a:cubicBezTo>
                    <a:pt x="1163" y="418"/>
                    <a:pt x="1141" y="359"/>
                    <a:pt x="1163" y="325"/>
                  </a:cubicBezTo>
                  <a:cubicBezTo>
                    <a:pt x="1188" y="303"/>
                    <a:pt x="1211" y="278"/>
                    <a:pt x="1200" y="255"/>
                  </a:cubicBezTo>
                  <a:cubicBezTo>
                    <a:pt x="1188" y="244"/>
                    <a:pt x="1177" y="244"/>
                    <a:pt x="1163" y="244"/>
                  </a:cubicBezTo>
                  <a:cubicBezTo>
                    <a:pt x="1130" y="233"/>
                    <a:pt x="1093" y="233"/>
                    <a:pt x="1049" y="219"/>
                  </a:cubicBezTo>
                  <a:cubicBezTo>
                    <a:pt x="1071" y="186"/>
                    <a:pt x="1082" y="138"/>
                    <a:pt x="1060" y="116"/>
                  </a:cubicBezTo>
                  <a:cubicBezTo>
                    <a:pt x="1037" y="104"/>
                    <a:pt x="1001" y="104"/>
                    <a:pt x="990" y="93"/>
                  </a:cubicBezTo>
                  <a:cubicBezTo>
                    <a:pt x="979" y="68"/>
                    <a:pt x="1001" y="35"/>
                    <a:pt x="979" y="9"/>
                  </a:cubicBezTo>
                  <a:cubicBezTo>
                    <a:pt x="973" y="4"/>
                    <a:pt x="964" y="1"/>
                    <a:pt x="95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86;p17">
              <a:extLst>
                <a:ext uri="{FF2B5EF4-FFF2-40B4-BE49-F238E27FC236}">
                  <a16:creationId xmlns:a16="http://schemas.microsoft.com/office/drawing/2014/main" xmlns="" id="{BE0B0499-656C-97E0-267E-54F2ACB8177B}"/>
                </a:ext>
              </a:extLst>
            </p:cNvPr>
            <p:cNvSpPr/>
            <p:nvPr/>
          </p:nvSpPr>
          <p:spPr>
            <a:xfrm>
              <a:off x="2265309" y="2147416"/>
              <a:ext cx="771420" cy="628954"/>
            </a:xfrm>
            <a:custGeom>
              <a:avLst/>
              <a:gdLst/>
              <a:ahLst/>
              <a:cxnLst/>
              <a:rect l="l" t="t" r="r" b="b"/>
              <a:pathLst>
                <a:path w="3346" h="2728" extrusionOk="0">
                  <a:moveTo>
                    <a:pt x="980" y="48"/>
                  </a:moveTo>
                  <a:lnTo>
                    <a:pt x="994" y="60"/>
                  </a:lnTo>
                  <a:lnTo>
                    <a:pt x="994" y="82"/>
                  </a:lnTo>
                  <a:cubicBezTo>
                    <a:pt x="994" y="93"/>
                    <a:pt x="994" y="118"/>
                    <a:pt x="1005" y="129"/>
                  </a:cubicBezTo>
                  <a:cubicBezTo>
                    <a:pt x="1005" y="141"/>
                    <a:pt x="1016" y="141"/>
                    <a:pt x="1027" y="152"/>
                  </a:cubicBezTo>
                  <a:lnTo>
                    <a:pt x="1049" y="152"/>
                  </a:lnTo>
                  <a:cubicBezTo>
                    <a:pt x="1063" y="152"/>
                    <a:pt x="1063" y="163"/>
                    <a:pt x="1075" y="163"/>
                  </a:cubicBezTo>
                  <a:lnTo>
                    <a:pt x="1075" y="174"/>
                  </a:lnTo>
                  <a:cubicBezTo>
                    <a:pt x="1075" y="188"/>
                    <a:pt x="1063" y="211"/>
                    <a:pt x="1063" y="233"/>
                  </a:cubicBezTo>
                  <a:lnTo>
                    <a:pt x="1038" y="258"/>
                  </a:lnTo>
                  <a:lnTo>
                    <a:pt x="1075" y="269"/>
                  </a:lnTo>
                  <a:cubicBezTo>
                    <a:pt x="1108" y="280"/>
                    <a:pt x="1156" y="280"/>
                    <a:pt x="1189" y="292"/>
                  </a:cubicBezTo>
                  <a:lnTo>
                    <a:pt x="1203" y="292"/>
                  </a:lnTo>
                  <a:cubicBezTo>
                    <a:pt x="1203" y="292"/>
                    <a:pt x="1203" y="303"/>
                    <a:pt x="1189" y="303"/>
                  </a:cubicBezTo>
                  <a:cubicBezTo>
                    <a:pt x="1189" y="314"/>
                    <a:pt x="1178" y="328"/>
                    <a:pt x="1178" y="328"/>
                  </a:cubicBezTo>
                  <a:cubicBezTo>
                    <a:pt x="1167" y="350"/>
                    <a:pt x="1156" y="373"/>
                    <a:pt x="1156" y="384"/>
                  </a:cubicBezTo>
                  <a:cubicBezTo>
                    <a:pt x="1156" y="431"/>
                    <a:pt x="1178" y="468"/>
                    <a:pt x="1203" y="501"/>
                  </a:cubicBezTo>
                  <a:cubicBezTo>
                    <a:pt x="1273" y="594"/>
                    <a:pt x="1365" y="678"/>
                    <a:pt x="1483" y="722"/>
                  </a:cubicBezTo>
                  <a:cubicBezTo>
                    <a:pt x="1505" y="733"/>
                    <a:pt x="1539" y="747"/>
                    <a:pt x="1575" y="747"/>
                  </a:cubicBezTo>
                  <a:lnTo>
                    <a:pt x="1597" y="747"/>
                  </a:lnTo>
                  <a:cubicBezTo>
                    <a:pt x="1623" y="747"/>
                    <a:pt x="1634" y="733"/>
                    <a:pt x="1645" y="733"/>
                  </a:cubicBezTo>
                  <a:cubicBezTo>
                    <a:pt x="1656" y="722"/>
                    <a:pt x="1667" y="722"/>
                    <a:pt x="1679" y="722"/>
                  </a:cubicBezTo>
                  <a:lnTo>
                    <a:pt x="1693" y="722"/>
                  </a:lnTo>
                  <a:cubicBezTo>
                    <a:pt x="1704" y="733"/>
                    <a:pt x="1704" y="733"/>
                    <a:pt x="1704" y="747"/>
                  </a:cubicBezTo>
                  <a:cubicBezTo>
                    <a:pt x="1715" y="759"/>
                    <a:pt x="1715" y="781"/>
                    <a:pt x="1715" y="803"/>
                  </a:cubicBezTo>
                  <a:cubicBezTo>
                    <a:pt x="1715" y="829"/>
                    <a:pt x="1726" y="851"/>
                    <a:pt x="1737" y="873"/>
                  </a:cubicBezTo>
                  <a:cubicBezTo>
                    <a:pt x="1762" y="898"/>
                    <a:pt x="1785" y="898"/>
                    <a:pt x="1807" y="910"/>
                  </a:cubicBezTo>
                  <a:cubicBezTo>
                    <a:pt x="1855" y="921"/>
                    <a:pt x="1888" y="932"/>
                    <a:pt x="1936" y="943"/>
                  </a:cubicBezTo>
                  <a:cubicBezTo>
                    <a:pt x="1983" y="957"/>
                    <a:pt x="2028" y="968"/>
                    <a:pt x="2076" y="968"/>
                  </a:cubicBezTo>
                  <a:lnTo>
                    <a:pt x="2087" y="968"/>
                  </a:lnTo>
                  <a:cubicBezTo>
                    <a:pt x="2134" y="968"/>
                    <a:pt x="2182" y="957"/>
                    <a:pt x="2227" y="943"/>
                  </a:cubicBezTo>
                  <a:cubicBezTo>
                    <a:pt x="2263" y="932"/>
                    <a:pt x="2308" y="921"/>
                    <a:pt x="2344" y="921"/>
                  </a:cubicBezTo>
                  <a:lnTo>
                    <a:pt x="2366" y="921"/>
                  </a:lnTo>
                  <a:cubicBezTo>
                    <a:pt x="2414" y="921"/>
                    <a:pt x="2462" y="943"/>
                    <a:pt x="2484" y="980"/>
                  </a:cubicBezTo>
                  <a:lnTo>
                    <a:pt x="2495" y="980"/>
                  </a:lnTo>
                  <a:cubicBezTo>
                    <a:pt x="2495" y="980"/>
                    <a:pt x="2484" y="991"/>
                    <a:pt x="2473" y="991"/>
                  </a:cubicBezTo>
                  <a:cubicBezTo>
                    <a:pt x="2473" y="1002"/>
                    <a:pt x="2462" y="1002"/>
                    <a:pt x="2448" y="1013"/>
                  </a:cubicBezTo>
                  <a:cubicBezTo>
                    <a:pt x="2425" y="1027"/>
                    <a:pt x="2425" y="1049"/>
                    <a:pt x="2425" y="1072"/>
                  </a:cubicBezTo>
                  <a:cubicBezTo>
                    <a:pt x="2425" y="1108"/>
                    <a:pt x="2436" y="1142"/>
                    <a:pt x="2473" y="1167"/>
                  </a:cubicBezTo>
                  <a:cubicBezTo>
                    <a:pt x="2484" y="1178"/>
                    <a:pt x="2506" y="1189"/>
                    <a:pt x="2531" y="1200"/>
                  </a:cubicBezTo>
                  <a:cubicBezTo>
                    <a:pt x="2554" y="1200"/>
                    <a:pt x="2565" y="1212"/>
                    <a:pt x="2576" y="1223"/>
                  </a:cubicBezTo>
                  <a:cubicBezTo>
                    <a:pt x="2587" y="1237"/>
                    <a:pt x="2601" y="1259"/>
                    <a:pt x="2601" y="1270"/>
                  </a:cubicBezTo>
                  <a:cubicBezTo>
                    <a:pt x="2601" y="1293"/>
                    <a:pt x="2587" y="1318"/>
                    <a:pt x="2587" y="1329"/>
                  </a:cubicBezTo>
                  <a:cubicBezTo>
                    <a:pt x="2576" y="1340"/>
                    <a:pt x="2565" y="1363"/>
                    <a:pt x="2554" y="1388"/>
                  </a:cubicBezTo>
                  <a:cubicBezTo>
                    <a:pt x="2543" y="1410"/>
                    <a:pt x="2531" y="1432"/>
                    <a:pt x="2531" y="1458"/>
                  </a:cubicBezTo>
                  <a:lnTo>
                    <a:pt x="2531" y="1469"/>
                  </a:lnTo>
                  <a:cubicBezTo>
                    <a:pt x="2531" y="1491"/>
                    <a:pt x="2543" y="1516"/>
                    <a:pt x="2554" y="1528"/>
                  </a:cubicBezTo>
                  <a:cubicBezTo>
                    <a:pt x="2554" y="1550"/>
                    <a:pt x="2565" y="1561"/>
                    <a:pt x="2565" y="1572"/>
                  </a:cubicBezTo>
                  <a:cubicBezTo>
                    <a:pt x="2565" y="1572"/>
                    <a:pt x="2565" y="1586"/>
                    <a:pt x="2554" y="1586"/>
                  </a:cubicBezTo>
                  <a:cubicBezTo>
                    <a:pt x="2554" y="1597"/>
                    <a:pt x="2554" y="1597"/>
                    <a:pt x="2543" y="1620"/>
                  </a:cubicBezTo>
                  <a:cubicBezTo>
                    <a:pt x="2543" y="1631"/>
                    <a:pt x="2554" y="1642"/>
                    <a:pt x="2554" y="1642"/>
                  </a:cubicBezTo>
                  <a:cubicBezTo>
                    <a:pt x="2554" y="1656"/>
                    <a:pt x="2565" y="1667"/>
                    <a:pt x="2576" y="1679"/>
                  </a:cubicBezTo>
                  <a:cubicBezTo>
                    <a:pt x="2576" y="1679"/>
                    <a:pt x="2576" y="1690"/>
                    <a:pt x="2587" y="1690"/>
                  </a:cubicBezTo>
                  <a:lnTo>
                    <a:pt x="2587" y="1712"/>
                  </a:lnTo>
                  <a:cubicBezTo>
                    <a:pt x="2587" y="1726"/>
                    <a:pt x="2601" y="1737"/>
                    <a:pt x="2601" y="1748"/>
                  </a:cubicBezTo>
                  <a:cubicBezTo>
                    <a:pt x="2613" y="1771"/>
                    <a:pt x="2635" y="1782"/>
                    <a:pt x="2646" y="1796"/>
                  </a:cubicBezTo>
                  <a:cubicBezTo>
                    <a:pt x="2657" y="1818"/>
                    <a:pt x="2671" y="1841"/>
                    <a:pt x="2671" y="1877"/>
                  </a:cubicBezTo>
                  <a:lnTo>
                    <a:pt x="2671" y="1888"/>
                  </a:lnTo>
                  <a:cubicBezTo>
                    <a:pt x="2671" y="1911"/>
                    <a:pt x="2657" y="1936"/>
                    <a:pt x="2657" y="1958"/>
                  </a:cubicBezTo>
                  <a:cubicBezTo>
                    <a:pt x="2657" y="1969"/>
                    <a:pt x="2671" y="1992"/>
                    <a:pt x="2671" y="2017"/>
                  </a:cubicBezTo>
                  <a:cubicBezTo>
                    <a:pt x="2671" y="2039"/>
                    <a:pt x="2694" y="2050"/>
                    <a:pt x="2705" y="2076"/>
                  </a:cubicBezTo>
                  <a:cubicBezTo>
                    <a:pt x="2716" y="2087"/>
                    <a:pt x="2741" y="2098"/>
                    <a:pt x="2775" y="2098"/>
                  </a:cubicBezTo>
                  <a:lnTo>
                    <a:pt x="2822" y="2098"/>
                  </a:lnTo>
                  <a:lnTo>
                    <a:pt x="2822" y="2109"/>
                  </a:lnTo>
                  <a:cubicBezTo>
                    <a:pt x="2833" y="2109"/>
                    <a:pt x="2833" y="2120"/>
                    <a:pt x="2845" y="2132"/>
                  </a:cubicBezTo>
                  <a:cubicBezTo>
                    <a:pt x="2845" y="2146"/>
                    <a:pt x="2856" y="2146"/>
                    <a:pt x="2867" y="2146"/>
                  </a:cubicBezTo>
                  <a:cubicBezTo>
                    <a:pt x="2867" y="2157"/>
                    <a:pt x="2881" y="2157"/>
                    <a:pt x="2892" y="2157"/>
                  </a:cubicBezTo>
                  <a:cubicBezTo>
                    <a:pt x="2903" y="2157"/>
                    <a:pt x="2926" y="2146"/>
                    <a:pt x="2937" y="2146"/>
                  </a:cubicBezTo>
                  <a:lnTo>
                    <a:pt x="2951" y="2146"/>
                  </a:lnTo>
                  <a:lnTo>
                    <a:pt x="2962" y="2157"/>
                  </a:lnTo>
                  <a:cubicBezTo>
                    <a:pt x="2973" y="2168"/>
                    <a:pt x="2973" y="2168"/>
                    <a:pt x="2984" y="2179"/>
                  </a:cubicBezTo>
                  <a:cubicBezTo>
                    <a:pt x="3021" y="2190"/>
                    <a:pt x="3043" y="2190"/>
                    <a:pt x="3077" y="2201"/>
                  </a:cubicBezTo>
                  <a:lnTo>
                    <a:pt x="3253" y="2201"/>
                  </a:lnTo>
                  <a:cubicBezTo>
                    <a:pt x="3275" y="2190"/>
                    <a:pt x="3286" y="2179"/>
                    <a:pt x="3286" y="2168"/>
                  </a:cubicBezTo>
                  <a:lnTo>
                    <a:pt x="3300" y="2168"/>
                  </a:lnTo>
                  <a:cubicBezTo>
                    <a:pt x="3300" y="2179"/>
                    <a:pt x="3300" y="2190"/>
                    <a:pt x="3286" y="2201"/>
                  </a:cubicBezTo>
                  <a:cubicBezTo>
                    <a:pt x="3286" y="2215"/>
                    <a:pt x="3275" y="2227"/>
                    <a:pt x="3275" y="2238"/>
                  </a:cubicBezTo>
                  <a:cubicBezTo>
                    <a:pt x="3264" y="2249"/>
                    <a:pt x="3253" y="2260"/>
                    <a:pt x="3253" y="2285"/>
                  </a:cubicBezTo>
                  <a:cubicBezTo>
                    <a:pt x="3253" y="2308"/>
                    <a:pt x="3264" y="2319"/>
                    <a:pt x="3264" y="2330"/>
                  </a:cubicBezTo>
                  <a:cubicBezTo>
                    <a:pt x="3264" y="2341"/>
                    <a:pt x="3275" y="2355"/>
                    <a:pt x="3275" y="2355"/>
                  </a:cubicBezTo>
                  <a:lnTo>
                    <a:pt x="3275" y="2366"/>
                  </a:lnTo>
                  <a:lnTo>
                    <a:pt x="3275" y="2378"/>
                  </a:lnTo>
                  <a:cubicBezTo>
                    <a:pt x="3275" y="2400"/>
                    <a:pt x="3264" y="2425"/>
                    <a:pt x="3253" y="2459"/>
                  </a:cubicBezTo>
                  <a:cubicBezTo>
                    <a:pt x="3233" y="2531"/>
                    <a:pt x="3201" y="2604"/>
                    <a:pt x="3161" y="2669"/>
                  </a:cubicBezTo>
                  <a:lnTo>
                    <a:pt x="3161" y="2669"/>
                  </a:lnTo>
                  <a:cubicBezTo>
                    <a:pt x="3156" y="2665"/>
                    <a:pt x="3152" y="2661"/>
                    <a:pt x="3147" y="2657"/>
                  </a:cubicBezTo>
                  <a:cubicBezTo>
                    <a:pt x="3135" y="2646"/>
                    <a:pt x="3135" y="2635"/>
                    <a:pt x="3124" y="2610"/>
                  </a:cubicBezTo>
                  <a:cubicBezTo>
                    <a:pt x="3113" y="2576"/>
                    <a:pt x="3102" y="2529"/>
                    <a:pt x="3066" y="2506"/>
                  </a:cubicBezTo>
                  <a:cubicBezTo>
                    <a:pt x="3054" y="2481"/>
                    <a:pt x="3032" y="2470"/>
                    <a:pt x="2996" y="2470"/>
                  </a:cubicBezTo>
                  <a:cubicBezTo>
                    <a:pt x="2984" y="2470"/>
                    <a:pt x="2973" y="2470"/>
                    <a:pt x="2962" y="2481"/>
                  </a:cubicBezTo>
                  <a:cubicBezTo>
                    <a:pt x="2951" y="2481"/>
                    <a:pt x="2937" y="2495"/>
                    <a:pt x="2937" y="2506"/>
                  </a:cubicBezTo>
                  <a:cubicBezTo>
                    <a:pt x="2926" y="2517"/>
                    <a:pt x="2926" y="2540"/>
                    <a:pt x="2926" y="2551"/>
                  </a:cubicBezTo>
                  <a:cubicBezTo>
                    <a:pt x="2926" y="2565"/>
                    <a:pt x="2915" y="2565"/>
                    <a:pt x="2915" y="2576"/>
                  </a:cubicBezTo>
                  <a:lnTo>
                    <a:pt x="2903" y="2576"/>
                  </a:lnTo>
                  <a:cubicBezTo>
                    <a:pt x="2892" y="2576"/>
                    <a:pt x="2892" y="2576"/>
                    <a:pt x="2881" y="2565"/>
                  </a:cubicBezTo>
                  <a:cubicBezTo>
                    <a:pt x="2867" y="2565"/>
                    <a:pt x="2856" y="2540"/>
                    <a:pt x="2856" y="2517"/>
                  </a:cubicBezTo>
                  <a:cubicBezTo>
                    <a:pt x="2856" y="2506"/>
                    <a:pt x="2845" y="2481"/>
                    <a:pt x="2845" y="2470"/>
                  </a:cubicBezTo>
                  <a:cubicBezTo>
                    <a:pt x="2833" y="2459"/>
                    <a:pt x="2822" y="2448"/>
                    <a:pt x="2797" y="2436"/>
                  </a:cubicBezTo>
                  <a:cubicBezTo>
                    <a:pt x="2797" y="2425"/>
                    <a:pt x="2786" y="2425"/>
                    <a:pt x="2775" y="2425"/>
                  </a:cubicBezTo>
                  <a:cubicBezTo>
                    <a:pt x="2765" y="2425"/>
                    <a:pt x="2756" y="2433"/>
                    <a:pt x="2747" y="2436"/>
                  </a:cubicBezTo>
                  <a:lnTo>
                    <a:pt x="2747" y="2436"/>
                  </a:lnTo>
                  <a:cubicBezTo>
                    <a:pt x="2748" y="2432"/>
                    <a:pt x="2750" y="2429"/>
                    <a:pt x="2752" y="2425"/>
                  </a:cubicBezTo>
                  <a:cubicBezTo>
                    <a:pt x="2764" y="2400"/>
                    <a:pt x="2775" y="2378"/>
                    <a:pt x="2775" y="2355"/>
                  </a:cubicBezTo>
                  <a:cubicBezTo>
                    <a:pt x="2775" y="2341"/>
                    <a:pt x="2775" y="2330"/>
                    <a:pt x="2764" y="2319"/>
                  </a:cubicBezTo>
                  <a:cubicBezTo>
                    <a:pt x="2752" y="2308"/>
                    <a:pt x="2741" y="2297"/>
                    <a:pt x="2727" y="2297"/>
                  </a:cubicBezTo>
                  <a:cubicBezTo>
                    <a:pt x="2716" y="2285"/>
                    <a:pt x="2705" y="2285"/>
                    <a:pt x="2694" y="2285"/>
                  </a:cubicBezTo>
                  <a:lnTo>
                    <a:pt x="2613" y="2285"/>
                  </a:lnTo>
                  <a:cubicBezTo>
                    <a:pt x="2601" y="2285"/>
                    <a:pt x="2601" y="2271"/>
                    <a:pt x="2587" y="2260"/>
                  </a:cubicBezTo>
                  <a:cubicBezTo>
                    <a:pt x="2576" y="2249"/>
                    <a:pt x="2576" y="2238"/>
                    <a:pt x="2565" y="2227"/>
                  </a:cubicBezTo>
                  <a:lnTo>
                    <a:pt x="2565" y="2190"/>
                  </a:lnTo>
                  <a:lnTo>
                    <a:pt x="2565" y="2179"/>
                  </a:lnTo>
                  <a:cubicBezTo>
                    <a:pt x="2565" y="2179"/>
                    <a:pt x="2576" y="2168"/>
                    <a:pt x="2587" y="2157"/>
                  </a:cubicBezTo>
                  <a:cubicBezTo>
                    <a:pt x="2587" y="2146"/>
                    <a:pt x="2601" y="2146"/>
                    <a:pt x="2601" y="2132"/>
                  </a:cubicBezTo>
                  <a:cubicBezTo>
                    <a:pt x="2613" y="2120"/>
                    <a:pt x="2613" y="2109"/>
                    <a:pt x="2613" y="2098"/>
                  </a:cubicBezTo>
                  <a:cubicBezTo>
                    <a:pt x="2613" y="2087"/>
                    <a:pt x="2613" y="2076"/>
                    <a:pt x="2601" y="2062"/>
                  </a:cubicBezTo>
                  <a:cubicBezTo>
                    <a:pt x="2587" y="2050"/>
                    <a:pt x="2576" y="2050"/>
                    <a:pt x="2565" y="2050"/>
                  </a:cubicBezTo>
                  <a:lnTo>
                    <a:pt x="2543" y="2050"/>
                  </a:lnTo>
                  <a:lnTo>
                    <a:pt x="2543" y="2062"/>
                  </a:lnTo>
                  <a:cubicBezTo>
                    <a:pt x="2539" y="2070"/>
                    <a:pt x="2535" y="2076"/>
                    <a:pt x="2531" y="2082"/>
                  </a:cubicBezTo>
                  <a:lnTo>
                    <a:pt x="2531" y="2082"/>
                  </a:lnTo>
                  <a:lnTo>
                    <a:pt x="2531" y="2076"/>
                  </a:lnTo>
                  <a:cubicBezTo>
                    <a:pt x="2531" y="2050"/>
                    <a:pt x="2543" y="2039"/>
                    <a:pt x="2543" y="2006"/>
                  </a:cubicBezTo>
                  <a:cubicBezTo>
                    <a:pt x="2543" y="1981"/>
                    <a:pt x="2531" y="1969"/>
                    <a:pt x="2517" y="1958"/>
                  </a:cubicBezTo>
                  <a:cubicBezTo>
                    <a:pt x="2517" y="1958"/>
                    <a:pt x="2495" y="1947"/>
                    <a:pt x="2484" y="1947"/>
                  </a:cubicBezTo>
                  <a:lnTo>
                    <a:pt x="2462" y="1947"/>
                  </a:lnTo>
                  <a:lnTo>
                    <a:pt x="2462" y="1936"/>
                  </a:lnTo>
                  <a:lnTo>
                    <a:pt x="2462" y="1888"/>
                  </a:lnTo>
                  <a:lnTo>
                    <a:pt x="2473" y="1852"/>
                  </a:lnTo>
                  <a:lnTo>
                    <a:pt x="2436" y="1852"/>
                  </a:lnTo>
                  <a:lnTo>
                    <a:pt x="2425" y="1841"/>
                  </a:lnTo>
                  <a:lnTo>
                    <a:pt x="2425" y="1807"/>
                  </a:lnTo>
                  <a:cubicBezTo>
                    <a:pt x="2425" y="1796"/>
                    <a:pt x="2414" y="1782"/>
                    <a:pt x="2403" y="1771"/>
                  </a:cubicBezTo>
                  <a:cubicBezTo>
                    <a:pt x="2392" y="1760"/>
                    <a:pt x="2378" y="1748"/>
                    <a:pt x="2355" y="1748"/>
                  </a:cubicBezTo>
                  <a:lnTo>
                    <a:pt x="2322" y="1748"/>
                  </a:lnTo>
                  <a:cubicBezTo>
                    <a:pt x="2308" y="1748"/>
                    <a:pt x="2297" y="1748"/>
                    <a:pt x="2285" y="1737"/>
                  </a:cubicBezTo>
                  <a:lnTo>
                    <a:pt x="2285" y="1726"/>
                  </a:lnTo>
                  <a:lnTo>
                    <a:pt x="2285" y="1712"/>
                  </a:lnTo>
                  <a:cubicBezTo>
                    <a:pt x="2297" y="1690"/>
                    <a:pt x="2308" y="1667"/>
                    <a:pt x="2308" y="1631"/>
                  </a:cubicBezTo>
                  <a:cubicBezTo>
                    <a:pt x="2308" y="1620"/>
                    <a:pt x="2308" y="1609"/>
                    <a:pt x="2297" y="1597"/>
                  </a:cubicBezTo>
                  <a:cubicBezTo>
                    <a:pt x="2297" y="1586"/>
                    <a:pt x="2285" y="1572"/>
                    <a:pt x="2274" y="1561"/>
                  </a:cubicBezTo>
                  <a:cubicBezTo>
                    <a:pt x="2263" y="1561"/>
                    <a:pt x="2252" y="1550"/>
                    <a:pt x="2227" y="1550"/>
                  </a:cubicBezTo>
                  <a:cubicBezTo>
                    <a:pt x="2215" y="1550"/>
                    <a:pt x="2193" y="1561"/>
                    <a:pt x="2182" y="1561"/>
                  </a:cubicBezTo>
                  <a:cubicBezTo>
                    <a:pt x="2168" y="1572"/>
                    <a:pt x="2157" y="1586"/>
                    <a:pt x="2146" y="1586"/>
                  </a:cubicBezTo>
                  <a:cubicBezTo>
                    <a:pt x="2123" y="1597"/>
                    <a:pt x="2087" y="1597"/>
                    <a:pt x="2064" y="1597"/>
                  </a:cubicBezTo>
                  <a:cubicBezTo>
                    <a:pt x="2028" y="1597"/>
                    <a:pt x="2006" y="1597"/>
                    <a:pt x="1972" y="1572"/>
                  </a:cubicBezTo>
                  <a:cubicBezTo>
                    <a:pt x="1958" y="1572"/>
                    <a:pt x="1947" y="1561"/>
                    <a:pt x="1936" y="1561"/>
                  </a:cubicBezTo>
                  <a:cubicBezTo>
                    <a:pt x="1925" y="1561"/>
                    <a:pt x="1913" y="1550"/>
                    <a:pt x="1902" y="1550"/>
                  </a:cubicBezTo>
                  <a:cubicBezTo>
                    <a:pt x="1888" y="1550"/>
                    <a:pt x="1866" y="1561"/>
                    <a:pt x="1855" y="1572"/>
                  </a:cubicBezTo>
                  <a:cubicBezTo>
                    <a:pt x="1844" y="1586"/>
                    <a:pt x="1844" y="1597"/>
                    <a:pt x="1844" y="1597"/>
                  </a:cubicBezTo>
                  <a:cubicBezTo>
                    <a:pt x="1832" y="1597"/>
                    <a:pt x="1832" y="1597"/>
                    <a:pt x="1818" y="1586"/>
                  </a:cubicBezTo>
                  <a:cubicBezTo>
                    <a:pt x="1807" y="1586"/>
                    <a:pt x="1796" y="1561"/>
                    <a:pt x="1774" y="1550"/>
                  </a:cubicBezTo>
                  <a:cubicBezTo>
                    <a:pt x="1748" y="1539"/>
                    <a:pt x="1726" y="1539"/>
                    <a:pt x="1715" y="1539"/>
                  </a:cubicBezTo>
                  <a:lnTo>
                    <a:pt x="1704" y="1539"/>
                  </a:lnTo>
                  <a:cubicBezTo>
                    <a:pt x="1656" y="1539"/>
                    <a:pt x="1609" y="1539"/>
                    <a:pt x="1564" y="1561"/>
                  </a:cubicBezTo>
                  <a:lnTo>
                    <a:pt x="1564" y="1561"/>
                  </a:lnTo>
                  <a:lnTo>
                    <a:pt x="1564" y="1561"/>
                  </a:lnTo>
                  <a:cubicBezTo>
                    <a:pt x="1532" y="1527"/>
                    <a:pt x="1503" y="1475"/>
                    <a:pt x="1483" y="1432"/>
                  </a:cubicBezTo>
                  <a:cubicBezTo>
                    <a:pt x="1469" y="1421"/>
                    <a:pt x="1469" y="1421"/>
                    <a:pt x="1469" y="1410"/>
                  </a:cubicBezTo>
                  <a:lnTo>
                    <a:pt x="1469" y="1399"/>
                  </a:lnTo>
                  <a:cubicBezTo>
                    <a:pt x="1483" y="1399"/>
                    <a:pt x="1505" y="1388"/>
                    <a:pt x="1516" y="1377"/>
                  </a:cubicBezTo>
                  <a:cubicBezTo>
                    <a:pt x="1516" y="1363"/>
                    <a:pt x="1528" y="1351"/>
                    <a:pt x="1528" y="1351"/>
                  </a:cubicBezTo>
                  <a:lnTo>
                    <a:pt x="1528" y="1307"/>
                  </a:lnTo>
                  <a:cubicBezTo>
                    <a:pt x="1528" y="1259"/>
                    <a:pt x="1516" y="1212"/>
                    <a:pt x="1494" y="1189"/>
                  </a:cubicBezTo>
                  <a:cubicBezTo>
                    <a:pt x="1458" y="1153"/>
                    <a:pt x="1424" y="1131"/>
                    <a:pt x="1388" y="1119"/>
                  </a:cubicBezTo>
                  <a:lnTo>
                    <a:pt x="1343" y="1119"/>
                  </a:lnTo>
                  <a:cubicBezTo>
                    <a:pt x="1329" y="1119"/>
                    <a:pt x="1318" y="1119"/>
                    <a:pt x="1307" y="1108"/>
                  </a:cubicBezTo>
                  <a:cubicBezTo>
                    <a:pt x="1307" y="1108"/>
                    <a:pt x="1295" y="1097"/>
                    <a:pt x="1295" y="1083"/>
                  </a:cubicBezTo>
                  <a:cubicBezTo>
                    <a:pt x="1284" y="1072"/>
                    <a:pt x="1284" y="1049"/>
                    <a:pt x="1284" y="1038"/>
                  </a:cubicBezTo>
                  <a:cubicBezTo>
                    <a:pt x="1273" y="1027"/>
                    <a:pt x="1273" y="1013"/>
                    <a:pt x="1259" y="1002"/>
                  </a:cubicBezTo>
                  <a:cubicBezTo>
                    <a:pt x="1259" y="991"/>
                    <a:pt x="1248" y="980"/>
                    <a:pt x="1237" y="968"/>
                  </a:cubicBezTo>
                  <a:cubicBezTo>
                    <a:pt x="1226" y="968"/>
                    <a:pt x="1214" y="957"/>
                    <a:pt x="1203" y="957"/>
                  </a:cubicBezTo>
                  <a:cubicBezTo>
                    <a:pt x="1203" y="957"/>
                    <a:pt x="1189" y="943"/>
                    <a:pt x="1189" y="921"/>
                  </a:cubicBezTo>
                  <a:cubicBezTo>
                    <a:pt x="1178" y="910"/>
                    <a:pt x="1178" y="887"/>
                    <a:pt x="1156" y="862"/>
                  </a:cubicBezTo>
                  <a:cubicBezTo>
                    <a:pt x="1133" y="840"/>
                    <a:pt x="1108" y="840"/>
                    <a:pt x="1086" y="829"/>
                  </a:cubicBezTo>
                  <a:cubicBezTo>
                    <a:pt x="1063" y="817"/>
                    <a:pt x="1049" y="817"/>
                    <a:pt x="1038" y="803"/>
                  </a:cubicBezTo>
                  <a:cubicBezTo>
                    <a:pt x="1027" y="792"/>
                    <a:pt x="1016" y="781"/>
                    <a:pt x="1016" y="759"/>
                  </a:cubicBezTo>
                  <a:cubicBezTo>
                    <a:pt x="1005" y="733"/>
                    <a:pt x="994" y="711"/>
                    <a:pt x="968" y="700"/>
                  </a:cubicBezTo>
                  <a:cubicBezTo>
                    <a:pt x="957" y="689"/>
                    <a:pt x="946" y="689"/>
                    <a:pt x="924" y="678"/>
                  </a:cubicBezTo>
                  <a:lnTo>
                    <a:pt x="887" y="678"/>
                  </a:lnTo>
                  <a:cubicBezTo>
                    <a:pt x="876" y="678"/>
                    <a:pt x="865" y="664"/>
                    <a:pt x="854" y="652"/>
                  </a:cubicBezTo>
                  <a:cubicBezTo>
                    <a:pt x="829" y="630"/>
                    <a:pt x="817" y="608"/>
                    <a:pt x="795" y="582"/>
                  </a:cubicBezTo>
                  <a:cubicBezTo>
                    <a:pt x="770" y="549"/>
                    <a:pt x="747" y="524"/>
                    <a:pt x="714" y="513"/>
                  </a:cubicBezTo>
                  <a:cubicBezTo>
                    <a:pt x="700" y="501"/>
                    <a:pt x="678" y="501"/>
                    <a:pt x="666" y="501"/>
                  </a:cubicBezTo>
                  <a:cubicBezTo>
                    <a:pt x="619" y="501"/>
                    <a:pt x="574" y="524"/>
                    <a:pt x="538" y="524"/>
                  </a:cubicBezTo>
                  <a:cubicBezTo>
                    <a:pt x="527" y="524"/>
                    <a:pt x="515" y="513"/>
                    <a:pt x="504" y="513"/>
                  </a:cubicBezTo>
                  <a:cubicBezTo>
                    <a:pt x="479" y="501"/>
                    <a:pt x="468" y="490"/>
                    <a:pt x="445" y="468"/>
                  </a:cubicBezTo>
                  <a:cubicBezTo>
                    <a:pt x="434" y="454"/>
                    <a:pt x="420" y="443"/>
                    <a:pt x="409" y="431"/>
                  </a:cubicBezTo>
                  <a:cubicBezTo>
                    <a:pt x="398" y="431"/>
                    <a:pt x="376" y="420"/>
                    <a:pt x="364" y="420"/>
                  </a:cubicBezTo>
                  <a:lnTo>
                    <a:pt x="328" y="420"/>
                  </a:lnTo>
                  <a:lnTo>
                    <a:pt x="339" y="454"/>
                  </a:lnTo>
                  <a:lnTo>
                    <a:pt x="339" y="468"/>
                  </a:lnTo>
                  <a:cubicBezTo>
                    <a:pt x="339" y="490"/>
                    <a:pt x="328" y="501"/>
                    <a:pt x="317" y="513"/>
                  </a:cubicBezTo>
                  <a:cubicBezTo>
                    <a:pt x="306" y="524"/>
                    <a:pt x="280" y="538"/>
                    <a:pt x="258" y="538"/>
                  </a:cubicBezTo>
                  <a:cubicBezTo>
                    <a:pt x="247" y="538"/>
                    <a:pt x="247" y="538"/>
                    <a:pt x="236" y="524"/>
                  </a:cubicBezTo>
                  <a:cubicBezTo>
                    <a:pt x="211" y="524"/>
                    <a:pt x="188" y="513"/>
                    <a:pt x="166" y="513"/>
                  </a:cubicBezTo>
                  <a:lnTo>
                    <a:pt x="118" y="513"/>
                  </a:lnTo>
                  <a:cubicBezTo>
                    <a:pt x="93" y="513"/>
                    <a:pt x="72" y="513"/>
                    <a:pt x="48" y="518"/>
                  </a:cubicBezTo>
                  <a:lnTo>
                    <a:pt x="48" y="518"/>
                  </a:lnTo>
                  <a:lnTo>
                    <a:pt x="48" y="513"/>
                  </a:lnTo>
                  <a:cubicBezTo>
                    <a:pt x="60" y="501"/>
                    <a:pt x="71" y="501"/>
                    <a:pt x="85" y="490"/>
                  </a:cubicBezTo>
                  <a:cubicBezTo>
                    <a:pt x="199" y="443"/>
                    <a:pt x="306" y="398"/>
                    <a:pt x="420" y="362"/>
                  </a:cubicBezTo>
                  <a:cubicBezTo>
                    <a:pt x="468" y="339"/>
                    <a:pt x="504" y="328"/>
                    <a:pt x="538" y="292"/>
                  </a:cubicBezTo>
                  <a:cubicBezTo>
                    <a:pt x="549" y="292"/>
                    <a:pt x="560" y="280"/>
                    <a:pt x="560" y="269"/>
                  </a:cubicBezTo>
                  <a:cubicBezTo>
                    <a:pt x="585" y="244"/>
                    <a:pt x="585" y="222"/>
                    <a:pt x="596" y="199"/>
                  </a:cubicBezTo>
                  <a:cubicBezTo>
                    <a:pt x="608" y="174"/>
                    <a:pt x="608" y="163"/>
                    <a:pt x="619" y="163"/>
                  </a:cubicBezTo>
                  <a:cubicBezTo>
                    <a:pt x="630" y="152"/>
                    <a:pt x="644" y="152"/>
                    <a:pt x="655" y="152"/>
                  </a:cubicBezTo>
                  <a:cubicBezTo>
                    <a:pt x="666" y="152"/>
                    <a:pt x="678" y="152"/>
                    <a:pt x="700" y="163"/>
                  </a:cubicBezTo>
                  <a:lnTo>
                    <a:pt x="770" y="163"/>
                  </a:lnTo>
                  <a:cubicBezTo>
                    <a:pt x="817" y="163"/>
                    <a:pt x="840" y="141"/>
                    <a:pt x="876" y="118"/>
                  </a:cubicBezTo>
                  <a:cubicBezTo>
                    <a:pt x="910" y="82"/>
                    <a:pt x="935" y="60"/>
                    <a:pt x="957" y="48"/>
                  </a:cubicBezTo>
                  <a:close/>
                  <a:moveTo>
                    <a:pt x="980" y="1"/>
                  </a:moveTo>
                  <a:cubicBezTo>
                    <a:pt x="968" y="1"/>
                    <a:pt x="957" y="1"/>
                    <a:pt x="946" y="12"/>
                  </a:cubicBezTo>
                  <a:cubicBezTo>
                    <a:pt x="910" y="23"/>
                    <a:pt x="876" y="48"/>
                    <a:pt x="840" y="71"/>
                  </a:cubicBezTo>
                  <a:cubicBezTo>
                    <a:pt x="817" y="104"/>
                    <a:pt x="795" y="118"/>
                    <a:pt x="759" y="118"/>
                  </a:cubicBezTo>
                  <a:lnTo>
                    <a:pt x="714" y="118"/>
                  </a:lnTo>
                  <a:cubicBezTo>
                    <a:pt x="689" y="104"/>
                    <a:pt x="666" y="104"/>
                    <a:pt x="655" y="104"/>
                  </a:cubicBezTo>
                  <a:cubicBezTo>
                    <a:pt x="630" y="104"/>
                    <a:pt x="619" y="104"/>
                    <a:pt x="596" y="118"/>
                  </a:cubicBezTo>
                  <a:cubicBezTo>
                    <a:pt x="574" y="141"/>
                    <a:pt x="560" y="163"/>
                    <a:pt x="549" y="188"/>
                  </a:cubicBezTo>
                  <a:cubicBezTo>
                    <a:pt x="538" y="199"/>
                    <a:pt x="538" y="222"/>
                    <a:pt x="527" y="244"/>
                  </a:cubicBezTo>
                  <a:lnTo>
                    <a:pt x="515" y="258"/>
                  </a:lnTo>
                  <a:cubicBezTo>
                    <a:pt x="490" y="280"/>
                    <a:pt x="445" y="303"/>
                    <a:pt x="409" y="314"/>
                  </a:cubicBezTo>
                  <a:cubicBezTo>
                    <a:pt x="294" y="362"/>
                    <a:pt x="177" y="398"/>
                    <a:pt x="60" y="443"/>
                  </a:cubicBezTo>
                  <a:cubicBezTo>
                    <a:pt x="48" y="454"/>
                    <a:pt x="26" y="468"/>
                    <a:pt x="15" y="490"/>
                  </a:cubicBezTo>
                  <a:cubicBezTo>
                    <a:pt x="1" y="501"/>
                    <a:pt x="1" y="513"/>
                    <a:pt x="1" y="524"/>
                  </a:cubicBezTo>
                  <a:lnTo>
                    <a:pt x="1" y="549"/>
                  </a:lnTo>
                  <a:cubicBezTo>
                    <a:pt x="15" y="560"/>
                    <a:pt x="15" y="560"/>
                    <a:pt x="26" y="571"/>
                  </a:cubicBezTo>
                  <a:lnTo>
                    <a:pt x="48" y="571"/>
                  </a:lnTo>
                  <a:cubicBezTo>
                    <a:pt x="71" y="560"/>
                    <a:pt x="96" y="560"/>
                    <a:pt x="118" y="560"/>
                  </a:cubicBezTo>
                  <a:lnTo>
                    <a:pt x="155" y="560"/>
                  </a:lnTo>
                  <a:cubicBezTo>
                    <a:pt x="177" y="560"/>
                    <a:pt x="199" y="571"/>
                    <a:pt x="225" y="571"/>
                  </a:cubicBezTo>
                  <a:cubicBezTo>
                    <a:pt x="236" y="582"/>
                    <a:pt x="247" y="582"/>
                    <a:pt x="258" y="582"/>
                  </a:cubicBezTo>
                  <a:cubicBezTo>
                    <a:pt x="294" y="582"/>
                    <a:pt x="317" y="571"/>
                    <a:pt x="339" y="549"/>
                  </a:cubicBezTo>
                  <a:cubicBezTo>
                    <a:pt x="372" y="539"/>
                    <a:pt x="384" y="509"/>
                    <a:pt x="386" y="479"/>
                  </a:cubicBezTo>
                  <a:lnTo>
                    <a:pt x="386" y="479"/>
                  </a:lnTo>
                  <a:cubicBezTo>
                    <a:pt x="386" y="479"/>
                    <a:pt x="387" y="479"/>
                    <a:pt x="387" y="479"/>
                  </a:cubicBezTo>
                  <a:cubicBezTo>
                    <a:pt x="398" y="479"/>
                    <a:pt x="409" y="501"/>
                    <a:pt x="420" y="513"/>
                  </a:cubicBezTo>
                  <a:cubicBezTo>
                    <a:pt x="434" y="524"/>
                    <a:pt x="457" y="549"/>
                    <a:pt x="479" y="560"/>
                  </a:cubicBezTo>
                  <a:cubicBezTo>
                    <a:pt x="490" y="560"/>
                    <a:pt x="515" y="571"/>
                    <a:pt x="538" y="571"/>
                  </a:cubicBezTo>
                  <a:cubicBezTo>
                    <a:pt x="585" y="571"/>
                    <a:pt x="630" y="549"/>
                    <a:pt x="666" y="549"/>
                  </a:cubicBezTo>
                  <a:cubicBezTo>
                    <a:pt x="678" y="549"/>
                    <a:pt x="689" y="549"/>
                    <a:pt x="700" y="560"/>
                  </a:cubicBezTo>
                  <a:cubicBezTo>
                    <a:pt x="725" y="571"/>
                    <a:pt x="747" y="594"/>
                    <a:pt x="770" y="630"/>
                  </a:cubicBezTo>
                  <a:cubicBezTo>
                    <a:pt x="795" y="652"/>
                    <a:pt x="806" y="664"/>
                    <a:pt x="817" y="689"/>
                  </a:cubicBezTo>
                  <a:cubicBezTo>
                    <a:pt x="829" y="700"/>
                    <a:pt x="854" y="711"/>
                    <a:pt x="876" y="722"/>
                  </a:cubicBezTo>
                  <a:lnTo>
                    <a:pt x="924" y="722"/>
                  </a:lnTo>
                  <a:cubicBezTo>
                    <a:pt x="935" y="733"/>
                    <a:pt x="946" y="733"/>
                    <a:pt x="946" y="733"/>
                  </a:cubicBezTo>
                  <a:cubicBezTo>
                    <a:pt x="957" y="747"/>
                    <a:pt x="957" y="759"/>
                    <a:pt x="968" y="770"/>
                  </a:cubicBezTo>
                  <a:cubicBezTo>
                    <a:pt x="980" y="792"/>
                    <a:pt x="980" y="817"/>
                    <a:pt x="1005" y="840"/>
                  </a:cubicBezTo>
                  <a:cubicBezTo>
                    <a:pt x="1027" y="862"/>
                    <a:pt x="1049" y="862"/>
                    <a:pt x="1075" y="873"/>
                  </a:cubicBezTo>
                  <a:cubicBezTo>
                    <a:pt x="1097" y="873"/>
                    <a:pt x="1108" y="887"/>
                    <a:pt x="1119" y="898"/>
                  </a:cubicBezTo>
                  <a:cubicBezTo>
                    <a:pt x="1133" y="910"/>
                    <a:pt x="1133" y="921"/>
                    <a:pt x="1144" y="943"/>
                  </a:cubicBezTo>
                  <a:cubicBezTo>
                    <a:pt x="1156" y="957"/>
                    <a:pt x="1156" y="980"/>
                    <a:pt x="1178" y="991"/>
                  </a:cubicBezTo>
                  <a:cubicBezTo>
                    <a:pt x="1189" y="1002"/>
                    <a:pt x="1203" y="1002"/>
                    <a:pt x="1214" y="1013"/>
                  </a:cubicBezTo>
                  <a:lnTo>
                    <a:pt x="1226" y="1027"/>
                  </a:lnTo>
                  <a:cubicBezTo>
                    <a:pt x="1237" y="1038"/>
                    <a:pt x="1237" y="1061"/>
                    <a:pt x="1248" y="1083"/>
                  </a:cubicBezTo>
                  <a:cubicBezTo>
                    <a:pt x="1248" y="1108"/>
                    <a:pt x="1259" y="1131"/>
                    <a:pt x="1284" y="1153"/>
                  </a:cubicBezTo>
                  <a:cubicBezTo>
                    <a:pt x="1295" y="1167"/>
                    <a:pt x="1318" y="1167"/>
                    <a:pt x="1329" y="1167"/>
                  </a:cubicBezTo>
                  <a:lnTo>
                    <a:pt x="1377" y="1167"/>
                  </a:lnTo>
                  <a:cubicBezTo>
                    <a:pt x="1413" y="1178"/>
                    <a:pt x="1435" y="1189"/>
                    <a:pt x="1458" y="1212"/>
                  </a:cubicBezTo>
                  <a:cubicBezTo>
                    <a:pt x="1469" y="1237"/>
                    <a:pt x="1483" y="1270"/>
                    <a:pt x="1483" y="1307"/>
                  </a:cubicBezTo>
                  <a:lnTo>
                    <a:pt x="1483" y="1329"/>
                  </a:lnTo>
                  <a:lnTo>
                    <a:pt x="1483" y="1340"/>
                  </a:lnTo>
                  <a:lnTo>
                    <a:pt x="1469" y="1351"/>
                  </a:lnTo>
                  <a:lnTo>
                    <a:pt x="1446" y="1351"/>
                  </a:lnTo>
                  <a:lnTo>
                    <a:pt x="1435" y="1363"/>
                  </a:lnTo>
                  <a:lnTo>
                    <a:pt x="1435" y="1388"/>
                  </a:lnTo>
                  <a:cubicBezTo>
                    <a:pt x="1424" y="1388"/>
                    <a:pt x="1424" y="1399"/>
                    <a:pt x="1424" y="1410"/>
                  </a:cubicBezTo>
                  <a:lnTo>
                    <a:pt x="1424" y="1421"/>
                  </a:lnTo>
                  <a:cubicBezTo>
                    <a:pt x="1424" y="1432"/>
                    <a:pt x="1435" y="1446"/>
                    <a:pt x="1435" y="1446"/>
                  </a:cubicBezTo>
                  <a:cubicBezTo>
                    <a:pt x="1458" y="1502"/>
                    <a:pt x="1494" y="1561"/>
                    <a:pt x="1553" y="1609"/>
                  </a:cubicBezTo>
                  <a:lnTo>
                    <a:pt x="1564" y="1620"/>
                  </a:lnTo>
                  <a:lnTo>
                    <a:pt x="1586" y="1609"/>
                  </a:lnTo>
                  <a:cubicBezTo>
                    <a:pt x="1623" y="1586"/>
                    <a:pt x="1656" y="1586"/>
                    <a:pt x="1704" y="1586"/>
                  </a:cubicBezTo>
                  <a:lnTo>
                    <a:pt x="1715" y="1586"/>
                  </a:lnTo>
                  <a:cubicBezTo>
                    <a:pt x="1726" y="1586"/>
                    <a:pt x="1737" y="1586"/>
                    <a:pt x="1748" y="1597"/>
                  </a:cubicBezTo>
                  <a:cubicBezTo>
                    <a:pt x="1762" y="1597"/>
                    <a:pt x="1774" y="1609"/>
                    <a:pt x="1796" y="1631"/>
                  </a:cubicBezTo>
                  <a:cubicBezTo>
                    <a:pt x="1807" y="1631"/>
                    <a:pt x="1818" y="1642"/>
                    <a:pt x="1844" y="1642"/>
                  </a:cubicBezTo>
                  <a:cubicBezTo>
                    <a:pt x="1855" y="1642"/>
                    <a:pt x="1866" y="1631"/>
                    <a:pt x="1877" y="1620"/>
                  </a:cubicBezTo>
                  <a:cubicBezTo>
                    <a:pt x="1888" y="1609"/>
                    <a:pt x="1888" y="1609"/>
                    <a:pt x="1888" y="1597"/>
                  </a:cubicBezTo>
                  <a:lnTo>
                    <a:pt x="1902" y="1597"/>
                  </a:lnTo>
                  <a:cubicBezTo>
                    <a:pt x="1902" y="1597"/>
                    <a:pt x="1913" y="1597"/>
                    <a:pt x="1925" y="1609"/>
                  </a:cubicBezTo>
                  <a:cubicBezTo>
                    <a:pt x="1936" y="1609"/>
                    <a:pt x="1936" y="1609"/>
                    <a:pt x="1947" y="1620"/>
                  </a:cubicBezTo>
                  <a:cubicBezTo>
                    <a:pt x="1983" y="1642"/>
                    <a:pt x="2028" y="1642"/>
                    <a:pt x="2064" y="1642"/>
                  </a:cubicBezTo>
                  <a:cubicBezTo>
                    <a:pt x="2098" y="1642"/>
                    <a:pt x="2134" y="1642"/>
                    <a:pt x="2157" y="1631"/>
                  </a:cubicBezTo>
                  <a:cubicBezTo>
                    <a:pt x="2168" y="1620"/>
                    <a:pt x="2193" y="1609"/>
                    <a:pt x="2204" y="1609"/>
                  </a:cubicBezTo>
                  <a:cubicBezTo>
                    <a:pt x="2215" y="1609"/>
                    <a:pt x="2227" y="1597"/>
                    <a:pt x="2227" y="1597"/>
                  </a:cubicBezTo>
                  <a:cubicBezTo>
                    <a:pt x="2238" y="1597"/>
                    <a:pt x="2238" y="1597"/>
                    <a:pt x="2252" y="1609"/>
                  </a:cubicBezTo>
                  <a:lnTo>
                    <a:pt x="2263" y="1620"/>
                  </a:lnTo>
                  <a:lnTo>
                    <a:pt x="2263" y="1631"/>
                  </a:lnTo>
                  <a:cubicBezTo>
                    <a:pt x="2263" y="1656"/>
                    <a:pt x="2252" y="1679"/>
                    <a:pt x="2238" y="1701"/>
                  </a:cubicBezTo>
                  <a:lnTo>
                    <a:pt x="2238" y="1726"/>
                  </a:lnTo>
                  <a:cubicBezTo>
                    <a:pt x="2238" y="1737"/>
                    <a:pt x="2238" y="1748"/>
                    <a:pt x="2252" y="1760"/>
                  </a:cubicBezTo>
                  <a:cubicBezTo>
                    <a:pt x="2252" y="1771"/>
                    <a:pt x="2263" y="1782"/>
                    <a:pt x="2274" y="1782"/>
                  </a:cubicBezTo>
                  <a:cubicBezTo>
                    <a:pt x="2285" y="1796"/>
                    <a:pt x="2308" y="1796"/>
                    <a:pt x="2322" y="1796"/>
                  </a:cubicBezTo>
                  <a:lnTo>
                    <a:pt x="2355" y="1796"/>
                  </a:lnTo>
                  <a:cubicBezTo>
                    <a:pt x="2366" y="1796"/>
                    <a:pt x="2366" y="1796"/>
                    <a:pt x="2366" y="1807"/>
                  </a:cubicBezTo>
                  <a:cubicBezTo>
                    <a:pt x="2378" y="1807"/>
                    <a:pt x="2378" y="1807"/>
                    <a:pt x="2378" y="1818"/>
                  </a:cubicBezTo>
                  <a:lnTo>
                    <a:pt x="2378" y="1852"/>
                  </a:lnTo>
                  <a:cubicBezTo>
                    <a:pt x="2392" y="1866"/>
                    <a:pt x="2392" y="1877"/>
                    <a:pt x="2403" y="1888"/>
                  </a:cubicBezTo>
                  <a:cubicBezTo>
                    <a:pt x="2408" y="1893"/>
                    <a:pt x="2412" y="1896"/>
                    <a:pt x="2417" y="1897"/>
                  </a:cubicBezTo>
                  <a:lnTo>
                    <a:pt x="2417" y="1897"/>
                  </a:lnTo>
                  <a:cubicBezTo>
                    <a:pt x="2414" y="1909"/>
                    <a:pt x="2414" y="1919"/>
                    <a:pt x="2414" y="1936"/>
                  </a:cubicBezTo>
                  <a:cubicBezTo>
                    <a:pt x="2414" y="1947"/>
                    <a:pt x="2414" y="1969"/>
                    <a:pt x="2425" y="1981"/>
                  </a:cubicBezTo>
                  <a:lnTo>
                    <a:pt x="2425" y="1992"/>
                  </a:lnTo>
                  <a:cubicBezTo>
                    <a:pt x="2425" y="1992"/>
                    <a:pt x="2436" y="2006"/>
                    <a:pt x="2448" y="2006"/>
                  </a:cubicBezTo>
                  <a:cubicBezTo>
                    <a:pt x="2462" y="2006"/>
                    <a:pt x="2473" y="2006"/>
                    <a:pt x="2473" y="1992"/>
                  </a:cubicBezTo>
                  <a:lnTo>
                    <a:pt x="2484" y="1992"/>
                  </a:lnTo>
                  <a:lnTo>
                    <a:pt x="2495" y="2006"/>
                  </a:lnTo>
                  <a:cubicBezTo>
                    <a:pt x="2495" y="2028"/>
                    <a:pt x="2484" y="2039"/>
                    <a:pt x="2484" y="2062"/>
                  </a:cubicBezTo>
                  <a:lnTo>
                    <a:pt x="2484" y="2076"/>
                  </a:lnTo>
                  <a:cubicBezTo>
                    <a:pt x="2484" y="2087"/>
                    <a:pt x="2484" y="2098"/>
                    <a:pt x="2495" y="2120"/>
                  </a:cubicBezTo>
                  <a:cubicBezTo>
                    <a:pt x="2506" y="2132"/>
                    <a:pt x="2517" y="2146"/>
                    <a:pt x="2531" y="2146"/>
                  </a:cubicBezTo>
                  <a:lnTo>
                    <a:pt x="2532" y="2146"/>
                  </a:lnTo>
                  <a:cubicBezTo>
                    <a:pt x="2528" y="2152"/>
                    <a:pt x="2523" y="2159"/>
                    <a:pt x="2517" y="2168"/>
                  </a:cubicBezTo>
                  <a:lnTo>
                    <a:pt x="2517" y="2190"/>
                  </a:lnTo>
                  <a:cubicBezTo>
                    <a:pt x="2517" y="2215"/>
                    <a:pt x="2517" y="2227"/>
                    <a:pt x="2531" y="2238"/>
                  </a:cubicBezTo>
                  <a:cubicBezTo>
                    <a:pt x="2531" y="2249"/>
                    <a:pt x="2543" y="2271"/>
                    <a:pt x="2554" y="2285"/>
                  </a:cubicBezTo>
                  <a:cubicBezTo>
                    <a:pt x="2554" y="2308"/>
                    <a:pt x="2576" y="2319"/>
                    <a:pt x="2587" y="2330"/>
                  </a:cubicBezTo>
                  <a:lnTo>
                    <a:pt x="2716" y="2330"/>
                  </a:lnTo>
                  <a:cubicBezTo>
                    <a:pt x="2716" y="2341"/>
                    <a:pt x="2716" y="2341"/>
                    <a:pt x="2727" y="2341"/>
                  </a:cubicBezTo>
                  <a:lnTo>
                    <a:pt x="2727" y="2355"/>
                  </a:lnTo>
                  <a:cubicBezTo>
                    <a:pt x="2727" y="2366"/>
                    <a:pt x="2716" y="2389"/>
                    <a:pt x="2705" y="2400"/>
                  </a:cubicBezTo>
                  <a:cubicBezTo>
                    <a:pt x="2694" y="2425"/>
                    <a:pt x="2682" y="2448"/>
                    <a:pt x="2682" y="2470"/>
                  </a:cubicBezTo>
                  <a:cubicBezTo>
                    <a:pt x="2682" y="2481"/>
                    <a:pt x="2694" y="2506"/>
                    <a:pt x="2705" y="2517"/>
                  </a:cubicBezTo>
                  <a:lnTo>
                    <a:pt x="2705" y="2529"/>
                  </a:lnTo>
                  <a:lnTo>
                    <a:pt x="2727" y="2517"/>
                  </a:lnTo>
                  <a:lnTo>
                    <a:pt x="2752" y="2517"/>
                  </a:lnTo>
                  <a:lnTo>
                    <a:pt x="2786" y="2506"/>
                  </a:lnTo>
                  <a:lnTo>
                    <a:pt x="2764" y="2481"/>
                  </a:lnTo>
                  <a:lnTo>
                    <a:pt x="2775" y="2470"/>
                  </a:lnTo>
                  <a:lnTo>
                    <a:pt x="2786" y="2470"/>
                  </a:lnTo>
                  <a:cubicBezTo>
                    <a:pt x="2786" y="2481"/>
                    <a:pt x="2797" y="2481"/>
                    <a:pt x="2797" y="2495"/>
                  </a:cubicBezTo>
                  <a:cubicBezTo>
                    <a:pt x="2797" y="2506"/>
                    <a:pt x="2811" y="2517"/>
                    <a:pt x="2811" y="2529"/>
                  </a:cubicBezTo>
                  <a:cubicBezTo>
                    <a:pt x="2822" y="2551"/>
                    <a:pt x="2822" y="2587"/>
                    <a:pt x="2856" y="2599"/>
                  </a:cubicBezTo>
                  <a:cubicBezTo>
                    <a:pt x="2867" y="2610"/>
                    <a:pt x="2881" y="2621"/>
                    <a:pt x="2903" y="2621"/>
                  </a:cubicBezTo>
                  <a:cubicBezTo>
                    <a:pt x="2915" y="2621"/>
                    <a:pt x="2937" y="2621"/>
                    <a:pt x="2951" y="2599"/>
                  </a:cubicBezTo>
                  <a:cubicBezTo>
                    <a:pt x="2962" y="2587"/>
                    <a:pt x="2962" y="2576"/>
                    <a:pt x="2973" y="2551"/>
                  </a:cubicBezTo>
                  <a:lnTo>
                    <a:pt x="2973" y="2529"/>
                  </a:lnTo>
                  <a:lnTo>
                    <a:pt x="2984" y="2517"/>
                  </a:lnTo>
                  <a:lnTo>
                    <a:pt x="2996" y="2517"/>
                  </a:lnTo>
                  <a:cubicBezTo>
                    <a:pt x="3007" y="2517"/>
                    <a:pt x="3032" y="2529"/>
                    <a:pt x="3043" y="2529"/>
                  </a:cubicBezTo>
                  <a:cubicBezTo>
                    <a:pt x="3054" y="2551"/>
                    <a:pt x="3066" y="2587"/>
                    <a:pt x="3077" y="2621"/>
                  </a:cubicBezTo>
                  <a:cubicBezTo>
                    <a:pt x="3091" y="2646"/>
                    <a:pt x="3102" y="2668"/>
                    <a:pt x="3113" y="2680"/>
                  </a:cubicBezTo>
                  <a:cubicBezTo>
                    <a:pt x="3124" y="2705"/>
                    <a:pt x="3135" y="2716"/>
                    <a:pt x="3172" y="2727"/>
                  </a:cubicBezTo>
                  <a:lnTo>
                    <a:pt x="3183" y="2727"/>
                  </a:lnTo>
                  <a:lnTo>
                    <a:pt x="3194" y="2716"/>
                  </a:lnTo>
                  <a:cubicBezTo>
                    <a:pt x="3230" y="2635"/>
                    <a:pt x="3264" y="2551"/>
                    <a:pt x="3300" y="2470"/>
                  </a:cubicBezTo>
                  <a:cubicBezTo>
                    <a:pt x="3312" y="2448"/>
                    <a:pt x="3323" y="2411"/>
                    <a:pt x="3323" y="2378"/>
                  </a:cubicBezTo>
                  <a:lnTo>
                    <a:pt x="3323" y="2355"/>
                  </a:lnTo>
                  <a:cubicBezTo>
                    <a:pt x="3323" y="2330"/>
                    <a:pt x="3312" y="2319"/>
                    <a:pt x="3312" y="2308"/>
                  </a:cubicBezTo>
                  <a:cubicBezTo>
                    <a:pt x="3312" y="2308"/>
                    <a:pt x="3300" y="2297"/>
                    <a:pt x="3300" y="2285"/>
                  </a:cubicBezTo>
                  <a:cubicBezTo>
                    <a:pt x="3300" y="2271"/>
                    <a:pt x="3312" y="2271"/>
                    <a:pt x="3312" y="2260"/>
                  </a:cubicBezTo>
                  <a:cubicBezTo>
                    <a:pt x="3323" y="2249"/>
                    <a:pt x="3323" y="2238"/>
                    <a:pt x="3334" y="2227"/>
                  </a:cubicBezTo>
                  <a:cubicBezTo>
                    <a:pt x="3345" y="2215"/>
                    <a:pt x="3345" y="2190"/>
                    <a:pt x="3345" y="2168"/>
                  </a:cubicBezTo>
                  <a:cubicBezTo>
                    <a:pt x="3345" y="2157"/>
                    <a:pt x="3345" y="2146"/>
                    <a:pt x="3334" y="2132"/>
                  </a:cubicBezTo>
                  <a:cubicBezTo>
                    <a:pt x="3323" y="2120"/>
                    <a:pt x="3312" y="2120"/>
                    <a:pt x="3300" y="2120"/>
                  </a:cubicBezTo>
                  <a:cubicBezTo>
                    <a:pt x="3286" y="2120"/>
                    <a:pt x="3275" y="2120"/>
                    <a:pt x="3264" y="2132"/>
                  </a:cubicBezTo>
                  <a:cubicBezTo>
                    <a:pt x="3253" y="2146"/>
                    <a:pt x="3242" y="2157"/>
                    <a:pt x="3230" y="2157"/>
                  </a:cubicBezTo>
                  <a:lnTo>
                    <a:pt x="3077" y="2157"/>
                  </a:lnTo>
                  <a:cubicBezTo>
                    <a:pt x="3054" y="2146"/>
                    <a:pt x="3032" y="2146"/>
                    <a:pt x="3007" y="2132"/>
                  </a:cubicBezTo>
                  <a:lnTo>
                    <a:pt x="2996" y="2120"/>
                  </a:lnTo>
                  <a:cubicBezTo>
                    <a:pt x="2984" y="2120"/>
                    <a:pt x="2984" y="2109"/>
                    <a:pt x="2973" y="2109"/>
                  </a:cubicBezTo>
                  <a:cubicBezTo>
                    <a:pt x="2962" y="2098"/>
                    <a:pt x="2951" y="2098"/>
                    <a:pt x="2937" y="2098"/>
                  </a:cubicBezTo>
                  <a:cubicBezTo>
                    <a:pt x="2915" y="2098"/>
                    <a:pt x="2903" y="2109"/>
                    <a:pt x="2892" y="2109"/>
                  </a:cubicBezTo>
                  <a:lnTo>
                    <a:pt x="2881" y="2109"/>
                  </a:lnTo>
                  <a:lnTo>
                    <a:pt x="2881" y="2098"/>
                  </a:lnTo>
                  <a:cubicBezTo>
                    <a:pt x="2867" y="2098"/>
                    <a:pt x="2867" y="2098"/>
                    <a:pt x="2867" y="2087"/>
                  </a:cubicBezTo>
                  <a:cubicBezTo>
                    <a:pt x="2867" y="2087"/>
                    <a:pt x="2856" y="2076"/>
                    <a:pt x="2856" y="2062"/>
                  </a:cubicBezTo>
                  <a:cubicBezTo>
                    <a:pt x="2845" y="2050"/>
                    <a:pt x="2822" y="2050"/>
                    <a:pt x="2811" y="2050"/>
                  </a:cubicBezTo>
                  <a:lnTo>
                    <a:pt x="2775" y="2050"/>
                  </a:lnTo>
                  <a:cubicBezTo>
                    <a:pt x="2764" y="2050"/>
                    <a:pt x="2752" y="2050"/>
                    <a:pt x="2741" y="2039"/>
                  </a:cubicBezTo>
                  <a:cubicBezTo>
                    <a:pt x="2727" y="2028"/>
                    <a:pt x="2716" y="2017"/>
                    <a:pt x="2716" y="2006"/>
                  </a:cubicBezTo>
                  <a:cubicBezTo>
                    <a:pt x="2716" y="1981"/>
                    <a:pt x="2705" y="1969"/>
                    <a:pt x="2705" y="1958"/>
                  </a:cubicBezTo>
                  <a:cubicBezTo>
                    <a:pt x="2705" y="1936"/>
                    <a:pt x="2716" y="1911"/>
                    <a:pt x="2716" y="1888"/>
                  </a:cubicBezTo>
                  <a:lnTo>
                    <a:pt x="2716" y="1877"/>
                  </a:lnTo>
                  <a:cubicBezTo>
                    <a:pt x="2716" y="1841"/>
                    <a:pt x="2705" y="1796"/>
                    <a:pt x="2682" y="1760"/>
                  </a:cubicBezTo>
                  <a:cubicBezTo>
                    <a:pt x="2657" y="1748"/>
                    <a:pt x="2646" y="1737"/>
                    <a:pt x="2646" y="1726"/>
                  </a:cubicBezTo>
                  <a:cubicBezTo>
                    <a:pt x="2646" y="1726"/>
                    <a:pt x="2635" y="1712"/>
                    <a:pt x="2635" y="1701"/>
                  </a:cubicBezTo>
                  <a:cubicBezTo>
                    <a:pt x="2635" y="1690"/>
                    <a:pt x="2635" y="1679"/>
                    <a:pt x="2624" y="1667"/>
                  </a:cubicBezTo>
                  <a:cubicBezTo>
                    <a:pt x="2613" y="1656"/>
                    <a:pt x="2601" y="1642"/>
                    <a:pt x="2601" y="1631"/>
                  </a:cubicBezTo>
                  <a:lnTo>
                    <a:pt x="2587" y="1631"/>
                  </a:lnTo>
                  <a:lnTo>
                    <a:pt x="2587" y="1620"/>
                  </a:lnTo>
                  <a:cubicBezTo>
                    <a:pt x="2587" y="1620"/>
                    <a:pt x="2601" y="1620"/>
                    <a:pt x="2601" y="1609"/>
                  </a:cubicBezTo>
                  <a:cubicBezTo>
                    <a:pt x="2601" y="1597"/>
                    <a:pt x="2613" y="1586"/>
                    <a:pt x="2613" y="1572"/>
                  </a:cubicBezTo>
                  <a:cubicBezTo>
                    <a:pt x="2613" y="1550"/>
                    <a:pt x="2601" y="1528"/>
                    <a:pt x="2587" y="1516"/>
                  </a:cubicBezTo>
                  <a:cubicBezTo>
                    <a:pt x="2587" y="1491"/>
                    <a:pt x="2576" y="1480"/>
                    <a:pt x="2576" y="1469"/>
                  </a:cubicBezTo>
                  <a:lnTo>
                    <a:pt x="2576" y="1458"/>
                  </a:lnTo>
                  <a:cubicBezTo>
                    <a:pt x="2576" y="1446"/>
                    <a:pt x="2587" y="1421"/>
                    <a:pt x="2587" y="1410"/>
                  </a:cubicBezTo>
                  <a:cubicBezTo>
                    <a:pt x="2601" y="1388"/>
                    <a:pt x="2613" y="1363"/>
                    <a:pt x="2624" y="1351"/>
                  </a:cubicBezTo>
                  <a:cubicBezTo>
                    <a:pt x="2635" y="1329"/>
                    <a:pt x="2646" y="1307"/>
                    <a:pt x="2646" y="1270"/>
                  </a:cubicBezTo>
                  <a:cubicBezTo>
                    <a:pt x="2646" y="1248"/>
                    <a:pt x="2635" y="1212"/>
                    <a:pt x="2613" y="1189"/>
                  </a:cubicBezTo>
                  <a:cubicBezTo>
                    <a:pt x="2587" y="1167"/>
                    <a:pt x="2565" y="1167"/>
                    <a:pt x="2554" y="1153"/>
                  </a:cubicBezTo>
                  <a:cubicBezTo>
                    <a:pt x="2531" y="1142"/>
                    <a:pt x="2506" y="1131"/>
                    <a:pt x="2495" y="1131"/>
                  </a:cubicBezTo>
                  <a:cubicBezTo>
                    <a:pt x="2484" y="1119"/>
                    <a:pt x="2473" y="1083"/>
                    <a:pt x="2473" y="1072"/>
                  </a:cubicBezTo>
                  <a:lnTo>
                    <a:pt x="2473" y="1049"/>
                  </a:lnTo>
                  <a:cubicBezTo>
                    <a:pt x="2484" y="1038"/>
                    <a:pt x="2495" y="1038"/>
                    <a:pt x="2506" y="1027"/>
                  </a:cubicBezTo>
                  <a:cubicBezTo>
                    <a:pt x="2517" y="1027"/>
                    <a:pt x="2517" y="1013"/>
                    <a:pt x="2531" y="1013"/>
                  </a:cubicBezTo>
                  <a:cubicBezTo>
                    <a:pt x="2531" y="1002"/>
                    <a:pt x="2543" y="991"/>
                    <a:pt x="2543" y="980"/>
                  </a:cubicBezTo>
                  <a:lnTo>
                    <a:pt x="2543" y="968"/>
                  </a:lnTo>
                  <a:cubicBezTo>
                    <a:pt x="2531" y="957"/>
                    <a:pt x="2531" y="943"/>
                    <a:pt x="2517" y="943"/>
                  </a:cubicBezTo>
                  <a:cubicBezTo>
                    <a:pt x="2484" y="898"/>
                    <a:pt x="2425" y="873"/>
                    <a:pt x="2366" y="873"/>
                  </a:cubicBezTo>
                  <a:lnTo>
                    <a:pt x="2344" y="873"/>
                  </a:lnTo>
                  <a:cubicBezTo>
                    <a:pt x="2297" y="873"/>
                    <a:pt x="2252" y="887"/>
                    <a:pt x="2204" y="898"/>
                  </a:cubicBezTo>
                  <a:cubicBezTo>
                    <a:pt x="2168" y="910"/>
                    <a:pt x="2123" y="921"/>
                    <a:pt x="2087" y="921"/>
                  </a:cubicBezTo>
                  <a:lnTo>
                    <a:pt x="2076" y="921"/>
                  </a:lnTo>
                  <a:cubicBezTo>
                    <a:pt x="2042" y="921"/>
                    <a:pt x="1995" y="910"/>
                    <a:pt x="1947" y="898"/>
                  </a:cubicBezTo>
                  <a:cubicBezTo>
                    <a:pt x="1902" y="887"/>
                    <a:pt x="1866" y="873"/>
                    <a:pt x="1818" y="862"/>
                  </a:cubicBezTo>
                  <a:cubicBezTo>
                    <a:pt x="1796" y="862"/>
                    <a:pt x="1785" y="851"/>
                    <a:pt x="1774" y="840"/>
                  </a:cubicBezTo>
                  <a:cubicBezTo>
                    <a:pt x="1774" y="840"/>
                    <a:pt x="1774" y="829"/>
                    <a:pt x="1762" y="817"/>
                  </a:cubicBezTo>
                  <a:lnTo>
                    <a:pt x="1762" y="747"/>
                  </a:lnTo>
                  <a:cubicBezTo>
                    <a:pt x="1748" y="733"/>
                    <a:pt x="1748" y="722"/>
                    <a:pt x="1748" y="711"/>
                  </a:cubicBezTo>
                  <a:cubicBezTo>
                    <a:pt x="1737" y="700"/>
                    <a:pt x="1726" y="689"/>
                    <a:pt x="1715" y="689"/>
                  </a:cubicBezTo>
                  <a:cubicBezTo>
                    <a:pt x="1704" y="678"/>
                    <a:pt x="1693" y="678"/>
                    <a:pt x="1679" y="678"/>
                  </a:cubicBezTo>
                  <a:cubicBezTo>
                    <a:pt x="1656" y="678"/>
                    <a:pt x="1645" y="689"/>
                    <a:pt x="1634" y="689"/>
                  </a:cubicBezTo>
                  <a:cubicBezTo>
                    <a:pt x="1623" y="700"/>
                    <a:pt x="1597" y="700"/>
                    <a:pt x="1586" y="700"/>
                  </a:cubicBezTo>
                  <a:lnTo>
                    <a:pt x="1575" y="700"/>
                  </a:lnTo>
                  <a:cubicBezTo>
                    <a:pt x="1553" y="700"/>
                    <a:pt x="1528" y="700"/>
                    <a:pt x="1494" y="689"/>
                  </a:cubicBezTo>
                  <a:cubicBezTo>
                    <a:pt x="1399" y="630"/>
                    <a:pt x="1307" y="560"/>
                    <a:pt x="1237" y="479"/>
                  </a:cubicBezTo>
                  <a:cubicBezTo>
                    <a:pt x="1214" y="443"/>
                    <a:pt x="1203" y="409"/>
                    <a:pt x="1203" y="384"/>
                  </a:cubicBezTo>
                  <a:cubicBezTo>
                    <a:pt x="1203" y="373"/>
                    <a:pt x="1203" y="373"/>
                    <a:pt x="1214" y="362"/>
                  </a:cubicBezTo>
                  <a:cubicBezTo>
                    <a:pt x="1214" y="350"/>
                    <a:pt x="1226" y="339"/>
                    <a:pt x="1237" y="339"/>
                  </a:cubicBezTo>
                  <a:cubicBezTo>
                    <a:pt x="1237" y="328"/>
                    <a:pt x="1248" y="314"/>
                    <a:pt x="1248" y="292"/>
                  </a:cubicBezTo>
                  <a:cubicBezTo>
                    <a:pt x="1248" y="280"/>
                    <a:pt x="1248" y="269"/>
                    <a:pt x="1237" y="269"/>
                  </a:cubicBezTo>
                  <a:cubicBezTo>
                    <a:pt x="1237" y="258"/>
                    <a:pt x="1226" y="258"/>
                    <a:pt x="1214" y="244"/>
                  </a:cubicBezTo>
                  <a:lnTo>
                    <a:pt x="1203" y="244"/>
                  </a:lnTo>
                  <a:cubicBezTo>
                    <a:pt x="1167" y="236"/>
                    <a:pt x="1137" y="234"/>
                    <a:pt x="1110" y="228"/>
                  </a:cubicBezTo>
                  <a:lnTo>
                    <a:pt x="1110" y="228"/>
                  </a:lnTo>
                  <a:cubicBezTo>
                    <a:pt x="1115" y="213"/>
                    <a:pt x="1119" y="196"/>
                    <a:pt x="1119" y="174"/>
                  </a:cubicBezTo>
                  <a:lnTo>
                    <a:pt x="1119" y="152"/>
                  </a:lnTo>
                  <a:cubicBezTo>
                    <a:pt x="1108" y="141"/>
                    <a:pt x="1108" y="129"/>
                    <a:pt x="1097" y="118"/>
                  </a:cubicBezTo>
                  <a:cubicBezTo>
                    <a:pt x="1075" y="104"/>
                    <a:pt x="1063" y="104"/>
                    <a:pt x="1049" y="104"/>
                  </a:cubicBezTo>
                  <a:lnTo>
                    <a:pt x="1038" y="104"/>
                  </a:lnTo>
                  <a:lnTo>
                    <a:pt x="1038" y="82"/>
                  </a:lnTo>
                  <a:lnTo>
                    <a:pt x="1038" y="60"/>
                  </a:lnTo>
                  <a:cubicBezTo>
                    <a:pt x="1038" y="60"/>
                    <a:pt x="1038" y="48"/>
                    <a:pt x="1027" y="34"/>
                  </a:cubicBezTo>
                  <a:cubicBezTo>
                    <a:pt x="1027" y="34"/>
                    <a:pt x="1027" y="23"/>
                    <a:pt x="1016" y="12"/>
                  </a:cubicBezTo>
                  <a:cubicBezTo>
                    <a:pt x="1005" y="1"/>
                    <a:pt x="994" y="1"/>
                    <a:pt x="98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" name="Google Shape;187;p17">
              <a:extLst>
                <a:ext uri="{FF2B5EF4-FFF2-40B4-BE49-F238E27FC236}">
                  <a16:creationId xmlns:a16="http://schemas.microsoft.com/office/drawing/2014/main" xmlns="" id="{EFB3688D-DD89-4B73-BA70-65ED57DDE2BB}"/>
                </a:ext>
              </a:extLst>
            </p:cNvPr>
            <p:cNvSpPr/>
            <p:nvPr/>
          </p:nvSpPr>
          <p:spPr>
            <a:xfrm>
              <a:off x="1301604" y="2235718"/>
              <a:ext cx="125880" cy="165769"/>
            </a:xfrm>
            <a:custGeom>
              <a:avLst/>
              <a:gdLst/>
              <a:ahLst/>
              <a:cxnLst/>
              <a:rect l="l" t="t" r="r" b="b"/>
              <a:pathLst>
                <a:path w="546" h="719" extrusionOk="0">
                  <a:moveTo>
                    <a:pt x="372" y="1"/>
                  </a:moveTo>
                  <a:cubicBezTo>
                    <a:pt x="350" y="15"/>
                    <a:pt x="325" y="26"/>
                    <a:pt x="302" y="48"/>
                  </a:cubicBezTo>
                  <a:cubicBezTo>
                    <a:pt x="280" y="71"/>
                    <a:pt x="244" y="85"/>
                    <a:pt x="233" y="107"/>
                  </a:cubicBezTo>
                  <a:lnTo>
                    <a:pt x="221" y="107"/>
                  </a:lnTo>
                  <a:cubicBezTo>
                    <a:pt x="174" y="166"/>
                    <a:pt x="140" y="225"/>
                    <a:pt x="115" y="281"/>
                  </a:cubicBezTo>
                  <a:cubicBezTo>
                    <a:pt x="82" y="376"/>
                    <a:pt x="82" y="468"/>
                    <a:pt x="45" y="549"/>
                  </a:cubicBezTo>
                  <a:cubicBezTo>
                    <a:pt x="34" y="585"/>
                    <a:pt x="12" y="619"/>
                    <a:pt x="0" y="655"/>
                  </a:cubicBezTo>
                  <a:cubicBezTo>
                    <a:pt x="0" y="678"/>
                    <a:pt x="0" y="689"/>
                    <a:pt x="12" y="700"/>
                  </a:cubicBezTo>
                  <a:cubicBezTo>
                    <a:pt x="20" y="710"/>
                    <a:pt x="28" y="719"/>
                    <a:pt x="36" y="719"/>
                  </a:cubicBezTo>
                  <a:cubicBezTo>
                    <a:pt x="39" y="719"/>
                    <a:pt x="42" y="717"/>
                    <a:pt x="45" y="714"/>
                  </a:cubicBezTo>
                  <a:cubicBezTo>
                    <a:pt x="70" y="714"/>
                    <a:pt x="70" y="689"/>
                    <a:pt x="82" y="678"/>
                  </a:cubicBezTo>
                  <a:cubicBezTo>
                    <a:pt x="82" y="655"/>
                    <a:pt x="82" y="630"/>
                    <a:pt x="93" y="619"/>
                  </a:cubicBezTo>
                  <a:cubicBezTo>
                    <a:pt x="93" y="619"/>
                    <a:pt x="93" y="608"/>
                    <a:pt x="104" y="608"/>
                  </a:cubicBezTo>
                  <a:lnTo>
                    <a:pt x="115" y="608"/>
                  </a:lnTo>
                  <a:cubicBezTo>
                    <a:pt x="140" y="608"/>
                    <a:pt x="151" y="619"/>
                    <a:pt x="174" y="630"/>
                  </a:cubicBezTo>
                  <a:cubicBezTo>
                    <a:pt x="189" y="630"/>
                    <a:pt x="205" y="636"/>
                    <a:pt x="217" y="636"/>
                  </a:cubicBezTo>
                  <a:cubicBezTo>
                    <a:pt x="224" y="636"/>
                    <a:pt x="229" y="635"/>
                    <a:pt x="233" y="630"/>
                  </a:cubicBezTo>
                  <a:cubicBezTo>
                    <a:pt x="255" y="619"/>
                    <a:pt x="266" y="585"/>
                    <a:pt x="291" y="574"/>
                  </a:cubicBezTo>
                  <a:cubicBezTo>
                    <a:pt x="301" y="568"/>
                    <a:pt x="313" y="565"/>
                    <a:pt x="325" y="565"/>
                  </a:cubicBezTo>
                  <a:cubicBezTo>
                    <a:pt x="342" y="565"/>
                    <a:pt x="360" y="571"/>
                    <a:pt x="372" y="585"/>
                  </a:cubicBezTo>
                  <a:cubicBezTo>
                    <a:pt x="406" y="597"/>
                    <a:pt x="431" y="608"/>
                    <a:pt x="453" y="619"/>
                  </a:cubicBezTo>
                  <a:cubicBezTo>
                    <a:pt x="459" y="624"/>
                    <a:pt x="465" y="627"/>
                    <a:pt x="471" y="627"/>
                  </a:cubicBezTo>
                  <a:cubicBezTo>
                    <a:pt x="477" y="627"/>
                    <a:pt x="483" y="624"/>
                    <a:pt x="490" y="619"/>
                  </a:cubicBezTo>
                  <a:cubicBezTo>
                    <a:pt x="490" y="608"/>
                    <a:pt x="476" y="597"/>
                    <a:pt x="476" y="585"/>
                  </a:cubicBezTo>
                  <a:cubicBezTo>
                    <a:pt x="465" y="574"/>
                    <a:pt x="453" y="574"/>
                    <a:pt x="442" y="560"/>
                  </a:cubicBezTo>
                  <a:cubicBezTo>
                    <a:pt x="442" y="560"/>
                    <a:pt x="442" y="549"/>
                    <a:pt x="431" y="538"/>
                  </a:cubicBezTo>
                  <a:cubicBezTo>
                    <a:pt x="431" y="538"/>
                    <a:pt x="442" y="527"/>
                    <a:pt x="453" y="527"/>
                  </a:cubicBezTo>
                  <a:lnTo>
                    <a:pt x="490" y="527"/>
                  </a:lnTo>
                  <a:cubicBezTo>
                    <a:pt x="523" y="515"/>
                    <a:pt x="546" y="479"/>
                    <a:pt x="535" y="457"/>
                  </a:cubicBezTo>
                  <a:cubicBezTo>
                    <a:pt x="528" y="453"/>
                    <a:pt x="520" y="452"/>
                    <a:pt x="512" y="452"/>
                  </a:cubicBezTo>
                  <a:cubicBezTo>
                    <a:pt x="492" y="452"/>
                    <a:pt x="469" y="460"/>
                    <a:pt x="453" y="468"/>
                  </a:cubicBezTo>
                  <a:cubicBezTo>
                    <a:pt x="431" y="468"/>
                    <a:pt x="406" y="468"/>
                    <a:pt x="395" y="446"/>
                  </a:cubicBezTo>
                  <a:cubicBezTo>
                    <a:pt x="384" y="420"/>
                    <a:pt x="420" y="409"/>
                    <a:pt x="431" y="387"/>
                  </a:cubicBezTo>
                  <a:cubicBezTo>
                    <a:pt x="431" y="364"/>
                    <a:pt x="431" y="328"/>
                    <a:pt x="420" y="306"/>
                  </a:cubicBezTo>
                  <a:cubicBezTo>
                    <a:pt x="395" y="281"/>
                    <a:pt x="361" y="247"/>
                    <a:pt x="372" y="211"/>
                  </a:cubicBezTo>
                  <a:cubicBezTo>
                    <a:pt x="384" y="199"/>
                    <a:pt x="395" y="199"/>
                    <a:pt x="406" y="199"/>
                  </a:cubicBezTo>
                  <a:cubicBezTo>
                    <a:pt x="395" y="188"/>
                    <a:pt x="395" y="177"/>
                    <a:pt x="395" y="166"/>
                  </a:cubicBezTo>
                  <a:cubicBezTo>
                    <a:pt x="395" y="141"/>
                    <a:pt x="395" y="130"/>
                    <a:pt x="406" y="118"/>
                  </a:cubicBezTo>
                  <a:cubicBezTo>
                    <a:pt x="406" y="107"/>
                    <a:pt x="406" y="96"/>
                    <a:pt x="395" y="85"/>
                  </a:cubicBezTo>
                  <a:lnTo>
                    <a:pt x="384" y="71"/>
                  </a:lnTo>
                  <a:cubicBezTo>
                    <a:pt x="372" y="60"/>
                    <a:pt x="372" y="48"/>
                    <a:pt x="384" y="37"/>
                  </a:cubicBezTo>
                  <a:cubicBezTo>
                    <a:pt x="384" y="26"/>
                    <a:pt x="384" y="15"/>
                    <a:pt x="372" y="1"/>
                  </a:cubicBezTo>
                  <a:close/>
                </a:path>
              </a:pathLst>
            </a:custGeom>
            <a:solidFill>
              <a:srgbClr val="78D7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" name="Google Shape;188;p17">
              <a:extLst>
                <a:ext uri="{FF2B5EF4-FFF2-40B4-BE49-F238E27FC236}">
                  <a16:creationId xmlns:a16="http://schemas.microsoft.com/office/drawing/2014/main" xmlns="" id="{73ED05EF-FB96-E577-CBF8-05CE64FC7B5F}"/>
                </a:ext>
              </a:extLst>
            </p:cNvPr>
            <p:cNvSpPr/>
            <p:nvPr/>
          </p:nvSpPr>
          <p:spPr>
            <a:xfrm>
              <a:off x="1295841" y="2230646"/>
              <a:ext cx="134872" cy="174991"/>
            </a:xfrm>
            <a:custGeom>
              <a:avLst/>
              <a:gdLst/>
              <a:ahLst/>
              <a:cxnLst/>
              <a:rect l="l" t="t" r="r" b="b"/>
              <a:pathLst>
                <a:path w="585" h="759" extrusionOk="0">
                  <a:moveTo>
                    <a:pt x="383" y="61"/>
                  </a:moveTo>
                  <a:cubicBezTo>
                    <a:pt x="379" y="68"/>
                    <a:pt x="375" y="75"/>
                    <a:pt x="375" y="82"/>
                  </a:cubicBezTo>
                  <a:cubicBezTo>
                    <a:pt x="375" y="93"/>
                    <a:pt x="375" y="107"/>
                    <a:pt x="386" y="118"/>
                  </a:cubicBezTo>
                  <a:lnTo>
                    <a:pt x="409" y="129"/>
                  </a:lnTo>
                  <a:lnTo>
                    <a:pt x="409" y="140"/>
                  </a:lnTo>
                  <a:cubicBezTo>
                    <a:pt x="409" y="152"/>
                    <a:pt x="397" y="163"/>
                    <a:pt x="397" y="188"/>
                  </a:cubicBezTo>
                  <a:cubicBezTo>
                    <a:pt x="397" y="191"/>
                    <a:pt x="397" y="195"/>
                    <a:pt x="398" y="199"/>
                  </a:cubicBezTo>
                  <a:lnTo>
                    <a:pt x="397" y="199"/>
                  </a:lnTo>
                  <a:cubicBezTo>
                    <a:pt x="386" y="210"/>
                    <a:pt x="386" y="221"/>
                    <a:pt x="375" y="233"/>
                  </a:cubicBezTo>
                  <a:lnTo>
                    <a:pt x="375" y="258"/>
                  </a:lnTo>
                  <a:cubicBezTo>
                    <a:pt x="375" y="280"/>
                    <a:pt x="386" y="291"/>
                    <a:pt x="397" y="303"/>
                  </a:cubicBezTo>
                  <a:cubicBezTo>
                    <a:pt x="397" y="317"/>
                    <a:pt x="409" y="328"/>
                    <a:pt x="420" y="339"/>
                  </a:cubicBezTo>
                  <a:cubicBezTo>
                    <a:pt x="420" y="350"/>
                    <a:pt x="431" y="372"/>
                    <a:pt x="431" y="386"/>
                  </a:cubicBezTo>
                  <a:lnTo>
                    <a:pt x="431" y="398"/>
                  </a:lnTo>
                  <a:cubicBezTo>
                    <a:pt x="431" y="398"/>
                    <a:pt x="420" y="409"/>
                    <a:pt x="420" y="420"/>
                  </a:cubicBezTo>
                  <a:cubicBezTo>
                    <a:pt x="409" y="420"/>
                    <a:pt x="409" y="431"/>
                    <a:pt x="409" y="431"/>
                  </a:cubicBezTo>
                  <a:cubicBezTo>
                    <a:pt x="397" y="442"/>
                    <a:pt x="397" y="442"/>
                    <a:pt x="397" y="456"/>
                  </a:cubicBezTo>
                  <a:lnTo>
                    <a:pt x="397" y="479"/>
                  </a:lnTo>
                  <a:cubicBezTo>
                    <a:pt x="409" y="490"/>
                    <a:pt x="420" y="501"/>
                    <a:pt x="431" y="501"/>
                  </a:cubicBezTo>
                  <a:cubicBezTo>
                    <a:pt x="431" y="512"/>
                    <a:pt x="445" y="512"/>
                    <a:pt x="456" y="512"/>
                  </a:cubicBezTo>
                  <a:lnTo>
                    <a:pt x="478" y="512"/>
                  </a:lnTo>
                  <a:cubicBezTo>
                    <a:pt x="501" y="501"/>
                    <a:pt x="526" y="490"/>
                    <a:pt x="537" y="490"/>
                  </a:cubicBezTo>
                  <a:cubicBezTo>
                    <a:pt x="537" y="490"/>
                    <a:pt x="537" y="501"/>
                    <a:pt x="526" y="512"/>
                  </a:cubicBezTo>
                  <a:lnTo>
                    <a:pt x="515" y="526"/>
                  </a:lnTo>
                  <a:lnTo>
                    <a:pt x="478" y="526"/>
                  </a:lnTo>
                  <a:cubicBezTo>
                    <a:pt x="467" y="526"/>
                    <a:pt x="456" y="526"/>
                    <a:pt x="456" y="537"/>
                  </a:cubicBezTo>
                  <a:cubicBezTo>
                    <a:pt x="445" y="537"/>
                    <a:pt x="431" y="549"/>
                    <a:pt x="431" y="560"/>
                  </a:cubicBezTo>
                  <a:lnTo>
                    <a:pt x="431" y="571"/>
                  </a:lnTo>
                  <a:cubicBezTo>
                    <a:pt x="445" y="571"/>
                    <a:pt x="445" y="582"/>
                    <a:pt x="445" y="582"/>
                  </a:cubicBezTo>
                  <a:lnTo>
                    <a:pt x="456" y="596"/>
                  </a:lnTo>
                  <a:cubicBezTo>
                    <a:pt x="462" y="602"/>
                    <a:pt x="469" y="609"/>
                    <a:pt x="473" y="615"/>
                  </a:cubicBezTo>
                  <a:lnTo>
                    <a:pt x="473" y="615"/>
                  </a:lnTo>
                  <a:cubicBezTo>
                    <a:pt x="455" y="608"/>
                    <a:pt x="436" y="593"/>
                    <a:pt x="409" y="582"/>
                  </a:cubicBezTo>
                  <a:cubicBezTo>
                    <a:pt x="397" y="571"/>
                    <a:pt x="375" y="560"/>
                    <a:pt x="350" y="560"/>
                  </a:cubicBezTo>
                  <a:cubicBezTo>
                    <a:pt x="339" y="560"/>
                    <a:pt x="316" y="571"/>
                    <a:pt x="305" y="571"/>
                  </a:cubicBezTo>
                  <a:cubicBezTo>
                    <a:pt x="291" y="582"/>
                    <a:pt x="280" y="596"/>
                    <a:pt x="269" y="607"/>
                  </a:cubicBezTo>
                  <a:cubicBezTo>
                    <a:pt x="269" y="619"/>
                    <a:pt x="258" y="630"/>
                    <a:pt x="246" y="630"/>
                  </a:cubicBezTo>
                  <a:lnTo>
                    <a:pt x="210" y="630"/>
                  </a:lnTo>
                  <a:cubicBezTo>
                    <a:pt x="188" y="619"/>
                    <a:pt x="165" y="607"/>
                    <a:pt x="140" y="607"/>
                  </a:cubicBezTo>
                  <a:lnTo>
                    <a:pt x="118" y="607"/>
                  </a:lnTo>
                  <a:cubicBezTo>
                    <a:pt x="107" y="619"/>
                    <a:pt x="95" y="619"/>
                    <a:pt x="95" y="630"/>
                  </a:cubicBezTo>
                  <a:cubicBezTo>
                    <a:pt x="81" y="652"/>
                    <a:pt x="81" y="677"/>
                    <a:pt x="81" y="688"/>
                  </a:cubicBezTo>
                  <a:cubicBezTo>
                    <a:pt x="81" y="700"/>
                    <a:pt x="70" y="711"/>
                    <a:pt x="70" y="711"/>
                  </a:cubicBezTo>
                  <a:lnTo>
                    <a:pt x="59" y="711"/>
                  </a:lnTo>
                  <a:cubicBezTo>
                    <a:pt x="59" y="700"/>
                    <a:pt x="48" y="700"/>
                    <a:pt x="48" y="688"/>
                  </a:cubicBezTo>
                  <a:cubicBezTo>
                    <a:pt x="59" y="652"/>
                    <a:pt x="70" y="619"/>
                    <a:pt x="95" y="582"/>
                  </a:cubicBezTo>
                  <a:cubicBezTo>
                    <a:pt x="129" y="490"/>
                    <a:pt x="129" y="398"/>
                    <a:pt x="165" y="317"/>
                  </a:cubicBezTo>
                  <a:cubicBezTo>
                    <a:pt x="188" y="258"/>
                    <a:pt x="221" y="199"/>
                    <a:pt x="258" y="152"/>
                  </a:cubicBezTo>
                  <a:lnTo>
                    <a:pt x="269" y="140"/>
                  </a:lnTo>
                  <a:cubicBezTo>
                    <a:pt x="291" y="129"/>
                    <a:pt x="316" y="107"/>
                    <a:pt x="339" y="82"/>
                  </a:cubicBezTo>
                  <a:cubicBezTo>
                    <a:pt x="353" y="75"/>
                    <a:pt x="368" y="68"/>
                    <a:pt x="383" y="61"/>
                  </a:cubicBezTo>
                  <a:close/>
                  <a:moveTo>
                    <a:pt x="397" y="1"/>
                  </a:moveTo>
                  <a:cubicBezTo>
                    <a:pt x="361" y="12"/>
                    <a:pt x="327" y="23"/>
                    <a:pt x="305" y="48"/>
                  </a:cubicBezTo>
                  <a:cubicBezTo>
                    <a:pt x="291" y="70"/>
                    <a:pt x="258" y="82"/>
                    <a:pt x="235" y="107"/>
                  </a:cubicBezTo>
                  <a:lnTo>
                    <a:pt x="221" y="118"/>
                  </a:lnTo>
                  <a:lnTo>
                    <a:pt x="230" y="122"/>
                  </a:lnTo>
                  <a:lnTo>
                    <a:pt x="230" y="122"/>
                  </a:lnTo>
                  <a:cubicBezTo>
                    <a:pt x="174" y="167"/>
                    <a:pt x="139" y="234"/>
                    <a:pt x="118" y="291"/>
                  </a:cubicBezTo>
                  <a:cubicBezTo>
                    <a:pt x="81" y="386"/>
                    <a:pt x="81" y="490"/>
                    <a:pt x="48" y="560"/>
                  </a:cubicBezTo>
                  <a:cubicBezTo>
                    <a:pt x="37" y="596"/>
                    <a:pt x="11" y="630"/>
                    <a:pt x="0" y="677"/>
                  </a:cubicBezTo>
                  <a:lnTo>
                    <a:pt x="0" y="688"/>
                  </a:lnTo>
                  <a:cubicBezTo>
                    <a:pt x="0" y="700"/>
                    <a:pt x="11" y="722"/>
                    <a:pt x="11" y="736"/>
                  </a:cubicBezTo>
                  <a:cubicBezTo>
                    <a:pt x="25" y="747"/>
                    <a:pt x="48" y="758"/>
                    <a:pt x="70" y="758"/>
                  </a:cubicBezTo>
                  <a:cubicBezTo>
                    <a:pt x="95" y="758"/>
                    <a:pt x="107" y="747"/>
                    <a:pt x="118" y="736"/>
                  </a:cubicBezTo>
                  <a:cubicBezTo>
                    <a:pt x="118" y="722"/>
                    <a:pt x="129" y="711"/>
                    <a:pt x="129" y="700"/>
                  </a:cubicBezTo>
                  <a:cubicBezTo>
                    <a:pt x="129" y="677"/>
                    <a:pt x="129" y="666"/>
                    <a:pt x="140" y="652"/>
                  </a:cubicBezTo>
                  <a:cubicBezTo>
                    <a:pt x="151" y="652"/>
                    <a:pt x="176" y="666"/>
                    <a:pt x="188" y="677"/>
                  </a:cubicBezTo>
                  <a:lnTo>
                    <a:pt x="269" y="677"/>
                  </a:lnTo>
                  <a:cubicBezTo>
                    <a:pt x="291" y="666"/>
                    <a:pt x="305" y="652"/>
                    <a:pt x="305" y="641"/>
                  </a:cubicBezTo>
                  <a:cubicBezTo>
                    <a:pt x="316" y="630"/>
                    <a:pt x="327" y="619"/>
                    <a:pt x="327" y="619"/>
                  </a:cubicBezTo>
                  <a:cubicBezTo>
                    <a:pt x="339" y="607"/>
                    <a:pt x="339" y="607"/>
                    <a:pt x="350" y="607"/>
                  </a:cubicBezTo>
                  <a:cubicBezTo>
                    <a:pt x="361" y="607"/>
                    <a:pt x="375" y="619"/>
                    <a:pt x="397" y="619"/>
                  </a:cubicBezTo>
                  <a:cubicBezTo>
                    <a:pt x="409" y="630"/>
                    <a:pt x="431" y="652"/>
                    <a:pt x="467" y="666"/>
                  </a:cubicBezTo>
                  <a:lnTo>
                    <a:pt x="515" y="666"/>
                  </a:lnTo>
                  <a:cubicBezTo>
                    <a:pt x="526" y="666"/>
                    <a:pt x="526" y="652"/>
                    <a:pt x="537" y="641"/>
                  </a:cubicBezTo>
                  <a:lnTo>
                    <a:pt x="537" y="630"/>
                  </a:lnTo>
                  <a:cubicBezTo>
                    <a:pt x="537" y="619"/>
                    <a:pt x="537" y="619"/>
                    <a:pt x="526" y="607"/>
                  </a:cubicBezTo>
                  <a:cubicBezTo>
                    <a:pt x="526" y="596"/>
                    <a:pt x="515" y="596"/>
                    <a:pt x="515" y="596"/>
                  </a:cubicBezTo>
                  <a:cubicBezTo>
                    <a:pt x="501" y="582"/>
                    <a:pt x="501" y="571"/>
                    <a:pt x="490" y="571"/>
                  </a:cubicBezTo>
                  <a:lnTo>
                    <a:pt x="515" y="571"/>
                  </a:lnTo>
                  <a:cubicBezTo>
                    <a:pt x="537" y="560"/>
                    <a:pt x="548" y="560"/>
                    <a:pt x="560" y="537"/>
                  </a:cubicBezTo>
                  <a:cubicBezTo>
                    <a:pt x="571" y="526"/>
                    <a:pt x="585" y="512"/>
                    <a:pt x="585" y="490"/>
                  </a:cubicBezTo>
                  <a:lnTo>
                    <a:pt x="585" y="468"/>
                  </a:lnTo>
                  <a:lnTo>
                    <a:pt x="571" y="456"/>
                  </a:lnTo>
                  <a:cubicBezTo>
                    <a:pt x="560" y="442"/>
                    <a:pt x="548" y="442"/>
                    <a:pt x="537" y="442"/>
                  </a:cubicBezTo>
                  <a:cubicBezTo>
                    <a:pt x="515" y="442"/>
                    <a:pt x="490" y="456"/>
                    <a:pt x="467" y="468"/>
                  </a:cubicBezTo>
                  <a:lnTo>
                    <a:pt x="445" y="468"/>
                  </a:lnTo>
                  <a:lnTo>
                    <a:pt x="445" y="456"/>
                  </a:lnTo>
                  <a:lnTo>
                    <a:pt x="456" y="442"/>
                  </a:lnTo>
                  <a:cubicBezTo>
                    <a:pt x="456" y="431"/>
                    <a:pt x="467" y="431"/>
                    <a:pt x="467" y="409"/>
                  </a:cubicBezTo>
                  <a:cubicBezTo>
                    <a:pt x="478" y="409"/>
                    <a:pt x="478" y="398"/>
                    <a:pt x="478" y="386"/>
                  </a:cubicBezTo>
                  <a:cubicBezTo>
                    <a:pt x="478" y="361"/>
                    <a:pt x="467" y="339"/>
                    <a:pt x="456" y="317"/>
                  </a:cubicBezTo>
                  <a:cubicBezTo>
                    <a:pt x="445" y="303"/>
                    <a:pt x="431" y="291"/>
                    <a:pt x="431" y="280"/>
                  </a:cubicBezTo>
                  <a:cubicBezTo>
                    <a:pt x="420" y="269"/>
                    <a:pt x="420" y="258"/>
                    <a:pt x="420" y="258"/>
                  </a:cubicBezTo>
                  <a:lnTo>
                    <a:pt x="420" y="247"/>
                  </a:lnTo>
                  <a:lnTo>
                    <a:pt x="431" y="247"/>
                  </a:lnTo>
                  <a:lnTo>
                    <a:pt x="467" y="233"/>
                  </a:lnTo>
                  <a:lnTo>
                    <a:pt x="456" y="210"/>
                  </a:lnTo>
                  <a:cubicBezTo>
                    <a:pt x="445" y="199"/>
                    <a:pt x="445" y="188"/>
                    <a:pt x="445" y="188"/>
                  </a:cubicBezTo>
                  <a:cubicBezTo>
                    <a:pt x="445" y="177"/>
                    <a:pt x="445" y="163"/>
                    <a:pt x="456" y="140"/>
                  </a:cubicBezTo>
                  <a:lnTo>
                    <a:pt x="456" y="129"/>
                  </a:lnTo>
                  <a:cubicBezTo>
                    <a:pt x="456" y="118"/>
                    <a:pt x="445" y="107"/>
                    <a:pt x="431" y="82"/>
                  </a:cubicBezTo>
                  <a:lnTo>
                    <a:pt x="420" y="82"/>
                  </a:lnTo>
                  <a:cubicBezTo>
                    <a:pt x="420" y="82"/>
                    <a:pt x="420" y="70"/>
                    <a:pt x="431" y="59"/>
                  </a:cubicBezTo>
                  <a:lnTo>
                    <a:pt x="431" y="48"/>
                  </a:lnTo>
                  <a:cubicBezTo>
                    <a:pt x="431" y="37"/>
                    <a:pt x="431" y="23"/>
                    <a:pt x="420" y="23"/>
                  </a:cubicBezTo>
                  <a:lnTo>
                    <a:pt x="42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" name="Google Shape;189;p17">
              <a:extLst>
                <a:ext uri="{FF2B5EF4-FFF2-40B4-BE49-F238E27FC236}">
                  <a16:creationId xmlns:a16="http://schemas.microsoft.com/office/drawing/2014/main" xmlns="" id="{9193CCF8-DCBC-B151-766D-19E38FD4F308}"/>
                </a:ext>
              </a:extLst>
            </p:cNvPr>
            <p:cNvSpPr/>
            <p:nvPr/>
          </p:nvSpPr>
          <p:spPr>
            <a:xfrm>
              <a:off x="2451133" y="2819249"/>
              <a:ext cx="11066" cy="9683"/>
            </a:xfrm>
            <a:custGeom>
              <a:avLst/>
              <a:gdLst/>
              <a:ahLst/>
              <a:cxnLst/>
              <a:rect l="l" t="t" r="r" b="b"/>
              <a:pathLst>
                <a:path w="48" h="42" extrusionOk="0">
                  <a:moveTo>
                    <a:pt x="0" y="0"/>
                  </a:moveTo>
                  <a:lnTo>
                    <a:pt x="0" y="34"/>
                  </a:lnTo>
                  <a:cubicBezTo>
                    <a:pt x="5" y="39"/>
                    <a:pt x="14" y="41"/>
                    <a:pt x="23" y="41"/>
                  </a:cubicBezTo>
                  <a:cubicBezTo>
                    <a:pt x="35" y="41"/>
                    <a:pt x="48" y="36"/>
                    <a:pt x="48" y="23"/>
                  </a:cubicBezTo>
                  <a:cubicBezTo>
                    <a:pt x="48" y="12"/>
                    <a:pt x="34" y="12"/>
                    <a:pt x="34" y="0"/>
                  </a:cubicBezTo>
                  <a:close/>
                </a:path>
              </a:pathLst>
            </a:custGeom>
            <a:solidFill>
              <a:srgbClr val="10B9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" name="Google Shape;190;p17">
              <a:extLst>
                <a:ext uri="{FF2B5EF4-FFF2-40B4-BE49-F238E27FC236}">
                  <a16:creationId xmlns:a16="http://schemas.microsoft.com/office/drawing/2014/main" xmlns="" id="{5CA1BC22-7285-3D0E-D98E-BF8FFB24CE1B}"/>
                </a:ext>
              </a:extLst>
            </p:cNvPr>
            <p:cNvSpPr/>
            <p:nvPr/>
          </p:nvSpPr>
          <p:spPr>
            <a:xfrm>
              <a:off x="2445830" y="2813485"/>
              <a:ext cx="21672" cy="22133"/>
            </a:xfrm>
            <a:custGeom>
              <a:avLst/>
              <a:gdLst/>
              <a:ahLst/>
              <a:cxnLst/>
              <a:rect l="l" t="t" r="r" b="b"/>
              <a:pathLst>
                <a:path w="94" h="96" extrusionOk="0">
                  <a:moveTo>
                    <a:pt x="34" y="0"/>
                  </a:moveTo>
                  <a:cubicBezTo>
                    <a:pt x="23" y="0"/>
                    <a:pt x="23" y="0"/>
                    <a:pt x="12" y="12"/>
                  </a:cubicBezTo>
                  <a:cubicBezTo>
                    <a:pt x="1" y="12"/>
                    <a:pt x="1" y="25"/>
                    <a:pt x="1" y="25"/>
                  </a:cubicBezTo>
                  <a:lnTo>
                    <a:pt x="1" y="48"/>
                  </a:lnTo>
                  <a:lnTo>
                    <a:pt x="1" y="59"/>
                  </a:lnTo>
                  <a:lnTo>
                    <a:pt x="1" y="70"/>
                  </a:lnTo>
                  <a:lnTo>
                    <a:pt x="1" y="81"/>
                  </a:lnTo>
                  <a:lnTo>
                    <a:pt x="23" y="81"/>
                  </a:lnTo>
                  <a:cubicBezTo>
                    <a:pt x="23" y="95"/>
                    <a:pt x="34" y="95"/>
                    <a:pt x="34" y="95"/>
                  </a:cubicBezTo>
                  <a:cubicBezTo>
                    <a:pt x="46" y="95"/>
                    <a:pt x="57" y="81"/>
                    <a:pt x="71" y="81"/>
                  </a:cubicBezTo>
                  <a:cubicBezTo>
                    <a:pt x="82" y="81"/>
                    <a:pt x="82" y="70"/>
                    <a:pt x="93" y="70"/>
                  </a:cubicBezTo>
                  <a:lnTo>
                    <a:pt x="93" y="48"/>
                  </a:lnTo>
                  <a:lnTo>
                    <a:pt x="93" y="37"/>
                  </a:lnTo>
                  <a:lnTo>
                    <a:pt x="93" y="25"/>
                  </a:lnTo>
                  <a:cubicBezTo>
                    <a:pt x="82" y="12"/>
                    <a:pt x="82" y="12"/>
                    <a:pt x="71" y="12"/>
                  </a:cubicBezTo>
                  <a:lnTo>
                    <a:pt x="57" y="12"/>
                  </a:lnTo>
                  <a:cubicBezTo>
                    <a:pt x="57" y="0"/>
                    <a:pt x="46" y="0"/>
                    <a:pt x="3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" name="Google Shape;191;p17">
              <a:extLst>
                <a:ext uri="{FF2B5EF4-FFF2-40B4-BE49-F238E27FC236}">
                  <a16:creationId xmlns:a16="http://schemas.microsoft.com/office/drawing/2014/main" xmlns="" id="{7C0E2AF0-6246-5E21-DF22-6F540DEFE097}"/>
                </a:ext>
              </a:extLst>
            </p:cNvPr>
            <p:cNvSpPr/>
            <p:nvPr/>
          </p:nvSpPr>
          <p:spPr>
            <a:xfrm>
              <a:off x="2483180" y="2824321"/>
              <a:ext cx="8069" cy="11297"/>
            </a:xfrm>
            <a:custGeom>
              <a:avLst/>
              <a:gdLst/>
              <a:ahLst/>
              <a:cxnLst/>
              <a:rect l="l" t="t" r="r" b="b"/>
              <a:pathLst>
                <a:path w="35" h="49" extrusionOk="0">
                  <a:moveTo>
                    <a:pt x="12" y="1"/>
                  </a:moveTo>
                  <a:cubicBezTo>
                    <a:pt x="12" y="1"/>
                    <a:pt x="1" y="1"/>
                    <a:pt x="1" y="12"/>
                  </a:cubicBezTo>
                  <a:lnTo>
                    <a:pt x="1" y="23"/>
                  </a:lnTo>
                  <a:lnTo>
                    <a:pt x="1" y="34"/>
                  </a:lnTo>
                  <a:lnTo>
                    <a:pt x="12" y="48"/>
                  </a:lnTo>
                  <a:lnTo>
                    <a:pt x="23" y="48"/>
                  </a:lnTo>
                  <a:lnTo>
                    <a:pt x="35" y="34"/>
                  </a:lnTo>
                  <a:lnTo>
                    <a:pt x="35" y="12"/>
                  </a:lnTo>
                  <a:cubicBezTo>
                    <a:pt x="35" y="1"/>
                    <a:pt x="23" y="1"/>
                    <a:pt x="12" y="1"/>
                  </a:cubicBezTo>
                  <a:close/>
                </a:path>
              </a:pathLst>
            </a:custGeom>
            <a:solidFill>
              <a:srgbClr val="10B9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4" name="Google Shape;192;p17">
              <a:extLst>
                <a:ext uri="{FF2B5EF4-FFF2-40B4-BE49-F238E27FC236}">
                  <a16:creationId xmlns:a16="http://schemas.microsoft.com/office/drawing/2014/main" xmlns="" id="{85B0C749-2C76-B6CF-35B3-7000648E6C3A}"/>
                </a:ext>
              </a:extLst>
            </p:cNvPr>
            <p:cNvSpPr/>
            <p:nvPr/>
          </p:nvSpPr>
          <p:spPr>
            <a:xfrm>
              <a:off x="2478108" y="2819249"/>
              <a:ext cx="18905" cy="21442"/>
            </a:xfrm>
            <a:custGeom>
              <a:avLst/>
              <a:gdLst/>
              <a:ahLst/>
              <a:cxnLst/>
              <a:rect l="l" t="t" r="r" b="b"/>
              <a:pathLst>
                <a:path w="82" h="93" extrusionOk="0">
                  <a:moveTo>
                    <a:pt x="34" y="0"/>
                  </a:moveTo>
                  <a:cubicBezTo>
                    <a:pt x="23" y="0"/>
                    <a:pt x="12" y="12"/>
                    <a:pt x="1" y="23"/>
                  </a:cubicBezTo>
                  <a:lnTo>
                    <a:pt x="1" y="45"/>
                  </a:lnTo>
                  <a:lnTo>
                    <a:pt x="1" y="56"/>
                  </a:lnTo>
                  <a:lnTo>
                    <a:pt x="1" y="70"/>
                  </a:lnTo>
                  <a:lnTo>
                    <a:pt x="12" y="82"/>
                  </a:lnTo>
                  <a:lnTo>
                    <a:pt x="23" y="93"/>
                  </a:lnTo>
                  <a:lnTo>
                    <a:pt x="57" y="93"/>
                  </a:lnTo>
                  <a:lnTo>
                    <a:pt x="71" y="82"/>
                  </a:lnTo>
                  <a:cubicBezTo>
                    <a:pt x="71" y="82"/>
                    <a:pt x="82" y="70"/>
                    <a:pt x="82" y="56"/>
                  </a:cubicBezTo>
                  <a:lnTo>
                    <a:pt x="82" y="45"/>
                  </a:lnTo>
                  <a:lnTo>
                    <a:pt x="82" y="34"/>
                  </a:lnTo>
                  <a:cubicBezTo>
                    <a:pt x="82" y="12"/>
                    <a:pt x="57" y="0"/>
                    <a:pt x="3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5" name="Google Shape;193;p17">
              <a:extLst>
                <a:ext uri="{FF2B5EF4-FFF2-40B4-BE49-F238E27FC236}">
                  <a16:creationId xmlns:a16="http://schemas.microsoft.com/office/drawing/2014/main" xmlns="" id="{75CEB591-AA96-6B10-66FC-854BA6411DAE}"/>
                </a:ext>
              </a:extLst>
            </p:cNvPr>
            <p:cNvSpPr/>
            <p:nvPr/>
          </p:nvSpPr>
          <p:spPr>
            <a:xfrm>
              <a:off x="2502085" y="2824321"/>
              <a:ext cx="11066" cy="8069"/>
            </a:xfrm>
            <a:custGeom>
              <a:avLst/>
              <a:gdLst/>
              <a:ahLst/>
              <a:cxnLst/>
              <a:rect l="l" t="t" r="r" b="b"/>
              <a:pathLst>
                <a:path w="48" h="35" extrusionOk="0">
                  <a:moveTo>
                    <a:pt x="0" y="1"/>
                  </a:moveTo>
                  <a:lnTo>
                    <a:pt x="0" y="12"/>
                  </a:lnTo>
                  <a:lnTo>
                    <a:pt x="0" y="23"/>
                  </a:lnTo>
                  <a:lnTo>
                    <a:pt x="11" y="23"/>
                  </a:lnTo>
                  <a:cubicBezTo>
                    <a:pt x="11" y="34"/>
                    <a:pt x="22" y="34"/>
                    <a:pt x="22" y="34"/>
                  </a:cubicBezTo>
                  <a:cubicBezTo>
                    <a:pt x="36" y="34"/>
                    <a:pt x="48" y="23"/>
                    <a:pt x="48" y="12"/>
                  </a:cubicBezTo>
                  <a:lnTo>
                    <a:pt x="48" y="1"/>
                  </a:lnTo>
                  <a:close/>
                </a:path>
              </a:pathLst>
            </a:custGeom>
            <a:solidFill>
              <a:srgbClr val="10B9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" name="Google Shape;194;p17">
              <a:extLst>
                <a:ext uri="{FF2B5EF4-FFF2-40B4-BE49-F238E27FC236}">
                  <a16:creationId xmlns:a16="http://schemas.microsoft.com/office/drawing/2014/main" xmlns="" id="{83E4449F-AEE9-FBA5-6730-E0D18FE57BC1}"/>
                </a:ext>
              </a:extLst>
            </p:cNvPr>
            <p:cNvSpPr/>
            <p:nvPr/>
          </p:nvSpPr>
          <p:spPr>
            <a:xfrm>
              <a:off x="2496782" y="2819249"/>
              <a:ext cx="21441" cy="18906"/>
            </a:xfrm>
            <a:custGeom>
              <a:avLst/>
              <a:gdLst/>
              <a:ahLst/>
              <a:cxnLst/>
              <a:rect l="l" t="t" r="r" b="b"/>
              <a:pathLst>
                <a:path w="93" h="82" extrusionOk="0">
                  <a:moveTo>
                    <a:pt x="12" y="0"/>
                  </a:moveTo>
                  <a:lnTo>
                    <a:pt x="1" y="12"/>
                  </a:lnTo>
                  <a:lnTo>
                    <a:pt x="1" y="23"/>
                  </a:lnTo>
                  <a:lnTo>
                    <a:pt x="1" y="45"/>
                  </a:lnTo>
                  <a:lnTo>
                    <a:pt x="1" y="56"/>
                  </a:lnTo>
                  <a:lnTo>
                    <a:pt x="12" y="56"/>
                  </a:lnTo>
                  <a:lnTo>
                    <a:pt x="23" y="70"/>
                  </a:lnTo>
                  <a:cubicBezTo>
                    <a:pt x="34" y="70"/>
                    <a:pt x="34" y="82"/>
                    <a:pt x="45" y="82"/>
                  </a:cubicBezTo>
                  <a:cubicBezTo>
                    <a:pt x="59" y="82"/>
                    <a:pt x="71" y="70"/>
                    <a:pt x="82" y="56"/>
                  </a:cubicBezTo>
                  <a:cubicBezTo>
                    <a:pt x="82" y="56"/>
                    <a:pt x="93" y="45"/>
                    <a:pt x="93" y="34"/>
                  </a:cubicBezTo>
                  <a:lnTo>
                    <a:pt x="93" y="23"/>
                  </a:lnTo>
                  <a:lnTo>
                    <a:pt x="82" y="12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" name="Google Shape;195;p17">
              <a:extLst>
                <a:ext uri="{FF2B5EF4-FFF2-40B4-BE49-F238E27FC236}">
                  <a16:creationId xmlns:a16="http://schemas.microsoft.com/office/drawing/2014/main" xmlns="" id="{E670B848-0F15-9B4D-E642-E7C57CCB51FB}"/>
                </a:ext>
              </a:extLst>
            </p:cNvPr>
            <p:cNvSpPr/>
            <p:nvPr/>
          </p:nvSpPr>
          <p:spPr>
            <a:xfrm>
              <a:off x="2534132" y="2816021"/>
              <a:ext cx="18905" cy="13833"/>
            </a:xfrm>
            <a:custGeom>
              <a:avLst/>
              <a:gdLst/>
              <a:ahLst/>
              <a:cxnLst/>
              <a:rect l="l" t="t" r="r" b="b"/>
              <a:pathLst>
                <a:path w="82" h="60" extrusionOk="0">
                  <a:moveTo>
                    <a:pt x="23" y="1"/>
                  </a:moveTo>
                  <a:lnTo>
                    <a:pt x="12" y="14"/>
                  </a:lnTo>
                  <a:lnTo>
                    <a:pt x="12" y="26"/>
                  </a:lnTo>
                  <a:cubicBezTo>
                    <a:pt x="1" y="37"/>
                    <a:pt x="12" y="48"/>
                    <a:pt x="23" y="48"/>
                  </a:cubicBezTo>
                  <a:lnTo>
                    <a:pt x="37" y="48"/>
                  </a:lnTo>
                  <a:cubicBezTo>
                    <a:pt x="37" y="48"/>
                    <a:pt x="48" y="48"/>
                    <a:pt x="60" y="59"/>
                  </a:cubicBezTo>
                  <a:cubicBezTo>
                    <a:pt x="60" y="59"/>
                    <a:pt x="71" y="59"/>
                    <a:pt x="82" y="48"/>
                  </a:cubicBezTo>
                  <a:lnTo>
                    <a:pt x="82" y="37"/>
                  </a:lnTo>
                  <a:cubicBezTo>
                    <a:pt x="82" y="26"/>
                    <a:pt x="71" y="26"/>
                    <a:pt x="71" y="26"/>
                  </a:cubicBezTo>
                  <a:cubicBezTo>
                    <a:pt x="71" y="14"/>
                    <a:pt x="60" y="14"/>
                    <a:pt x="60" y="14"/>
                  </a:cubicBezTo>
                  <a:lnTo>
                    <a:pt x="48" y="1"/>
                  </a:lnTo>
                  <a:close/>
                </a:path>
              </a:pathLst>
            </a:custGeom>
            <a:solidFill>
              <a:srgbClr val="10B9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8" name="Google Shape;196;p17">
              <a:extLst>
                <a:ext uri="{FF2B5EF4-FFF2-40B4-BE49-F238E27FC236}">
                  <a16:creationId xmlns:a16="http://schemas.microsoft.com/office/drawing/2014/main" xmlns="" id="{6959DAD4-5B7E-A8FD-B925-17AA66F9B4DB}"/>
                </a:ext>
              </a:extLst>
            </p:cNvPr>
            <p:cNvSpPr/>
            <p:nvPr/>
          </p:nvSpPr>
          <p:spPr>
            <a:xfrm>
              <a:off x="2531596" y="2810949"/>
              <a:ext cx="27435" cy="24669"/>
            </a:xfrm>
            <a:custGeom>
              <a:avLst/>
              <a:gdLst/>
              <a:ahLst/>
              <a:cxnLst/>
              <a:rect l="l" t="t" r="r" b="b"/>
              <a:pathLst>
                <a:path w="119" h="107" extrusionOk="0">
                  <a:moveTo>
                    <a:pt x="34" y="0"/>
                  </a:moveTo>
                  <a:lnTo>
                    <a:pt x="23" y="11"/>
                  </a:lnTo>
                  <a:lnTo>
                    <a:pt x="12" y="11"/>
                  </a:lnTo>
                  <a:cubicBezTo>
                    <a:pt x="1" y="11"/>
                    <a:pt x="1" y="36"/>
                    <a:pt x="1" y="48"/>
                  </a:cubicBezTo>
                  <a:cubicBezTo>
                    <a:pt x="1" y="70"/>
                    <a:pt x="12" y="81"/>
                    <a:pt x="34" y="92"/>
                  </a:cubicBezTo>
                  <a:lnTo>
                    <a:pt x="59" y="92"/>
                  </a:lnTo>
                  <a:lnTo>
                    <a:pt x="71" y="106"/>
                  </a:lnTo>
                  <a:cubicBezTo>
                    <a:pt x="82" y="106"/>
                    <a:pt x="93" y="92"/>
                    <a:pt x="104" y="92"/>
                  </a:cubicBezTo>
                  <a:cubicBezTo>
                    <a:pt x="118" y="81"/>
                    <a:pt x="118" y="70"/>
                    <a:pt x="118" y="59"/>
                  </a:cubicBezTo>
                  <a:lnTo>
                    <a:pt x="118" y="48"/>
                  </a:lnTo>
                  <a:cubicBezTo>
                    <a:pt x="104" y="36"/>
                    <a:pt x="104" y="36"/>
                    <a:pt x="104" y="23"/>
                  </a:cubicBezTo>
                  <a:cubicBezTo>
                    <a:pt x="93" y="23"/>
                    <a:pt x="82" y="11"/>
                    <a:pt x="71" y="11"/>
                  </a:cubicBezTo>
                  <a:lnTo>
                    <a:pt x="5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" name="Google Shape;197;p17">
              <a:extLst>
                <a:ext uri="{FF2B5EF4-FFF2-40B4-BE49-F238E27FC236}">
                  <a16:creationId xmlns:a16="http://schemas.microsoft.com/office/drawing/2014/main" xmlns="" id="{8EA48EBE-5CD1-4CBC-4D45-78AA672D56E9}"/>
                </a:ext>
              </a:extLst>
            </p:cNvPr>
            <p:cNvSpPr/>
            <p:nvPr/>
          </p:nvSpPr>
          <p:spPr>
            <a:xfrm>
              <a:off x="2517993" y="2838616"/>
              <a:ext cx="75851" cy="66630"/>
            </a:xfrm>
            <a:custGeom>
              <a:avLst/>
              <a:gdLst/>
              <a:ahLst/>
              <a:cxnLst/>
              <a:rect l="l" t="t" r="r" b="b"/>
              <a:pathLst>
                <a:path w="329" h="289" extrusionOk="0">
                  <a:moveTo>
                    <a:pt x="252" y="0"/>
                  </a:moveTo>
                  <a:cubicBezTo>
                    <a:pt x="244" y="0"/>
                    <a:pt x="234" y="3"/>
                    <a:pt x="222" y="9"/>
                  </a:cubicBezTo>
                  <a:lnTo>
                    <a:pt x="177" y="9"/>
                  </a:lnTo>
                  <a:cubicBezTo>
                    <a:pt x="177" y="20"/>
                    <a:pt x="163" y="20"/>
                    <a:pt x="163" y="20"/>
                  </a:cubicBezTo>
                  <a:cubicBezTo>
                    <a:pt x="152" y="31"/>
                    <a:pt x="152" y="31"/>
                    <a:pt x="141" y="31"/>
                  </a:cubicBezTo>
                  <a:cubicBezTo>
                    <a:pt x="130" y="42"/>
                    <a:pt x="118" y="42"/>
                    <a:pt x="93" y="42"/>
                  </a:cubicBezTo>
                  <a:cubicBezTo>
                    <a:pt x="71" y="42"/>
                    <a:pt x="37" y="42"/>
                    <a:pt x="12" y="67"/>
                  </a:cubicBezTo>
                  <a:lnTo>
                    <a:pt x="1" y="79"/>
                  </a:lnTo>
                  <a:cubicBezTo>
                    <a:pt x="1" y="90"/>
                    <a:pt x="12" y="90"/>
                    <a:pt x="12" y="101"/>
                  </a:cubicBezTo>
                  <a:cubicBezTo>
                    <a:pt x="23" y="112"/>
                    <a:pt x="37" y="126"/>
                    <a:pt x="48" y="126"/>
                  </a:cubicBezTo>
                  <a:cubicBezTo>
                    <a:pt x="60" y="137"/>
                    <a:pt x="82" y="137"/>
                    <a:pt x="82" y="149"/>
                  </a:cubicBezTo>
                  <a:cubicBezTo>
                    <a:pt x="93" y="160"/>
                    <a:pt x="93" y="171"/>
                    <a:pt x="93" y="182"/>
                  </a:cubicBezTo>
                  <a:lnTo>
                    <a:pt x="93" y="196"/>
                  </a:lnTo>
                  <a:cubicBezTo>
                    <a:pt x="93" y="207"/>
                    <a:pt x="82" y="207"/>
                    <a:pt x="82" y="207"/>
                  </a:cubicBezTo>
                  <a:lnTo>
                    <a:pt x="60" y="207"/>
                  </a:lnTo>
                  <a:cubicBezTo>
                    <a:pt x="48" y="218"/>
                    <a:pt x="48" y="218"/>
                    <a:pt x="48" y="230"/>
                  </a:cubicBezTo>
                  <a:cubicBezTo>
                    <a:pt x="48" y="241"/>
                    <a:pt x="48" y="241"/>
                    <a:pt x="60" y="241"/>
                  </a:cubicBezTo>
                  <a:cubicBezTo>
                    <a:pt x="71" y="252"/>
                    <a:pt x="82" y="252"/>
                    <a:pt x="93" y="252"/>
                  </a:cubicBezTo>
                  <a:lnTo>
                    <a:pt x="118" y="252"/>
                  </a:lnTo>
                  <a:cubicBezTo>
                    <a:pt x="118" y="266"/>
                    <a:pt x="118" y="277"/>
                    <a:pt x="130" y="277"/>
                  </a:cubicBezTo>
                  <a:cubicBezTo>
                    <a:pt x="130" y="288"/>
                    <a:pt x="141" y="288"/>
                    <a:pt x="152" y="288"/>
                  </a:cubicBezTo>
                  <a:cubicBezTo>
                    <a:pt x="177" y="288"/>
                    <a:pt x="199" y="277"/>
                    <a:pt x="211" y="266"/>
                  </a:cubicBezTo>
                  <a:cubicBezTo>
                    <a:pt x="222" y="252"/>
                    <a:pt x="222" y="252"/>
                    <a:pt x="222" y="241"/>
                  </a:cubicBezTo>
                  <a:cubicBezTo>
                    <a:pt x="233" y="218"/>
                    <a:pt x="233" y="207"/>
                    <a:pt x="247" y="182"/>
                  </a:cubicBezTo>
                  <a:cubicBezTo>
                    <a:pt x="258" y="171"/>
                    <a:pt x="258" y="149"/>
                    <a:pt x="269" y="149"/>
                  </a:cubicBezTo>
                  <a:cubicBezTo>
                    <a:pt x="281" y="137"/>
                    <a:pt x="281" y="137"/>
                    <a:pt x="292" y="137"/>
                  </a:cubicBezTo>
                  <a:cubicBezTo>
                    <a:pt x="292" y="126"/>
                    <a:pt x="292" y="126"/>
                    <a:pt x="303" y="112"/>
                  </a:cubicBezTo>
                  <a:cubicBezTo>
                    <a:pt x="317" y="101"/>
                    <a:pt x="317" y="79"/>
                    <a:pt x="328" y="67"/>
                  </a:cubicBezTo>
                  <a:cubicBezTo>
                    <a:pt x="328" y="42"/>
                    <a:pt x="317" y="20"/>
                    <a:pt x="292" y="9"/>
                  </a:cubicBezTo>
                  <a:lnTo>
                    <a:pt x="281" y="9"/>
                  </a:lnTo>
                  <a:cubicBezTo>
                    <a:pt x="269" y="3"/>
                    <a:pt x="261" y="0"/>
                    <a:pt x="25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0" name="Google Shape;198;p17">
              <a:extLst>
                <a:ext uri="{FF2B5EF4-FFF2-40B4-BE49-F238E27FC236}">
                  <a16:creationId xmlns:a16="http://schemas.microsoft.com/office/drawing/2014/main" xmlns="" id="{1D63480A-60D0-7542-9E23-487314EF09B6}"/>
                </a:ext>
              </a:extLst>
            </p:cNvPr>
            <p:cNvSpPr/>
            <p:nvPr/>
          </p:nvSpPr>
          <p:spPr>
            <a:xfrm>
              <a:off x="2512921" y="2832160"/>
              <a:ext cx="85995" cy="78158"/>
            </a:xfrm>
            <a:custGeom>
              <a:avLst/>
              <a:gdLst/>
              <a:ahLst/>
              <a:cxnLst/>
              <a:rect l="l" t="t" r="r" b="b"/>
              <a:pathLst>
                <a:path w="373" h="339" extrusionOk="0">
                  <a:moveTo>
                    <a:pt x="269" y="48"/>
                  </a:moveTo>
                  <a:cubicBezTo>
                    <a:pt x="280" y="48"/>
                    <a:pt x="291" y="48"/>
                    <a:pt x="291" y="59"/>
                  </a:cubicBezTo>
                  <a:lnTo>
                    <a:pt x="303" y="59"/>
                  </a:lnTo>
                  <a:cubicBezTo>
                    <a:pt x="314" y="59"/>
                    <a:pt x="325" y="70"/>
                    <a:pt x="325" y="84"/>
                  </a:cubicBezTo>
                  <a:cubicBezTo>
                    <a:pt x="325" y="107"/>
                    <a:pt x="314" y="118"/>
                    <a:pt x="303" y="129"/>
                  </a:cubicBezTo>
                  <a:cubicBezTo>
                    <a:pt x="303" y="140"/>
                    <a:pt x="303" y="140"/>
                    <a:pt x="291" y="140"/>
                  </a:cubicBezTo>
                  <a:cubicBezTo>
                    <a:pt x="291" y="140"/>
                    <a:pt x="291" y="154"/>
                    <a:pt x="280" y="154"/>
                  </a:cubicBezTo>
                  <a:cubicBezTo>
                    <a:pt x="269" y="165"/>
                    <a:pt x="255" y="188"/>
                    <a:pt x="244" y="199"/>
                  </a:cubicBezTo>
                  <a:cubicBezTo>
                    <a:pt x="244" y="224"/>
                    <a:pt x="233" y="246"/>
                    <a:pt x="221" y="269"/>
                  </a:cubicBezTo>
                  <a:lnTo>
                    <a:pt x="221" y="280"/>
                  </a:lnTo>
                  <a:cubicBezTo>
                    <a:pt x="210" y="294"/>
                    <a:pt x="199" y="294"/>
                    <a:pt x="185" y="294"/>
                  </a:cubicBezTo>
                  <a:lnTo>
                    <a:pt x="163" y="294"/>
                  </a:lnTo>
                  <a:lnTo>
                    <a:pt x="163" y="280"/>
                  </a:lnTo>
                  <a:cubicBezTo>
                    <a:pt x="163" y="280"/>
                    <a:pt x="163" y="269"/>
                    <a:pt x="152" y="269"/>
                  </a:cubicBezTo>
                  <a:cubicBezTo>
                    <a:pt x="140" y="258"/>
                    <a:pt x="129" y="258"/>
                    <a:pt x="115" y="258"/>
                  </a:cubicBezTo>
                  <a:lnTo>
                    <a:pt x="104" y="258"/>
                  </a:lnTo>
                  <a:cubicBezTo>
                    <a:pt x="104" y="258"/>
                    <a:pt x="115" y="258"/>
                    <a:pt x="129" y="246"/>
                  </a:cubicBezTo>
                  <a:cubicBezTo>
                    <a:pt x="140" y="235"/>
                    <a:pt x="140" y="235"/>
                    <a:pt x="140" y="224"/>
                  </a:cubicBezTo>
                  <a:lnTo>
                    <a:pt x="140" y="210"/>
                  </a:lnTo>
                  <a:lnTo>
                    <a:pt x="140" y="188"/>
                  </a:lnTo>
                  <a:cubicBezTo>
                    <a:pt x="140" y="177"/>
                    <a:pt x="140" y="165"/>
                    <a:pt x="129" y="154"/>
                  </a:cubicBezTo>
                  <a:cubicBezTo>
                    <a:pt x="115" y="140"/>
                    <a:pt x="104" y="140"/>
                    <a:pt x="93" y="140"/>
                  </a:cubicBezTo>
                  <a:cubicBezTo>
                    <a:pt x="82" y="140"/>
                    <a:pt x="82" y="129"/>
                    <a:pt x="82" y="129"/>
                  </a:cubicBezTo>
                  <a:cubicBezTo>
                    <a:pt x="70" y="129"/>
                    <a:pt x="70" y="129"/>
                    <a:pt x="59" y="118"/>
                  </a:cubicBezTo>
                  <a:lnTo>
                    <a:pt x="45" y="107"/>
                  </a:lnTo>
                  <a:cubicBezTo>
                    <a:pt x="70" y="95"/>
                    <a:pt x="93" y="95"/>
                    <a:pt x="129" y="95"/>
                  </a:cubicBezTo>
                  <a:cubicBezTo>
                    <a:pt x="140" y="95"/>
                    <a:pt x="152" y="95"/>
                    <a:pt x="174" y="84"/>
                  </a:cubicBezTo>
                  <a:cubicBezTo>
                    <a:pt x="174" y="84"/>
                    <a:pt x="185" y="70"/>
                    <a:pt x="199" y="70"/>
                  </a:cubicBezTo>
                  <a:lnTo>
                    <a:pt x="210" y="59"/>
                  </a:lnTo>
                  <a:lnTo>
                    <a:pt x="255" y="59"/>
                  </a:lnTo>
                  <a:cubicBezTo>
                    <a:pt x="255" y="48"/>
                    <a:pt x="269" y="48"/>
                    <a:pt x="269" y="48"/>
                  </a:cubicBezTo>
                  <a:close/>
                  <a:moveTo>
                    <a:pt x="269" y="0"/>
                  </a:moveTo>
                  <a:cubicBezTo>
                    <a:pt x="269" y="0"/>
                    <a:pt x="255" y="0"/>
                    <a:pt x="244" y="14"/>
                  </a:cubicBezTo>
                  <a:lnTo>
                    <a:pt x="199" y="14"/>
                  </a:lnTo>
                  <a:cubicBezTo>
                    <a:pt x="174" y="26"/>
                    <a:pt x="174" y="37"/>
                    <a:pt x="174" y="37"/>
                  </a:cubicBezTo>
                  <a:lnTo>
                    <a:pt x="152" y="37"/>
                  </a:lnTo>
                  <a:cubicBezTo>
                    <a:pt x="140" y="48"/>
                    <a:pt x="129" y="48"/>
                    <a:pt x="115" y="48"/>
                  </a:cubicBezTo>
                  <a:cubicBezTo>
                    <a:pt x="93" y="48"/>
                    <a:pt x="59" y="48"/>
                    <a:pt x="23" y="70"/>
                  </a:cubicBezTo>
                  <a:cubicBezTo>
                    <a:pt x="23" y="70"/>
                    <a:pt x="12" y="84"/>
                    <a:pt x="12" y="95"/>
                  </a:cubicBezTo>
                  <a:cubicBezTo>
                    <a:pt x="1" y="95"/>
                    <a:pt x="1" y="107"/>
                    <a:pt x="1" y="107"/>
                  </a:cubicBezTo>
                  <a:cubicBezTo>
                    <a:pt x="1" y="129"/>
                    <a:pt x="12" y="140"/>
                    <a:pt x="23" y="140"/>
                  </a:cubicBezTo>
                  <a:cubicBezTo>
                    <a:pt x="23" y="154"/>
                    <a:pt x="34" y="165"/>
                    <a:pt x="59" y="177"/>
                  </a:cubicBezTo>
                  <a:cubicBezTo>
                    <a:pt x="70" y="177"/>
                    <a:pt x="82" y="188"/>
                    <a:pt x="82" y="188"/>
                  </a:cubicBezTo>
                  <a:lnTo>
                    <a:pt x="93" y="188"/>
                  </a:lnTo>
                  <a:lnTo>
                    <a:pt x="93" y="199"/>
                  </a:lnTo>
                  <a:lnTo>
                    <a:pt x="93" y="210"/>
                  </a:lnTo>
                  <a:lnTo>
                    <a:pt x="70" y="210"/>
                  </a:lnTo>
                  <a:lnTo>
                    <a:pt x="45" y="235"/>
                  </a:lnTo>
                  <a:lnTo>
                    <a:pt x="45" y="258"/>
                  </a:lnTo>
                  <a:cubicBezTo>
                    <a:pt x="45" y="269"/>
                    <a:pt x="45" y="280"/>
                    <a:pt x="59" y="280"/>
                  </a:cubicBezTo>
                  <a:cubicBezTo>
                    <a:pt x="59" y="294"/>
                    <a:pt x="70" y="294"/>
                    <a:pt x="82" y="294"/>
                  </a:cubicBezTo>
                  <a:cubicBezTo>
                    <a:pt x="82" y="305"/>
                    <a:pt x="93" y="305"/>
                    <a:pt x="93" y="305"/>
                  </a:cubicBezTo>
                  <a:lnTo>
                    <a:pt x="129" y="305"/>
                  </a:lnTo>
                  <a:lnTo>
                    <a:pt x="129" y="328"/>
                  </a:lnTo>
                  <a:cubicBezTo>
                    <a:pt x="152" y="339"/>
                    <a:pt x="163" y="339"/>
                    <a:pt x="174" y="339"/>
                  </a:cubicBezTo>
                  <a:lnTo>
                    <a:pt x="185" y="339"/>
                  </a:lnTo>
                  <a:cubicBezTo>
                    <a:pt x="210" y="339"/>
                    <a:pt x="233" y="328"/>
                    <a:pt x="255" y="305"/>
                  </a:cubicBezTo>
                  <a:cubicBezTo>
                    <a:pt x="255" y="294"/>
                    <a:pt x="269" y="280"/>
                    <a:pt x="269" y="280"/>
                  </a:cubicBezTo>
                  <a:cubicBezTo>
                    <a:pt x="280" y="258"/>
                    <a:pt x="280" y="246"/>
                    <a:pt x="291" y="224"/>
                  </a:cubicBezTo>
                  <a:cubicBezTo>
                    <a:pt x="303" y="210"/>
                    <a:pt x="303" y="199"/>
                    <a:pt x="314" y="188"/>
                  </a:cubicBezTo>
                  <a:lnTo>
                    <a:pt x="325" y="177"/>
                  </a:lnTo>
                  <a:cubicBezTo>
                    <a:pt x="339" y="177"/>
                    <a:pt x="339" y="165"/>
                    <a:pt x="339" y="154"/>
                  </a:cubicBezTo>
                  <a:cubicBezTo>
                    <a:pt x="350" y="140"/>
                    <a:pt x="361" y="118"/>
                    <a:pt x="372" y="95"/>
                  </a:cubicBezTo>
                  <a:lnTo>
                    <a:pt x="372" y="84"/>
                  </a:lnTo>
                  <a:cubicBezTo>
                    <a:pt x="372" y="59"/>
                    <a:pt x="361" y="37"/>
                    <a:pt x="325" y="14"/>
                  </a:cubicBezTo>
                  <a:lnTo>
                    <a:pt x="303" y="14"/>
                  </a:lnTo>
                  <a:cubicBezTo>
                    <a:pt x="291" y="0"/>
                    <a:pt x="280" y="0"/>
                    <a:pt x="26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1" name="Google Shape;199;p17">
              <a:extLst>
                <a:ext uri="{FF2B5EF4-FFF2-40B4-BE49-F238E27FC236}">
                  <a16:creationId xmlns:a16="http://schemas.microsoft.com/office/drawing/2014/main" xmlns="" id="{D23F83B1-B55F-8854-CB88-0917C989F6E6}"/>
                </a:ext>
              </a:extLst>
            </p:cNvPr>
            <p:cNvSpPr/>
            <p:nvPr/>
          </p:nvSpPr>
          <p:spPr>
            <a:xfrm>
              <a:off x="2507157" y="2867665"/>
              <a:ext cx="8530" cy="10375"/>
            </a:xfrm>
            <a:custGeom>
              <a:avLst/>
              <a:gdLst/>
              <a:ahLst/>
              <a:cxnLst/>
              <a:rect l="l" t="t" r="r" b="b"/>
              <a:pathLst>
                <a:path w="37" h="45" extrusionOk="0">
                  <a:moveTo>
                    <a:pt x="14" y="0"/>
                  </a:moveTo>
                  <a:cubicBezTo>
                    <a:pt x="14" y="0"/>
                    <a:pt x="0" y="0"/>
                    <a:pt x="0" y="11"/>
                  </a:cubicBezTo>
                  <a:lnTo>
                    <a:pt x="0" y="23"/>
                  </a:lnTo>
                  <a:cubicBezTo>
                    <a:pt x="0" y="23"/>
                    <a:pt x="0" y="34"/>
                    <a:pt x="14" y="34"/>
                  </a:cubicBezTo>
                  <a:lnTo>
                    <a:pt x="26" y="45"/>
                  </a:lnTo>
                  <a:lnTo>
                    <a:pt x="37" y="34"/>
                  </a:lnTo>
                  <a:lnTo>
                    <a:pt x="37" y="23"/>
                  </a:lnTo>
                  <a:cubicBezTo>
                    <a:pt x="37" y="11"/>
                    <a:pt x="37" y="11"/>
                    <a:pt x="26" y="0"/>
                  </a:cubicBezTo>
                  <a:close/>
                </a:path>
              </a:pathLst>
            </a:custGeom>
            <a:solidFill>
              <a:srgbClr val="10B9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" name="Google Shape;200;p17">
              <a:extLst>
                <a:ext uri="{FF2B5EF4-FFF2-40B4-BE49-F238E27FC236}">
                  <a16:creationId xmlns:a16="http://schemas.microsoft.com/office/drawing/2014/main" xmlns="" id="{960E7556-D27A-32EC-EF3C-41160DB2E45C}"/>
                </a:ext>
              </a:extLst>
            </p:cNvPr>
            <p:cNvSpPr/>
            <p:nvPr/>
          </p:nvSpPr>
          <p:spPr>
            <a:xfrm>
              <a:off x="2502085" y="2861902"/>
              <a:ext cx="18905" cy="22133"/>
            </a:xfrm>
            <a:custGeom>
              <a:avLst/>
              <a:gdLst/>
              <a:ahLst/>
              <a:cxnLst/>
              <a:rect l="l" t="t" r="r" b="b"/>
              <a:pathLst>
                <a:path w="82" h="96" extrusionOk="0">
                  <a:moveTo>
                    <a:pt x="36" y="0"/>
                  </a:moveTo>
                  <a:cubicBezTo>
                    <a:pt x="22" y="0"/>
                    <a:pt x="11" y="11"/>
                    <a:pt x="11" y="11"/>
                  </a:cubicBezTo>
                  <a:cubicBezTo>
                    <a:pt x="0" y="25"/>
                    <a:pt x="0" y="36"/>
                    <a:pt x="0" y="36"/>
                  </a:cubicBezTo>
                  <a:lnTo>
                    <a:pt x="0" y="48"/>
                  </a:lnTo>
                  <a:cubicBezTo>
                    <a:pt x="0" y="59"/>
                    <a:pt x="11" y="70"/>
                    <a:pt x="11" y="70"/>
                  </a:cubicBezTo>
                  <a:lnTo>
                    <a:pt x="22" y="81"/>
                  </a:lnTo>
                  <a:lnTo>
                    <a:pt x="36" y="81"/>
                  </a:lnTo>
                  <a:cubicBezTo>
                    <a:pt x="36" y="95"/>
                    <a:pt x="36" y="95"/>
                    <a:pt x="48" y="95"/>
                  </a:cubicBezTo>
                  <a:lnTo>
                    <a:pt x="59" y="95"/>
                  </a:lnTo>
                  <a:lnTo>
                    <a:pt x="70" y="81"/>
                  </a:lnTo>
                  <a:lnTo>
                    <a:pt x="81" y="70"/>
                  </a:lnTo>
                  <a:lnTo>
                    <a:pt x="81" y="48"/>
                  </a:lnTo>
                  <a:lnTo>
                    <a:pt x="81" y="36"/>
                  </a:lnTo>
                  <a:cubicBezTo>
                    <a:pt x="81" y="25"/>
                    <a:pt x="70" y="11"/>
                    <a:pt x="70" y="11"/>
                  </a:cubicBezTo>
                  <a:lnTo>
                    <a:pt x="59" y="11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3" name="Google Shape;201;p17">
              <a:extLst>
                <a:ext uri="{FF2B5EF4-FFF2-40B4-BE49-F238E27FC236}">
                  <a16:creationId xmlns:a16="http://schemas.microsoft.com/office/drawing/2014/main" xmlns="" id="{6D3F3A43-23F6-0CE6-8C30-E7EA640AE821}"/>
                </a:ext>
              </a:extLst>
            </p:cNvPr>
            <p:cNvSpPr/>
            <p:nvPr/>
          </p:nvSpPr>
          <p:spPr>
            <a:xfrm>
              <a:off x="2478108" y="2877810"/>
              <a:ext cx="29280" cy="24900"/>
            </a:xfrm>
            <a:custGeom>
              <a:avLst/>
              <a:gdLst/>
              <a:ahLst/>
              <a:cxnLst/>
              <a:rect l="l" t="t" r="r" b="b"/>
              <a:pathLst>
                <a:path w="127" h="108" extrusionOk="0">
                  <a:moveTo>
                    <a:pt x="71" y="1"/>
                  </a:moveTo>
                  <a:cubicBezTo>
                    <a:pt x="57" y="12"/>
                    <a:pt x="45" y="12"/>
                    <a:pt x="45" y="26"/>
                  </a:cubicBezTo>
                  <a:cubicBezTo>
                    <a:pt x="45" y="37"/>
                    <a:pt x="45" y="37"/>
                    <a:pt x="34" y="48"/>
                  </a:cubicBezTo>
                  <a:lnTo>
                    <a:pt x="23" y="48"/>
                  </a:lnTo>
                  <a:cubicBezTo>
                    <a:pt x="23" y="60"/>
                    <a:pt x="12" y="60"/>
                    <a:pt x="12" y="60"/>
                  </a:cubicBezTo>
                  <a:cubicBezTo>
                    <a:pt x="1" y="71"/>
                    <a:pt x="1" y="71"/>
                    <a:pt x="1" y="82"/>
                  </a:cubicBezTo>
                  <a:lnTo>
                    <a:pt x="1" y="107"/>
                  </a:lnTo>
                  <a:lnTo>
                    <a:pt x="57" y="107"/>
                  </a:lnTo>
                  <a:cubicBezTo>
                    <a:pt x="71" y="107"/>
                    <a:pt x="71" y="96"/>
                    <a:pt x="82" y="96"/>
                  </a:cubicBezTo>
                  <a:cubicBezTo>
                    <a:pt x="82" y="82"/>
                    <a:pt x="104" y="82"/>
                    <a:pt x="104" y="71"/>
                  </a:cubicBezTo>
                  <a:cubicBezTo>
                    <a:pt x="115" y="71"/>
                    <a:pt x="126" y="60"/>
                    <a:pt x="126" y="48"/>
                  </a:cubicBezTo>
                  <a:cubicBezTo>
                    <a:pt x="126" y="26"/>
                    <a:pt x="126" y="12"/>
                    <a:pt x="104" y="1"/>
                  </a:cubicBezTo>
                  <a:close/>
                </a:path>
              </a:pathLst>
            </a:custGeom>
            <a:solidFill>
              <a:srgbClr val="10B9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4" name="Google Shape;202;p17">
              <a:extLst>
                <a:ext uri="{FF2B5EF4-FFF2-40B4-BE49-F238E27FC236}">
                  <a16:creationId xmlns:a16="http://schemas.microsoft.com/office/drawing/2014/main" xmlns="" id="{6C30D89B-31F7-CA49-25FA-DE3ED953A666}"/>
                </a:ext>
              </a:extLst>
            </p:cNvPr>
            <p:cNvSpPr/>
            <p:nvPr/>
          </p:nvSpPr>
          <p:spPr>
            <a:xfrm>
              <a:off x="2472344" y="2872738"/>
              <a:ext cx="40807" cy="35044"/>
            </a:xfrm>
            <a:custGeom>
              <a:avLst/>
              <a:gdLst/>
              <a:ahLst/>
              <a:cxnLst/>
              <a:rect l="l" t="t" r="r" b="b"/>
              <a:pathLst>
                <a:path w="177" h="152" extrusionOk="0">
                  <a:moveTo>
                    <a:pt x="118" y="48"/>
                  </a:moveTo>
                  <a:cubicBezTo>
                    <a:pt x="129" y="48"/>
                    <a:pt x="129" y="48"/>
                    <a:pt x="129" y="59"/>
                  </a:cubicBezTo>
                  <a:cubicBezTo>
                    <a:pt x="129" y="70"/>
                    <a:pt x="118" y="70"/>
                    <a:pt x="118" y="82"/>
                  </a:cubicBezTo>
                  <a:lnTo>
                    <a:pt x="107" y="82"/>
                  </a:lnTo>
                  <a:cubicBezTo>
                    <a:pt x="107" y="82"/>
                    <a:pt x="96" y="82"/>
                    <a:pt x="82" y="93"/>
                  </a:cubicBezTo>
                  <a:cubicBezTo>
                    <a:pt x="82" y="93"/>
                    <a:pt x="82" y="104"/>
                    <a:pt x="70" y="104"/>
                  </a:cubicBezTo>
                  <a:lnTo>
                    <a:pt x="48" y="104"/>
                  </a:lnTo>
                  <a:lnTo>
                    <a:pt x="59" y="93"/>
                  </a:lnTo>
                  <a:cubicBezTo>
                    <a:pt x="59" y="93"/>
                    <a:pt x="70" y="93"/>
                    <a:pt x="82" y="82"/>
                  </a:cubicBezTo>
                  <a:cubicBezTo>
                    <a:pt x="82" y="70"/>
                    <a:pt x="96" y="59"/>
                    <a:pt x="96" y="59"/>
                  </a:cubicBezTo>
                  <a:cubicBezTo>
                    <a:pt x="96" y="59"/>
                    <a:pt x="96" y="48"/>
                    <a:pt x="107" y="48"/>
                  </a:cubicBezTo>
                  <a:close/>
                  <a:moveTo>
                    <a:pt x="118" y="1"/>
                  </a:moveTo>
                  <a:cubicBezTo>
                    <a:pt x="107" y="1"/>
                    <a:pt x="96" y="1"/>
                    <a:pt x="82" y="12"/>
                  </a:cubicBezTo>
                  <a:cubicBezTo>
                    <a:pt x="70" y="12"/>
                    <a:pt x="59" y="23"/>
                    <a:pt x="48" y="48"/>
                  </a:cubicBezTo>
                  <a:lnTo>
                    <a:pt x="37" y="59"/>
                  </a:lnTo>
                  <a:cubicBezTo>
                    <a:pt x="37" y="59"/>
                    <a:pt x="26" y="59"/>
                    <a:pt x="12" y="70"/>
                  </a:cubicBezTo>
                  <a:cubicBezTo>
                    <a:pt x="12" y="82"/>
                    <a:pt x="0" y="93"/>
                    <a:pt x="0" y="104"/>
                  </a:cubicBezTo>
                  <a:cubicBezTo>
                    <a:pt x="0" y="118"/>
                    <a:pt x="0" y="129"/>
                    <a:pt x="12" y="140"/>
                  </a:cubicBezTo>
                  <a:lnTo>
                    <a:pt x="26" y="152"/>
                  </a:lnTo>
                  <a:lnTo>
                    <a:pt x="96" y="152"/>
                  </a:lnTo>
                  <a:lnTo>
                    <a:pt x="107" y="140"/>
                  </a:lnTo>
                  <a:lnTo>
                    <a:pt x="118" y="129"/>
                  </a:lnTo>
                  <a:lnTo>
                    <a:pt x="129" y="129"/>
                  </a:lnTo>
                  <a:cubicBezTo>
                    <a:pt x="129" y="129"/>
                    <a:pt x="140" y="118"/>
                    <a:pt x="151" y="118"/>
                  </a:cubicBezTo>
                  <a:cubicBezTo>
                    <a:pt x="165" y="104"/>
                    <a:pt x="165" y="82"/>
                    <a:pt x="177" y="70"/>
                  </a:cubicBezTo>
                  <a:lnTo>
                    <a:pt x="177" y="59"/>
                  </a:lnTo>
                  <a:cubicBezTo>
                    <a:pt x="177" y="48"/>
                    <a:pt x="165" y="23"/>
                    <a:pt x="151" y="12"/>
                  </a:cubicBezTo>
                  <a:cubicBezTo>
                    <a:pt x="140" y="1"/>
                    <a:pt x="129" y="1"/>
                    <a:pt x="11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203;p17">
              <a:extLst>
                <a:ext uri="{FF2B5EF4-FFF2-40B4-BE49-F238E27FC236}">
                  <a16:creationId xmlns:a16="http://schemas.microsoft.com/office/drawing/2014/main" xmlns="" id="{64EFDBE3-F7D6-FDE9-C270-271F26B7B5F7}"/>
                </a:ext>
              </a:extLst>
            </p:cNvPr>
            <p:cNvSpPr/>
            <p:nvPr/>
          </p:nvSpPr>
          <p:spPr>
            <a:xfrm>
              <a:off x="2448367" y="2880576"/>
              <a:ext cx="16369" cy="8531"/>
            </a:xfrm>
            <a:custGeom>
              <a:avLst/>
              <a:gdLst/>
              <a:ahLst/>
              <a:cxnLst/>
              <a:rect l="l" t="t" r="r" b="b"/>
              <a:pathLst>
                <a:path w="71" h="37" extrusionOk="0">
                  <a:moveTo>
                    <a:pt x="12" y="0"/>
                  </a:moveTo>
                  <a:cubicBezTo>
                    <a:pt x="1" y="0"/>
                    <a:pt x="1" y="14"/>
                    <a:pt x="1" y="25"/>
                  </a:cubicBezTo>
                  <a:lnTo>
                    <a:pt x="23" y="25"/>
                  </a:lnTo>
                  <a:cubicBezTo>
                    <a:pt x="23" y="36"/>
                    <a:pt x="35" y="36"/>
                    <a:pt x="46" y="36"/>
                  </a:cubicBezTo>
                  <a:lnTo>
                    <a:pt x="60" y="36"/>
                  </a:lnTo>
                  <a:lnTo>
                    <a:pt x="60" y="25"/>
                  </a:lnTo>
                  <a:lnTo>
                    <a:pt x="71" y="25"/>
                  </a:lnTo>
                  <a:cubicBezTo>
                    <a:pt x="71" y="14"/>
                    <a:pt x="60" y="0"/>
                    <a:pt x="46" y="0"/>
                  </a:cubicBezTo>
                  <a:close/>
                </a:path>
              </a:pathLst>
            </a:custGeom>
            <a:solidFill>
              <a:srgbClr val="10B9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" name="Google Shape;204;p17">
              <a:extLst>
                <a:ext uri="{FF2B5EF4-FFF2-40B4-BE49-F238E27FC236}">
                  <a16:creationId xmlns:a16="http://schemas.microsoft.com/office/drawing/2014/main" xmlns="" id="{6098D7F4-9C7E-D0D1-EFBB-607DB70D747B}"/>
                </a:ext>
              </a:extLst>
            </p:cNvPr>
            <p:cNvSpPr/>
            <p:nvPr/>
          </p:nvSpPr>
          <p:spPr>
            <a:xfrm>
              <a:off x="2442603" y="2875274"/>
              <a:ext cx="27435" cy="18906"/>
            </a:xfrm>
            <a:custGeom>
              <a:avLst/>
              <a:gdLst/>
              <a:ahLst/>
              <a:cxnLst/>
              <a:rect l="l" t="t" r="r" b="b"/>
              <a:pathLst>
                <a:path w="119" h="82" extrusionOk="0">
                  <a:moveTo>
                    <a:pt x="48" y="1"/>
                  </a:moveTo>
                  <a:cubicBezTo>
                    <a:pt x="37" y="1"/>
                    <a:pt x="26" y="1"/>
                    <a:pt x="26" y="12"/>
                  </a:cubicBezTo>
                  <a:cubicBezTo>
                    <a:pt x="15" y="12"/>
                    <a:pt x="1" y="23"/>
                    <a:pt x="1" y="37"/>
                  </a:cubicBezTo>
                  <a:cubicBezTo>
                    <a:pt x="1" y="48"/>
                    <a:pt x="1" y="48"/>
                    <a:pt x="15" y="48"/>
                  </a:cubicBezTo>
                  <a:lnTo>
                    <a:pt x="15" y="59"/>
                  </a:lnTo>
                  <a:cubicBezTo>
                    <a:pt x="26" y="71"/>
                    <a:pt x="26" y="71"/>
                    <a:pt x="37" y="71"/>
                  </a:cubicBezTo>
                  <a:cubicBezTo>
                    <a:pt x="48" y="82"/>
                    <a:pt x="60" y="82"/>
                    <a:pt x="71" y="82"/>
                  </a:cubicBezTo>
                  <a:lnTo>
                    <a:pt x="85" y="82"/>
                  </a:lnTo>
                  <a:lnTo>
                    <a:pt x="96" y="71"/>
                  </a:lnTo>
                  <a:lnTo>
                    <a:pt x="107" y="71"/>
                  </a:lnTo>
                  <a:lnTo>
                    <a:pt x="118" y="48"/>
                  </a:lnTo>
                  <a:lnTo>
                    <a:pt x="118" y="37"/>
                  </a:lnTo>
                  <a:lnTo>
                    <a:pt x="116" y="38"/>
                  </a:lnTo>
                  <a:lnTo>
                    <a:pt x="116" y="38"/>
                  </a:lnTo>
                  <a:cubicBezTo>
                    <a:pt x="113" y="29"/>
                    <a:pt x="107" y="20"/>
                    <a:pt x="107" y="12"/>
                  </a:cubicBezTo>
                  <a:cubicBezTo>
                    <a:pt x="96" y="1"/>
                    <a:pt x="96" y="1"/>
                    <a:pt x="8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7" name="Google Shape;205;p17">
              <a:extLst>
                <a:ext uri="{FF2B5EF4-FFF2-40B4-BE49-F238E27FC236}">
                  <a16:creationId xmlns:a16="http://schemas.microsoft.com/office/drawing/2014/main" xmlns="" id="{FF2D6137-07A0-7842-71F5-B32AD6DA4D04}"/>
                </a:ext>
              </a:extLst>
            </p:cNvPr>
            <p:cNvSpPr/>
            <p:nvPr/>
          </p:nvSpPr>
          <p:spPr>
            <a:xfrm>
              <a:off x="2716728" y="1465438"/>
              <a:ext cx="40807" cy="20750"/>
            </a:xfrm>
            <a:custGeom>
              <a:avLst/>
              <a:gdLst/>
              <a:ahLst/>
              <a:cxnLst/>
              <a:rect l="l" t="t" r="r" b="b"/>
              <a:pathLst>
                <a:path w="177" h="90" extrusionOk="0">
                  <a:moveTo>
                    <a:pt x="37" y="0"/>
                  </a:moveTo>
                  <a:cubicBezTo>
                    <a:pt x="25" y="0"/>
                    <a:pt x="0" y="23"/>
                    <a:pt x="14" y="45"/>
                  </a:cubicBezTo>
                  <a:lnTo>
                    <a:pt x="48" y="45"/>
                  </a:lnTo>
                  <a:cubicBezTo>
                    <a:pt x="59" y="45"/>
                    <a:pt x="70" y="45"/>
                    <a:pt x="84" y="56"/>
                  </a:cubicBezTo>
                  <a:cubicBezTo>
                    <a:pt x="95" y="70"/>
                    <a:pt x="106" y="70"/>
                    <a:pt x="118" y="82"/>
                  </a:cubicBezTo>
                  <a:cubicBezTo>
                    <a:pt x="123" y="87"/>
                    <a:pt x="132" y="90"/>
                    <a:pt x="141" y="90"/>
                  </a:cubicBezTo>
                  <a:cubicBezTo>
                    <a:pt x="151" y="90"/>
                    <a:pt x="160" y="87"/>
                    <a:pt x="165" y="82"/>
                  </a:cubicBezTo>
                  <a:cubicBezTo>
                    <a:pt x="176" y="82"/>
                    <a:pt x="165" y="56"/>
                    <a:pt x="165" y="45"/>
                  </a:cubicBezTo>
                  <a:cubicBezTo>
                    <a:pt x="154" y="45"/>
                    <a:pt x="140" y="34"/>
                    <a:pt x="129" y="23"/>
                  </a:cubicBezTo>
                  <a:cubicBezTo>
                    <a:pt x="118" y="23"/>
                    <a:pt x="106" y="23"/>
                    <a:pt x="106" y="12"/>
                  </a:cubicBezTo>
                  <a:cubicBezTo>
                    <a:pt x="84" y="0"/>
                    <a:pt x="59" y="0"/>
                    <a:pt x="37" y="0"/>
                  </a:cubicBezTo>
                  <a:close/>
                </a:path>
              </a:pathLst>
            </a:custGeom>
            <a:solidFill>
              <a:srgbClr val="10B9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206;p17">
              <a:extLst>
                <a:ext uri="{FF2B5EF4-FFF2-40B4-BE49-F238E27FC236}">
                  <a16:creationId xmlns:a16="http://schemas.microsoft.com/office/drawing/2014/main" xmlns="" id="{DC03BBD6-A321-98F2-6207-BF89B9AC355E}"/>
                </a:ext>
              </a:extLst>
            </p:cNvPr>
            <p:cNvSpPr/>
            <p:nvPr/>
          </p:nvSpPr>
          <p:spPr>
            <a:xfrm>
              <a:off x="2714192" y="1459674"/>
              <a:ext cx="45879" cy="32508"/>
            </a:xfrm>
            <a:custGeom>
              <a:avLst/>
              <a:gdLst/>
              <a:ahLst/>
              <a:cxnLst/>
              <a:rect l="l" t="t" r="r" b="b"/>
              <a:pathLst>
                <a:path w="199" h="141" extrusionOk="0">
                  <a:moveTo>
                    <a:pt x="59" y="48"/>
                  </a:moveTo>
                  <a:cubicBezTo>
                    <a:pt x="70" y="48"/>
                    <a:pt x="95" y="48"/>
                    <a:pt x="106" y="59"/>
                  </a:cubicBezTo>
                  <a:cubicBezTo>
                    <a:pt x="117" y="59"/>
                    <a:pt x="117" y="70"/>
                    <a:pt x="129" y="70"/>
                  </a:cubicBezTo>
                  <a:cubicBezTo>
                    <a:pt x="140" y="81"/>
                    <a:pt x="151" y="81"/>
                    <a:pt x="151" y="95"/>
                  </a:cubicBezTo>
                  <a:lnTo>
                    <a:pt x="151" y="95"/>
                  </a:lnTo>
                  <a:cubicBezTo>
                    <a:pt x="144" y="93"/>
                    <a:pt x="140" y="90"/>
                    <a:pt x="140" y="81"/>
                  </a:cubicBezTo>
                  <a:cubicBezTo>
                    <a:pt x="129" y="81"/>
                    <a:pt x="117" y="70"/>
                    <a:pt x="106" y="59"/>
                  </a:cubicBezTo>
                  <a:cubicBezTo>
                    <a:pt x="95" y="59"/>
                    <a:pt x="70" y="48"/>
                    <a:pt x="59" y="48"/>
                  </a:cubicBezTo>
                  <a:close/>
                  <a:moveTo>
                    <a:pt x="48" y="0"/>
                  </a:moveTo>
                  <a:cubicBezTo>
                    <a:pt x="48" y="0"/>
                    <a:pt x="36" y="0"/>
                    <a:pt x="36" y="11"/>
                  </a:cubicBezTo>
                  <a:cubicBezTo>
                    <a:pt x="25" y="11"/>
                    <a:pt x="25" y="11"/>
                    <a:pt x="11" y="25"/>
                  </a:cubicBezTo>
                  <a:cubicBezTo>
                    <a:pt x="0" y="37"/>
                    <a:pt x="0" y="37"/>
                    <a:pt x="0" y="59"/>
                  </a:cubicBezTo>
                  <a:cubicBezTo>
                    <a:pt x="0" y="70"/>
                    <a:pt x="0" y="81"/>
                    <a:pt x="11" y="81"/>
                  </a:cubicBezTo>
                  <a:lnTo>
                    <a:pt x="25" y="95"/>
                  </a:lnTo>
                  <a:lnTo>
                    <a:pt x="48" y="95"/>
                  </a:lnTo>
                  <a:cubicBezTo>
                    <a:pt x="59" y="95"/>
                    <a:pt x="70" y="95"/>
                    <a:pt x="81" y="107"/>
                  </a:cubicBezTo>
                  <a:cubicBezTo>
                    <a:pt x="95" y="107"/>
                    <a:pt x="106" y="118"/>
                    <a:pt x="117" y="129"/>
                  </a:cubicBezTo>
                  <a:cubicBezTo>
                    <a:pt x="129" y="129"/>
                    <a:pt x="140" y="140"/>
                    <a:pt x="165" y="140"/>
                  </a:cubicBezTo>
                  <a:cubicBezTo>
                    <a:pt x="165" y="140"/>
                    <a:pt x="176" y="140"/>
                    <a:pt x="187" y="129"/>
                  </a:cubicBezTo>
                  <a:lnTo>
                    <a:pt x="199" y="129"/>
                  </a:lnTo>
                  <a:lnTo>
                    <a:pt x="199" y="118"/>
                  </a:lnTo>
                  <a:lnTo>
                    <a:pt x="199" y="95"/>
                  </a:lnTo>
                  <a:cubicBezTo>
                    <a:pt x="199" y="81"/>
                    <a:pt x="199" y="70"/>
                    <a:pt x="187" y="59"/>
                  </a:cubicBezTo>
                  <a:cubicBezTo>
                    <a:pt x="176" y="48"/>
                    <a:pt x="165" y="37"/>
                    <a:pt x="151" y="37"/>
                  </a:cubicBezTo>
                  <a:cubicBezTo>
                    <a:pt x="140" y="25"/>
                    <a:pt x="129" y="25"/>
                    <a:pt x="117" y="11"/>
                  </a:cubicBezTo>
                  <a:cubicBezTo>
                    <a:pt x="106" y="11"/>
                    <a:pt x="81" y="0"/>
                    <a:pt x="5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9" name="Google Shape;207;p17">
              <a:extLst>
                <a:ext uri="{FF2B5EF4-FFF2-40B4-BE49-F238E27FC236}">
                  <a16:creationId xmlns:a16="http://schemas.microsoft.com/office/drawing/2014/main" xmlns="" id="{D0FFDE44-13A5-55D3-C803-A4D4511964E5}"/>
                </a:ext>
              </a:extLst>
            </p:cNvPr>
            <p:cNvSpPr/>
            <p:nvPr/>
          </p:nvSpPr>
          <p:spPr>
            <a:xfrm>
              <a:off x="2725028" y="2994009"/>
              <a:ext cx="29972" cy="25130"/>
            </a:xfrm>
            <a:custGeom>
              <a:avLst/>
              <a:gdLst/>
              <a:ahLst/>
              <a:cxnLst/>
              <a:rect l="l" t="t" r="r" b="b"/>
              <a:pathLst>
                <a:path w="130" h="109" extrusionOk="0">
                  <a:moveTo>
                    <a:pt x="27" y="1"/>
                  </a:moveTo>
                  <a:cubicBezTo>
                    <a:pt x="23" y="1"/>
                    <a:pt x="17" y="4"/>
                    <a:pt x="12" y="11"/>
                  </a:cubicBezTo>
                  <a:cubicBezTo>
                    <a:pt x="12" y="11"/>
                    <a:pt x="1" y="23"/>
                    <a:pt x="12" y="34"/>
                  </a:cubicBezTo>
                  <a:cubicBezTo>
                    <a:pt x="12" y="45"/>
                    <a:pt x="12" y="45"/>
                    <a:pt x="23" y="56"/>
                  </a:cubicBezTo>
                  <a:cubicBezTo>
                    <a:pt x="34" y="67"/>
                    <a:pt x="59" y="81"/>
                    <a:pt x="70" y="93"/>
                  </a:cubicBezTo>
                  <a:cubicBezTo>
                    <a:pt x="86" y="100"/>
                    <a:pt x="97" y="108"/>
                    <a:pt x="106" y="108"/>
                  </a:cubicBezTo>
                  <a:cubicBezTo>
                    <a:pt x="110" y="108"/>
                    <a:pt x="114" y="107"/>
                    <a:pt x="118" y="104"/>
                  </a:cubicBezTo>
                  <a:lnTo>
                    <a:pt x="129" y="104"/>
                  </a:lnTo>
                  <a:cubicBezTo>
                    <a:pt x="129" y="81"/>
                    <a:pt x="118" y="67"/>
                    <a:pt x="104" y="56"/>
                  </a:cubicBezTo>
                  <a:cubicBezTo>
                    <a:pt x="93" y="45"/>
                    <a:pt x="82" y="34"/>
                    <a:pt x="70" y="23"/>
                  </a:cubicBezTo>
                  <a:cubicBezTo>
                    <a:pt x="59" y="11"/>
                    <a:pt x="48" y="11"/>
                    <a:pt x="34" y="11"/>
                  </a:cubicBezTo>
                  <a:cubicBezTo>
                    <a:pt x="34" y="4"/>
                    <a:pt x="31" y="1"/>
                    <a:pt x="27" y="1"/>
                  </a:cubicBezTo>
                  <a:close/>
                </a:path>
              </a:pathLst>
            </a:custGeom>
            <a:solidFill>
              <a:srgbClr val="10B9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0" name="Google Shape;208;p17">
              <a:extLst>
                <a:ext uri="{FF2B5EF4-FFF2-40B4-BE49-F238E27FC236}">
                  <a16:creationId xmlns:a16="http://schemas.microsoft.com/office/drawing/2014/main" xmlns="" id="{B3DB9F6D-AB63-C550-29A9-6D9A79128D62}"/>
                </a:ext>
              </a:extLst>
            </p:cNvPr>
            <p:cNvSpPr/>
            <p:nvPr/>
          </p:nvSpPr>
          <p:spPr>
            <a:xfrm>
              <a:off x="2719956" y="2988245"/>
              <a:ext cx="40116" cy="37580"/>
            </a:xfrm>
            <a:custGeom>
              <a:avLst/>
              <a:gdLst/>
              <a:ahLst/>
              <a:cxnLst/>
              <a:rect l="l" t="t" r="r" b="b"/>
              <a:pathLst>
                <a:path w="174" h="163" extrusionOk="0">
                  <a:moveTo>
                    <a:pt x="45" y="48"/>
                  </a:moveTo>
                  <a:lnTo>
                    <a:pt x="56" y="59"/>
                  </a:lnTo>
                  <a:cubicBezTo>
                    <a:pt x="56" y="59"/>
                    <a:pt x="70" y="59"/>
                    <a:pt x="70" y="70"/>
                  </a:cubicBezTo>
                  <a:cubicBezTo>
                    <a:pt x="92" y="70"/>
                    <a:pt x="104" y="81"/>
                    <a:pt x="115" y="92"/>
                  </a:cubicBezTo>
                  <a:cubicBezTo>
                    <a:pt x="115" y="101"/>
                    <a:pt x="119" y="108"/>
                    <a:pt x="122" y="112"/>
                  </a:cubicBezTo>
                  <a:lnTo>
                    <a:pt x="122" y="112"/>
                  </a:lnTo>
                  <a:cubicBezTo>
                    <a:pt x="116" y="110"/>
                    <a:pt x="110" y="106"/>
                    <a:pt x="104" y="106"/>
                  </a:cubicBezTo>
                  <a:cubicBezTo>
                    <a:pt x="92" y="92"/>
                    <a:pt x="70" y="81"/>
                    <a:pt x="56" y="70"/>
                  </a:cubicBezTo>
                  <a:cubicBezTo>
                    <a:pt x="56" y="59"/>
                    <a:pt x="56" y="59"/>
                    <a:pt x="45" y="48"/>
                  </a:cubicBezTo>
                  <a:close/>
                  <a:moveTo>
                    <a:pt x="45" y="0"/>
                  </a:moveTo>
                  <a:cubicBezTo>
                    <a:pt x="45" y="0"/>
                    <a:pt x="34" y="11"/>
                    <a:pt x="23" y="11"/>
                  </a:cubicBezTo>
                  <a:cubicBezTo>
                    <a:pt x="11" y="22"/>
                    <a:pt x="0" y="36"/>
                    <a:pt x="0" y="48"/>
                  </a:cubicBezTo>
                  <a:cubicBezTo>
                    <a:pt x="0" y="59"/>
                    <a:pt x="0" y="59"/>
                    <a:pt x="11" y="70"/>
                  </a:cubicBezTo>
                  <a:cubicBezTo>
                    <a:pt x="11" y="81"/>
                    <a:pt x="23" y="92"/>
                    <a:pt x="34" y="92"/>
                  </a:cubicBezTo>
                  <a:cubicBezTo>
                    <a:pt x="45" y="118"/>
                    <a:pt x="70" y="129"/>
                    <a:pt x="81" y="140"/>
                  </a:cubicBezTo>
                  <a:cubicBezTo>
                    <a:pt x="92" y="151"/>
                    <a:pt x="115" y="151"/>
                    <a:pt x="140" y="162"/>
                  </a:cubicBezTo>
                  <a:lnTo>
                    <a:pt x="140" y="151"/>
                  </a:lnTo>
                  <a:lnTo>
                    <a:pt x="162" y="151"/>
                  </a:lnTo>
                  <a:lnTo>
                    <a:pt x="162" y="140"/>
                  </a:lnTo>
                  <a:lnTo>
                    <a:pt x="174" y="129"/>
                  </a:lnTo>
                  <a:lnTo>
                    <a:pt x="174" y="118"/>
                  </a:lnTo>
                  <a:cubicBezTo>
                    <a:pt x="174" y="92"/>
                    <a:pt x="162" y="81"/>
                    <a:pt x="151" y="59"/>
                  </a:cubicBezTo>
                  <a:cubicBezTo>
                    <a:pt x="126" y="48"/>
                    <a:pt x="115" y="36"/>
                    <a:pt x="104" y="22"/>
                  </a:cubicBezTo>
                  <a:cubicBezTo>
                    <a:pt x="92" y="22"/>
                    <a:pt x="81" y="11"/>
                    <a:pt x="70" y="11"/>
                  </a:cubicBezTo>
                  <a:cubicBezTo>
                    <a:pt x="56" y="11"/>
                    <a:pt x="56" y="0"/>
                    <a:pt x="4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1" name="Google Shape;209;p17">
              <a:extLst>
                <a:ext uri="{FF2B5EF4-FFF2-40B4-BE49-F238E27FC236}">
                  <a16:creationId xmlns:a16="http://schemas.microsoft.com/office/drawing/2014/main" xmlns="" id="{59C3D722-6B61-3F26-3FF4-59A35DF94856}"/>
                </a:ext>
              </a:extLst>
            </p:cNvPr>
            <p:cNvSpPr/>
            <p:nvPr/>
          </p:nvSpPr>
          <p:spPr>
            <a:xfrm>
              <a:off x="2813329" y="2854063"/>
              <a:ext cx="32508" cy="67322"/>
            </a:xfrm>
            <a:custGeom>
              <a:avLst/>
              <a:gdLst/>
              <a:ahLst/>
              <a:cxnLst/>
              <a:rect l="l" t="t" r="r" b="b"/>
              <a:pathLst>
                <a:path w="141" h="292" extrusionOk="0">
                  <a:moveTo>
                    <a:pt x="85" y="0"/>
                  </a:moveTo>
                  <a:cubicBezTo>
                    <a:pt x="71" y="0"/>
                    <a:pt x="71" y="12"/>
                    <a:pt x="71" y="34"/>
                  </a:cubicBezTo>
                  <a:cubicBezTo>
                    <a:pt x="59" y="45"/>
                    <a:pt x="71" y="59"/>
                    <a:pt x="59" y="70"/>
                  </a:cubicBezTo>
                  <a:cubicBezTo>
                    <a:pt x="59" y="82"/>
                    <a:pt x="48" y="93"/>
                    <a:pt x="37" y="93"/>
                  </a:cubicBezTo>
                  <a:cubicBezTo>
                    <a:pt x="26" y="115"/>
                    <a:pt x="15" y="140"/>
                    <a:pt x="15" y="163"/>
                  </a:cubicBezTo>
                  <a:cubicBezTo>
                    <a:pt x="15" y="185"/>
                    <a:pt x="1" y="221"/>
                    <a:pt x="1" y="244"/>
                  </a:cubicBezTo>
                  <a:lnTo>
                    <a:pt x="1" y="291"/>
                  </a:lnTo>
                  <a:lnTo>
                    <a:pt x="26" y="291"/>
                  </a:lnTo>
                  <a:cubicBezTo>
                    <a:pt x="37" y="280"/>
                    <a:pt x="48" y="269"/>
                    <a:pt x="48" y="255"/>
                  </a:cubicBezTo>
                  <a:cubicBezTo>
                    <a:pt x="59" y="244"/>
                    <a:pt x="59" y="221"/>
                    <a:pt x="59" y="210"/>
                  </a:cubicBezTo>
                  <a:cubicBezTo>
                    <a:pt x="71" y="199"/>
                    <a:pt x="85" y="185"/>
                    <a:pt x="96" y="174"/>
                  </a:cubicBezTo>
                  <a:cubicBezTo>
                    <a:pt x="107" y="151"/>
                    <a:pt x="129" y="115"/>
                    <a:pt x="140" y="82"/>
                  </a:cubicBezTo>
                  <a:lnTo>
                    <a:pt x="140" y="59"/>
                  </a:lnTo>
                  <a:cubicBezTo>
                    <a:pt x="140" y="45"/>
                    <a:pt x="129" y="34"/>
                    <a:pt x="129" y="23"/>
                  </a:cubicBezTo>
                  <a:cubicBezTo>
                    <a:pt x="118" y="12"/>
                    <a:pt x="118" y="12"/>
                    <a:pt x="107" y="0"/>
                  </a:cubicBezTo>
                  <a:close/>
                </a:path>
              </a:pathLst>
            </a:custGeom>
            <a:solidFill>
              <a:srgbClr val="10B9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" name="Google Shape;210;p17">
              <a:extLst>
                <a:ext uri="{FF2B5EF4-FFF2-40B4-BE49-F238E27FC236}">
                  <a16:creationId xmlns:a16="http://schemas.microsoft.com/office/drawing/2014/main" xmlns="" id="{CABA1412-5CFE-7309-3457-00323E5FA08E}"/>
                </a:ext>
              </a:extLst>
            </p:cNvPr>
            <p:cNvSpPr/>
            <p:nvPr/>
          </p:nvSpPr>
          <p:spPr>
            <a:xfrm>
              <a:off x="2808257" y="2848299"/>
              <a:ext cx="43343" cy="78158"/>
            </a:xfrm>
            <a:custGeom>
              <a:avLst/>
              <a:gdLst/>
              <a:ahLst/>
              <a:cxnLst/>
              <a:rect l="l" t="t" r="r" b="b"/>
              <a:pathLst>
                <a:path w="188" h="339" extrusionOk="0">
                  <a:moveTo>
                    <a:pt x="118" y="48"/>
                  </a:moveTo>
                  <a:lnTo>
                    <a:pt x="129" y="59"/>
                  </a:lnTo>
                  <a:cubicBezTo>
                    <a:pt x="140" y="70"/>
                    <a:pt x="140" y="84"/>
                    <a:pt x="140" y="84"/>
                  </a:cubicBezTo>
                  <a:lnTo>
                    <a:pt x="140" y="95"/>
                  </a:lnTo>
                  <a:cubicBezTo>
                    <a:pt x="129" y="129"/>
                    <a:pt x="118" y="165"/>
                    <a:pt x="93" y="188"/>
                  </a:cubicBezTo>
                  <a:cubicBezTo>
                    <a:pt x="81" y="199"/>
                    <a:pt x="70" y="210"/>
                    <a:pt x="70" y="224"/>
                  </a:cubicBezTo>
                  <a:cubicBezTo>
                    <a:pt x="59" y="246"/>
                    <a:pt x="59" y="258"/>
                    <a:pt x="48" y="269"/>
                  </a:cubicBezTo>
                  <a:cubicBezTo>
                    <a:pt x="48" y="246"/>
                    <a:pt x="59" y="224"/>
                    <a:pt x="59" y="188"/>
                  </a:cubicBezTo>
                  <a:cubicBezTo>
                    <a:pt x="59" y="165"/>
                    <a:pt x="70" y="154"/>
                    <a:pt x="70" y="140"/>
                  </a:cubicBezTo>
                  <a:cubicBezTo>
                    <a:pt x="81" y="129"/>
                    <a:pt x="93" y="118"/>
                    <a:pt x="107" y="107"/>
                  </a:cubicBezTo>
                  <a:cubicBezTo>
                    <a:pt x="118" y="84"/>
                    <a:pt x="107" y="70"/>
                    <a:pt x="118" y="59"/>
                  </a:cubicBezTo>
                  <a:lnTo>
                    <a:pt x="118" y="48"/>
                  </a:lnTo>
                  <a:close/>
                  <a:moveTo>
                    <a:pt x="107" y="0"/>
                  </a:moveTo>
                  <a:cubicBezTo>
                    <a:pt x="93" y="0"/>
                    <a:pt x="81" y="14"/>
                    <a:pt x="70" y="25"/>
                  </a:cubicBezTo>
                  <a:lnTo>
                    <a:pt x="70" y="48"/>
                  </a:lnTo>
                  <a:cubicBezTo>
                    <a:pt x="59" y="70"/>
                    <a:pt x="59" y="84"/>
                    <a:pt x="59" y="84"/>
                  </a:cubicBezTo>
                  <a:cubicBezTo>
                    <a:pt x="59" y="84"/>
                    <a:pt x="48" y="95"/>
                    <a:pt x="37" y="107"/>
                  </a:cubicBezTo>
                  <a:cubicBezTo>
                    <a:pt x="23" y="129"/>
                    <a:pt x="11" y="165"/>
                    <a:pt x="11" y="188"/>
                  </a:cubicBezTo>
                  <a:cubicBezTo>
                    <a:pt x="11" y="210"/>
                    <a:pt x="0" y="235"/>
                    <a:pt x="0" y="269"/>
                  </a:cubicBezTo>
                  <a:lnTo>
                    <a:pt x="0" y="280"/>
                  </a:lnTo>
                  <a:cubicBezTo>
                    <a:pt x="0" y="294"/>
                    <a:pt x="0" y="316"/>
                    <a:pt x="11" y="327"/>
                  </a:cubicBezTo>
                  <a:lnTo>
                    <a:pt x="23" y="339"/>
                  </a:lnTo>
                  <a:lnTo>
                    <a:pt x="48" y="339"/>
                  </a:lnTo>
                  <a:cubicBezTo>
                    <a:pt x="70" y="327"/>
                    <a:pt x="70" y="327"/>
                    <a:pt x="81" y="316"/>
                  </a:cubicBezTo>
                  <a:cubicBezTo>
                    <a:pt x="81" y="305"/>
                    <a:pt x="93" y="294"/>
                    <a:pt x="93" y="280"/>
                  </a:cubicBezTo>
                  <a:cubicBezTo>
                    <a:pt x="107" y="269"/>
                    <a:pt x="107" y="258"/>
                    <a:pt x="107" y="246"/>
                  </a:cubicBezTo>
                  <a:cubicBezTo>
                    <a:pt x="118" y="235"/>
                    <a:pt x="118" y="224"/>
                    <a:pt x="129" y="210"/>
                  </a:cubicBezTo>
                  <a:cubicBezTo>
                    <a:pt x="151" y="188"/>
                    <a:pt x="176" y="154"/>
                    <a:pt x="188" y="118"/>
                  </a:cubicBezTo>
                  <a:lnTo>
                    <a:pt x="188" y="84"/>
                  </a:lnTo>
                  <a:lnTo>
                    <a:pt x="188" y="70"/>
                  </a:lnTo>
                  <a:cubicBezTo>
                    <a:pt x="188" y="59"/>
                    <a:pt x="176" y="48"/>
                    <a:pt x="162" y="37"/>
                  </a:cubicBezTo>
                  <a:cubicBezTo>
                    <a:pt x="162" y="25"/>
                    <a:pt x="151" y="25"/>
                    <a:pt x="151" y="14"/>
                  </a:cubicBezTo>
                  <a:cubicBezTo>
                    <a:pt x="140" y="0"/>
                    <a:pt x="129" y="0"/>
                    <a:pt x="11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211;p17">
              <a:extLst>
                <a:ext uri="{FF2B5EF4-FFF2-40B4-BE49-F238E27FC236}">
                  <a16:creationId xmlns:a16="http://schemas.microsoft.com/office/drawing/2014/main" xmlns="" id="{D177DDDD-6411-140B-9A0B-1F13BBE7BD0A}"/>
                </a:ext>
              </a:extLst>
            </p:cNvPr>
            <p:cNvSpPr/>
            <p:nvPr/>
          </p:nvSpPr>
          <p:spPr>
            <a:xfrm>
              <a:off x="2888719" y="2891412"/>
              <a:ext cx="69857" cy="97064"/>
            </a:xfrm>
            <a:custGeom>
              <a:avLst/>
              <a:gdLst/>
              <a:ahLst/>
              <a:cxnLst/>
              <a:rect l="l" t="t" r="r" b="b"/>
              <a:pathLst>
                <a:path w="303" h="421" extrusionOk="0">
                  <a:moveTo>
                    <a:pt x="199" y="1"/>
                  </a:moveTo>
                  <a:cubicBezTo>
                    <a:pt x="163" y="1"/>
                    <a:pt x="129" y="12"/>
                    <a:pt x="107" y="48"/>
                  </a:cubicBezTo>
                  <a:cubicBezTo>
                    <a:pt x="93" y="59"/>
                    <a:pt x="82" y="59"/>
                    <a:pt x="82" y="71"/>
                  </a:cubicBezTo>
                  <a:cubicBezTo>
                    <a:pt x="71" y="93"/>
                    <a:pt x="48" y="107"/>
                    <a:pt x="37" y="129"/>
                  </a:cubicBezTo>
                  <a:cubicBezTo>
                    <a:pt x="12" y="140"/>
                    <a:pt x="1" y="163"/>
                    <a:pt x="1" y="188"/>
                  </a:cubicBezTo>
                  <a:lnTo>
                    <a:pt x="1" y="269"/>
                  </a:lnTo>
                  <a:cubicBezTo>
                    <a:pt x="1" y="291"/>
                    <a:pt x="12" y="291"/>
                    <a:pt x="37" y="291"/>
                  </a:cubicBezTo>
                  <a:lnTo>
                    <a:pt x="37" y="317"/>
                  </a:lnTo>
                  <a:cubicBezTo>
                    <a:pt x="37" y="328"/>
                    <a:pt x="23" y="339"/>
                    <a:pt x="23" y="339"/>
                  </a:cubicBezTo>
                  <a:cubicBezTo>
                    <a:pt x="12" y="361"/>
                    <a:pt x="12" y="387"/>
                    <a:pt x="12" y="398"/>
                  </a:cubicBezTo>
                  <a:lnTo>
                    <a:pt x="12" y="409"/>
                  </a:lnTo>
                  <a:cubicBezTo>
                    <a:pt x="23" y="420"/>
                    <a:pt x="37" y="420"/>
                    <a:pt x="37" y="420"/>
                  </a:cubicBezTo>
                  <a:cubicBezTo>
                    <a:pt x="60" y="420"/>
                    <a:pt x="71" y="409"/>
                    <a:pt x="82" y="398"/>
                  </a:cubicBezTo>
                  <a:cubicBezTo>
                    <a:pt x="93" y="387"/>
                    <a:pt x="93" y="387"/>
                    <a:pt x="107" y="373"/>
                  </a:cubicBezTo>
                  <a:cubicBezTo>
                    <a:pt x="129" y="350"/>
                    <a:pt x="141" y="317"/>
                    <a:pt x="152" y="303"/>
                  </a:cubicBezTo>
                  <a:cubicBezTo>
                    <a:pt x="163" y="291"/>
                    <a:pt x="163" y="291"/>
                    <a:pt x="177" y="280"/>
                  </a:cubicBezTo>
                  <a:cubicBezTo>
                    <a:pt x="211" y="258"/>
                    <a:pt x="247" y="210"/>
                    <a:pt x="269" y="163"/>
                  </a:cubicBezTo>
                  <a:cubicBezTo>
                    <a:pt x="292" y="129"/>
                    <a:pt x="303" y="93"/>
                    <a:pt x="280" y="59"/>
                  </a:cubicBezTo>
                  <a:cubicBezTo>
                    <a:pt x="269" y="23"/>
                    <a:pt x="233" y="1"/>
                    <a:pt x="19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4" name="Google Shape;212;p17">
              <a:extLst>
                <a:ext uri="{FF2B5EF4-FFF2-40B4-BE49-F238E27FC236}">
                  <a16:creationId xmlns:a16="http://schemas.microsoft.com/office/drawing/2014/main" xmlns="" id="{CAEBBD61-BFC1-EB3A-EA0B-6A8D16255175}"/>
                </a:ext>
              </a:extLst>
            </p:cNvPr>
            <p:cNvSpPr/>
            <p:nvPr/>
          </p:nvSpPr>
          <p:spPr>
            <a:xfrm>
              <a:off x="2883647" y="2886340"/>
              <a:ext cx="78156" cy="107208"/>
            </a:xfrm>
            <a:custGeom>
              <a:avLst/>
              <a:gdLst/>
              <a:ahLst/>
              <a:cxnLst/>
              <a:rect l="l" t="t" r="r" b="b"/>
              <a:pathLst>
                <a:path w="339" h="465" extrusionOk="0">
                  <a:moveTo>
                    <a:pt x="221" y="45"/>
                  </a:moveTo>
                  <a:cubicBezTo>
                    <a:pt x="233" y="45"/>
                    <a:pt x="244" y="59"/>
                    <a:pt x="255" y="59"/>
                  </a:cubicBezTo>
                  <a:cubicBezTo>
                    <a:pt x="269" y="70"/>
                    <a:pt x="280" y="81"/>
                    <a:pt x="291" y="93"/>
                  </a:cubicBezTo>
                  <a:lnTo>
                    <a:pt x="291" y="115"/>
                  </a:lnTo>
                  <a:cubicBezTo>
                    <a:pt x="291" y="129"/>
                    <a:pt x="280" y="151"/>
                    <a:pt x="269" y="174"/>
                  </a:cubicBezTo>
                  <a:cubicBezTo>
                    <a:pt x="255" y="221"/>
                    <a:pt x="221" y="255"/>
                    <a:pt x="185" y="291"/>
                  </a:cubicBezTo>
                  <a:cubicBezTo>
                    <a:pt x="174" y="291"/>
                    <a:pt x="174" y="302"/>
                    <a:pt x="163" y="302"/>
                  </a:cubicBezTo>
                  <a:cubicBezTo>
                    <a:pt x="151" y="313"/>
                    <a:pt x="140" y="325"/>
                    <a:pt x="129" y="350"/>
                  </a:cubicBezTo>
                  <a:cubicBezTo>
                    <a:pt x="129" y="361"/>
                    <a:pt x="115" y="372"/>
                    <a:pt x="104" y="372"/>
                  </a:cubicBezTo>
                  <a:cubicBezTo>
                    <a:pt x="104" y="383"/>
                    <a:pt x="93" y="395"/>
                    <a:pt x="93" y="395"/>
                  </a:cubicBezTo>
                  <a:cubicBezTo>
                    <a:pt x="70" y="409"/>
                    <a:pt x="70" y="420"/>
                    <a:pt x="59" y="420"/>
                  </a:cubicBezTo>
                  <a:lnTo>
                    <a:pt x="59" y="395"/>
                  </a:lnTo>
                  <a:lnTo>
                    <a:pt x="59" y="372"/>
                  </a:lnTo>
                  <a:cubicBezTo>
                    <a:pt x="70" y="372"/>
                    <a:pt x="70" y="361"/>
                    <a:pt x="82" y="350"/>
                  </a:cubicBezTo>
                  <a:lnTo>
                    <a:pt x="82" y="325"/>
                  </a:lnTo>
                  <a:lnTo>
                    <a:pt x="82" y="302"/>
                  </a:lnTo>
                  <a:lnTo>
                    <a:pt x="59" y="302"/>
                  </a:lnTo>
                  <a:cubicBezTo>
                    <a:pt x="45" y="291"/>
                    <a:pt x="45" y="291"/>
                    <a:pt x="34" y="291"/>
                  </a:cubicBezTo>
                  <a:lnTo>
                    <a:pt x="45" y="291"/>
                  </a:lnTo>
                  <a:lnTo>
                    <a:pt x="45" y="269"/>
                  </a:lnTo>
                  <a:lnTo>
                    <a:pt x="45" y="210"/>
                  </a:lnTo>
                  <a:cubicBezTo>
                    <a:pt x="45" y="199"/>
                    <a:pt x="59" y="174"/>
                    <a:pt x="70" y="162"/>
                  </a:cubicBezTo>
                  <a:cubicBezTo>
                    <a:pt x="93" y="151"/>
                    <a:pt x="104" y="129"/>
                    <a:pt x="115" y="115"/>
                  </a:cubicBezTo>
                  <a:cubicBezTo>
                    <a:pt x="129" y="104"/>
                    <a:pt x="140" y="93"/>
                    <a:pt x="140" y="81"/>
                  </a:cubicBezTo>
                  <a:cubicBezTo>
                    <a:pt x="163" y="59"/>
                    <a:pt x="185" y="45"/>
                    <a:pt x="221" y="45"/>
                  </a:cubicBezTo>
                  <a:close/>
                  <a:moveTo>
                    <a:pt x="221" y="0"/>
                  </a:moveTo>
                  <a:cubicBezTo>
                    <a:pt x="174" y="0"/>
                    <a:pt x="140" y="23"/>
                    <a:pt x="104" y="45"/>
                  </a:cubicBezTo>
                  <a:cubicBezTo>
                    <a:pt x="93" y="59"/>
                    <a:pt x="93" y="70"/>
                    <a:pt x="82" y="81"/>
                  </a:cubicBezTo>
                  <a:cubicBezTo>
                    <a:pt x="70" y="93"/>
                    <a:pt x="59" y="115"/>
                    <a:pt x="34" y="129"/>
                  </a:cubicBezTo>
                  <a:cubicBezTo>
                    <a:pt x="23" y="151"/>
                    <a:pt x="0" y="174"/>
                    <a:pt x="0" y="210"/>
                  </a:cubicBezTo>
                  <a:lnTo>
                    <a:pt x="0" y="269"/>
                  </a:lnTo>
                  <a:lnTo>
                    <a:pt x="0" y="291"/>
                  </a:lnTo>
                  <a:lnTo>
                    <a:pt x="0" y="313"/>
                  </a:lnTo>
                  <a:lnTo>
                    <a:pt x="12" y="325"/>
                  </a:lnTo>
                  <a:cubicBezTo>
                    <a:pt x="21" y="331"/>
                    <a:pt x="27" y="334"/>
                    <a:pt x="31" y="336"/>
                  </a:cubicBezTo>
                  <a:lnTo>
                    <a:pt x="31" y="336"/>
                  </a:lnTo>
                  <a:cubicBezTo>
                    <a:pt x="27" y="342"/>
                    <a:pt x="23" y="347"/>
                    <a:pt x="23" y="361"/>
                  </a:cubicBezTo>
                  <a:cubicBezTo>
                    <a:pt x="12" y="372"/>
                    <a:pt x="12" y="383"/>
                    <a:pt x="12" y="395"/>
                  </a:cubicBezTo>
                  <a:lnTo>
                    <a:pt x="12" y="420"/>
                  </a:lnTo>
                  <a:lnTo>
                    <a:pt x="12" y="431"/>
                  </a:lnTo>
                  <a:lnTo>
                    <a:pt x="12" y="442"/>
                  </a:lnTo>
                  <a:lnTo>
                    <a:pt x="23" y="442"/>
                  </a:lnTo>
                  <a:cubicBezTo>
                    <a:pt x="23" y="453"/>
                    <a:pt x="34" y="453"/>
                    <a:pt x="34" y="453"/>
                  </a:cubicBezTo>
                  <a:cubicBezTo>
                    <a:pt x="45" y="464"/>
                    <a:pt x="45" y="464"/>
                    <a:pt x="59" y="464"/>
                  </a:cubicBezTo>
                  <a:cubicBezTo>
                    <a:pt x="93" y="453"/>
                    <a:pt x="104" y="442"/>
                    <a:pt x="115" y="431"/>
                  </a:cubicBezTo>
                  <a:cubicBezTo>
                    <a:pt x="129" y="431"/>
                    <a:pt x="140" y="420"/>
                    <a:pt x="140" y="409"/>
                  </a:cubicBezTo>
                  <a:cubicBezTo>
                    <a:pt x="151" y="395"/>
                    <a:pt x="163" y="383"/>
                    <a:pt x="174" y="372"/>
                  </a:cubicBezTo>
                  <a:cubicBezTo>
                    <a:pt x="185" y="361"/>
                    <a:pt x="185" y="350"/>
                    <a:pt x="199" y="339"/>
                  </a:cubicBezTo>
                  <a:lnTo>
                    <a:pt x="210" y="325"/>
                  </a:lnTo>
                  <a:cubicBezTo>
                    <a:pt x="255" y="291"/>
                    <a:pt x="291" y="244"/>
                    <a:pt x="314" y="199"/>
                  </a:cubicBezTo>
                  <a:cubicBezTo>
                    <a:pt x="325" y="174"/>
                    <a:pt x="339" y="140"/>
                    <a:pt x="339" y="115"/>
                  </a:cubicBezTo>
                  <a:cubicBezTo>
                    <a:pt x="339" y="93"/>
                    <a:pt x="339" y="81"/>
                    <a:pt x="325" y="70"/>
                  </a:cubicBezTo>
                  <a:cubicBezTo>
                    <a:pt x="314" y="45"/>
                    <a:pt x="302" y="34"/>
                    <a:pt x="291" y="23"/>
                  </a:cubicBezTo>
                  <a:cubicBezTo>
                    <a:pt x="269" y="11"/>
                    <a:pt x="244" y="0"/>
                    <a:pt x="23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5" name="Google Shape;213;p17">
              <a:extLst>
                <a:ext uri="{FF2B5EF4-FFF2-40B4-BE49-F238E27FC236}">
                  <a16:creationId xmlns:a16="http://schemas.microsoft.com/office/drawing/2014/main" xmlns="" id="{440B9C04-DC31-6A48-F586-E21A39B8F839}"/>
                </a:ext>
              </a:extLst>
            </p:cNvPr>
            <p:cNvSpPr/>
            <p:nvPr/>
          </p:nvSpPr>
          <p:spPr>
            <a:xfrm>
              <a:off x="2926069" y="3001617"/>
              <a:ext cx="59712" cy="104672"/>
            </a:xfrm>
            <a:custGeom>
              <a:avLst/>
              <a:gdLst/>
              <a:ahLst/>
              <a:cxnLst/>
              <a:rect l="l" t="t" r="r" b="b"/>
              <a:pathLst>
                <a:path w="259" h="454" extrusionOk="0">
                  <a:moveTo>
                    <a:pt x="118" y="1"/>
                  </a:moveTo>
                  <a:cubicBezTo>
                    <a:pt x="85" y="23"/>
                    <a:pt x="71" y="60"/>
                    <a:pt x="49" y="82"/>
                  </a:cubicBezTo>
                  <a:cubicBezTo>
                    <a:pt x="37" y="93"/>
                    <a:pt x="26" y="104"/>
                    <a:pt x="15" y="129"/>
                  </a:cubicBezTo>
                  <a:cubicBezTo>
                    <a:pt x="15" y="141"/>
                    <a:pt x="1" y="163"/>
                    <a:pt x="15" y="174"/>
                  </a:cubicBezTo>
                  <a:cubicBezTo>
                    <a:pt x="26" y="199"/>
                    <a:pt x="49" y="199"/>
                    <a:pt x="60" y="222"/>
                  </a:cubicBezTo>
                  <a:cubicBezTo>
                    <a:pt x="71" y="233"/>
                    <a:pt x="71" y="258"/>
                    <a:pt x="60" y="280"/>
                  </a:cubicBezTo>
                  <a:cubicBezTo>
                    <a:pt x="60" y="303"/>
                    <a:pt x="49" y="328"/>
                    <a:pt x="37" y="339"/>
                  </a:cubicBezTo>
                  <a:cubicBezTo>
                    <a:pt x="26" y="350"/>
                    <a:pt x="26" y="362"/>
                    <a:pt x="15" y="362"/>
                  </a:cubicBezTo>
                  <a:cubicBezTo>
                    <a:pt x="1" y="384"/>
                    <a:pt x="1" y="420"/>
                    <a:pt x="15" y="443"/>
                  </a:cubicBezTo>
                  <a:lnTo>
                    <a:pt x="26" y="443"/>
                  </a:lnTo>
                  <a:lnTo>
                    <a:pt x="26" y="454"/>
                  </a:lnTo>
                  <a:cubicBezTo>
                    <a:pt x="60" y="454"/>
                    <a:pt x="96" y="431"/>
                    <a:pt x="130" y="409"/>
                  </a:cubicBezTo>
                  <a:cubicBezTo>
                    <a:pt x="155" y="384"/>
                    <a:pt x="177" y="362"/>
                    <a:pt x="188" y="328"/>
                  </a:cubicBezTo>
                  <a:cubicBezTo>
                    <a:pt x="200" y="314"/>
                    <a:pt x="211" y="303"/>
                    <a:pt x="211" y="292"/>
                  </a:cubicBezTo>
                  <a:cubicBezTo>
                    <a:pt x="225" y="280"/>
                    <a:pt x="236" y="269"/>
                    <a:pt x="247" y="258"/>
                  </a:cubicBezTo>
                  <a:cubicBezTo>
                    <a:pt x="258" y="244"/>
                    <a:pt x="258" y="222"/>
                    <a:pt x="258" y="199"/>
                  </a:cubicBezTo>
                  <a:cubicBezTo>
                    <a:pt x="247" y="174"/>
                    <a:pt x="236" y="152"/>
                    <a:pt x="211" y="141"/>
                  </a:cubicBezTo>
                  <a:cubicBezTo>
                    <a:pt x="200" y="141"/>
                    <a:pt x="188" y="141"/>
                    <a:pt x="177" y="129"/>
                  </a:cubicBezTo>
                  <a:cubicBezTo>
                    <a:pt x="166" y="129"/>
                    <a:pt x="155" y="118"/>
                    <a:pt x="155" y="104"/>
                  </a:cubicBezTo>
                  <a:cubicBezTo>
                    <a:pt x="141" y="93"/>
                    <a:pt x="155" y="82"/>
                    <a:pt x="155" y="71"/>
                  </a:cubicBezTo>
                  <a:cubicBezTo>
                    <a:pt x="155" y="60"/>
                    <a:pt x="166" y="48"/>
                    <a:pt x="166" y="34"/>
                  </a:cubicBezTo>
                  <a:cubicBezTo>
                    <a:pt x="166" y="23"/>
                    <a:pt x="155" y="12"/>
                    <a:pt x="14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214;p17">
              <a:extLst>
                <a:ext uri="{FF2B5EF4-FFF2-40B4-BE49-F238E27FC236}">
                  <a16:creationId xmlns:a16="http://schemas.microsoft.com/office/drawing/2014/main" xmlns="" id="{75140618-7D13-39A5-1E76-7E90D6AB66D5}"/>
                </a:ext>
              </a:extLst>
            </p:cNvPr>
            <p:cNvSpPr/>
            <p:nvPr/>
          </p:nvSpPr>
          <p:spPr>
            <a:xfrm>
              <a:off x="2920997" y="2996545"/>
              <a:ext cx="69857" cy="115508"/>
            </a:xfrm>
            <a:custGeom>
              <a:avLst/>
              <a:gdLst/>
              <a:ahLst/>
              <a:cxnLst/>
              <a:rect l="l" t="t" r="r" b="b"/>
              <a:pathLst>
                <a:path w="303" h="501" extrusionOk="0">
                  <a:moveTo>
                    <a:pt x="152" y="45"/>
                  </a:moveTo>
                  <a:lnTo>
                    <a:pt x="163" y="56"/>
                  </a:lnTo>
                  <a:cubicBezTo>
                    <a:pt x="163" y="56"/>
                    <a:pt x="152" y="70"/>
                    <a:pt x="152" y="82"/>
                  </a:cubicBezTo>
                  <a:lnTo>
                    <a:pt x="152" y="115"/>
                  </a:lnTo>
                  <a:lnTo>
                    <a:pt x="152" y="126"/>
                  </a:lnTo>
                  <a:cubicBezTo>
                    <a:pt x="163" y="151"/>
                    <a:pt x="177" y="163"/>
                    <a:pt x="188" y="174"/>
                  </a:cubicBezTo>
                  <a:cubicBezTo>
                    <a:pt x="210" y="174"/>
                    <a:pt x="222" y="185"/>
                    <a:pt x="222" y="185"/>
                  </a:cubicBezTo>
                  <a:cubicBezTo>
                    <a:pt x="247" y="196"/>
                    <a:pt x="258" y="210"/>
                    <a:pt x="258" y="221"/>
                  </a:cubicBezTo>
                  <a:lnTo>
                    <a:pt x="258" y="233"/>
                  </a:lnTo>
                  <a:cubicBezTo>
                    <a:pt x="258" y="244"/>
                    <a:pt x="258" y="255"/>
                    <a:pt x="247" y="266"/>
                  </a:cubicBezTo>
                  <a:cubicBezTo>
                    <a:pt x="247" y="280"/>
                    <a:pt x="233" y="291"/>
                    <a:pt x="222" y="302"/>
                  </a:cubicBezTo>
                  <a:cubicBezTo>
                    <a:pt x="210" y="314"/>
                    <a:pt x="199" y="325"/>
                    <a:pt x="199" y="336"/>
                  </a:cubicBezTo>
                  <a:cubicBezTo>
                    <a:pt x="177" y="361"/>
                    <a:pt x="152" y="395"/>
                    <a:pt x="129" y="420"/>
                  </a:cubicBezTo>
                  <a:cubicBezTo>
                    <a:pt x="109" y="430"/>
                    <a:pt x="87" y="448"/>
                    <a:pt x="59" y="453"/>
                  </a:cubicBezTo>
                  <a:lnTo>
                    <a:pt x="59" y="453"/>
                  </a:lnTo>
                  <a:cubicBezTo>
                    <a:pt x="59" y="442"/>
                    <a:pt x="48" y="442"/>
                    <a:pt x="48" y="431"/>
                  </a:cubicBezTo>
                  <a:cubicBezTo>
                    <a:pt x="48" y="420"/>
                    <a:pt x="59" y="406"/>
                    <a:pt x="59" y="395"/>
                  </a:cubicBezTo>
                  <a:lnTo>
                    <a:pt x="82" y="372"/>
                  </a:lnTo>
                  <a:cubicBezTo>
                    <a:pt x="93" y="350"/>
                    <a:pt x="107" y="325"/>
                    <a:pt x="107" y="302"/>
                  </a:cubicBezTo>
                  <a:cubicBezTo>
                    <a:pt x="107" y="291"/>
                    <a:pt x="118" y="280"/>
                    <a:pt x="118" y="266"/>
                  </a:cubicBezTo>
                  <a:cubicBezTo>
                    <a:pt x="118" y="255"/>
                    <a:pt x="118" y="244"/>
                    <a:pt x="107" y="233"/>
                  </a:cubicBezTo>
                  <a:cubicBezTo>
                    <a:pt x="93" y="221"/>
                    <a:pt x="82" y="210"/>
                    <a:pt x="71" y="196"/>
                  </a:cubicBezTo>
                  <a:lnTo>
                    <a:pt x="59" y="185"/>
                  </a:lnTo>
                  <a:lnTo>
                    <a:pt x="59" y="174"/>
                  </a:lnTo>
                  <a:lnTo>
                    <a:pt x="59" y="163"/>
                  </a:lnTo>
                  <a:cubicBezTo>
                    <a:pt x="71" y="151"/>
                    <a:pt x="82" y="140"/>
                    <a:pt x="93" y="115"/>
                  </a:cubicBezTo>
                  <a:cubicBezTo>
                    <a:pt x="107" y="104"/>
                    <a:pt x="118" y="93"/>
                    <a:pt x="118" y="70"/>
                  </a:cubicBezTo>
                  <a:cubicBezTo>
                    <a:pt x="129" y="56"/>
                    <a:pt x="140" y="56"/>
                    <a:pt x="152" y="45"/>
                  </a:cubicBezTo>
                  <a:close/>
                  <a:moveTo>
                    <a:pt x="152" y="0"/>
                  </a:moveTo>
                  <a:cubicBezTo>
                    <a:pt x="152" y="0"/>
                    <a:pt x="140" y="0"/>
                    <a:pt x="129" y="12"/>
                  </a:cubicBezTo>
                  <a:cubicBezTo>
                    <a:pt x="107" y="12"/>
                    <a:pt x="93" y="34"/>
                    <a:pt x="82" y="45"/>
                  </a:cubicBezTo>
                  <a:cubicBezTo>
                    <a:pt x="71" y="56"/>
                    <a:pt x="59" y="82"/>
                    <a:pt x="59" y="93"/>
                  </a:cubicBezTo>
                  <a:cubicBezTo>
                    <a:pt x="48" y="104"/>
                    <a:pt x="37" y="115"/>
                    <a:pt x="23" y="140"/>
                  </a:cubicBezTo>
                  <a:cubicBezTo>
                    <a:pt x="12" y="151"/>
                    <a:pt x="12" y="163"/>
                    <a:pt x="12" y="174"/>
                  </a:cubicBezTo>
                  <a:lnTo>
                    <a:pt x="12" y="210"/>
                  </a:lnTo>
                  <a:cubicBezTo>
                    <a:pt x="23" y="233"/>
                    <a:pt x="37" y="233"/>
                    <a:pt x="48" y="244"/>
                  </a:cubicBezTo>
                  <a:cubicBezTo>
                    <a:pt x="59" y="244"/>
                    <a:pt x="59" y="255"/>
                    <a:pt x="71" y="255"/>
                  </a:cubicBezTo>
                  <a:lnTo>
                    <a:pt x="71" y="266"/>
                  </a:lnTo>
                  <a:cubicBezTo>
                    <a:pt x="71" y="266"/>
                    <a:pt x="71" y="280"/>
                    <a:pt x="59" y="291"/>
                  </a:cubicBezTo>
                  <a:cubicBezTo>
                    <a:pt x="59" y="314"/>
                    <a:pt x="48" y="336"/>
                    <a:pt x="37" y="350"/>
                  </a:cubicBezTo>
                  <a:cubicBezTo>
                    <a:pt x="37" y="361"/>
                    <a:pt x="23" y="361"/>
                    <a:pt x="23" y="372"/>
                  </a:cubicBezTo>
                  <a:cubicBezTo>
                    <a:pt x="12" y="395"/>
                    <a:pt x="1" y="406"/>
                    <a:pt x="1" y="431"/>
                  </a:cubicBezTo>
                  <a:cubicBezTo>
                    <a:pt x="1" y="442"/>
                    <a:pt x="12" y="465"/>
                    <a:pt x="12" y="476"/>
                  </a:cubicBezTo>
                  <a:lnTo>
                    <a:pt x="23" y="476"/>
                  </a:lnTo>
                  <a:lnTo>
                    <a:pt x="23" y="490"/>
                  </a:lnTo>
                  <a:lnTo>
                    <a:pt x="37" y="490"/>
                  </a:lnTo>
                  <a:lnTo>
                    <a:pt x="48" y="501"/>
                  </a:lnTo>
                  <a:cubicBezTo>
                    <a:pt x="93" y="501"/>
                    <a:pt x="129" y="476"/>
                    <a:pt x="163" y="453"/>
                  </a:cubicBezTo>
                  <a:cubicBezTo>
                    <a:pt x="199" y="420"/>
                    <a:pt x="210" y="395"/>
                    <a:pt x="233" y="361"/>
                  </a:cubicBezTo>
                  <a:cubicBezTo>
                    <a:pt x="247" y="350"/>
                    <a:pt x="247" y="336"/>
                    <a:pt x="258" y="325"/>
                  </a:cubicBezTo>
                  <a:cubicBezTo>
                    <a:pt x="269" y="325"/>
                    <a:pt x="269" y="314"/>
                    <a:pt x="280" y="302"/>
                  </a:cubicBezTo>
                  <a:cubicBezTo>
                    <a:pt x="303" y="280"/>
                    <a:pt x="303" y="255"/>
                    <a:pt x="303" y="233"/>
                  </a:cubicBezTo>
                  <a:lnTo>
                    <a:pt x="303" y="210"/>
                  </a:lnTo>
                  <a:cubicBezTo>
                    <a:pt x="291" y="185"/>
                    <a:pt x="280" y="163"/>
                    <a:pt x="247" y="151"/>
                  </a:cubicBezTo>
                  <a:cubicBezTo>
                    <a:pt x="233" y="140"/>
                    <a:pt x="222" y="140"/>
                    <a:pt x="210" y="126"/>
                  </a:cubicBezTo>
                  <a:cubicBezTo>
                    <a:pt x="199" y="126"/>
                    <a:pt x="199" y="115"/>
                    <a:pt x="199" y="115"/>
                  </a:cubicBezTo>
                  <a:lnTo>
                    <a:pt x="199" y="93"/>
                  </a:lnTo>
                  <a:cubicBezTo>
                    <a:pt x="199" y="82"/>
                    <a:pt x="210" y="70"/>
                    <a:pt x="210" y="56"/>
                  </a:cubicBezTo>
                  <a:cubicBezTo>
                    <a:pt x="210" y="45"/>
                    <a:pt x="199" y="34"/>
                    <a:pt x="199" y="23"/>
                  </a:cubicBezTo>
                  <a:cubicBezTo>
                    <a:pt x="188" y="12"/>
                    <a:pt x="188" y="12"/>
                    <a:pt x="17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" name="Google Shape;215;p17">
              <a:extLst>
                <a:ext uri="{FF2B5EF4-FFF2-40B4-BE49-F238E27FC236}">
                  <a16:creationId xmlns:a16="http://schemas.microsoft.com/office/drawing/2014/main" xmlns="" id="{A564A5FC-5E5A-FBD9-9CD0-CFAAD329FDFF}"/>
                </a:ext>
              </a:extLst>
            </p:cNvPr>
            <p:cNvSpPr/>
            <p:nvPr/>
          </p:nvSpPr>
          <p:spPr>
            <a:xfrm>
              <a:off x="3052641" y="2917465"/>
              <a:ext cx="43343" cy="25130"/>
            </a:xfrm>
            <a:custGeom>
              <a:avLst/>
              <a:gdLst/>
              <a:ahLst/>
              <a:cxnLst/>
              <a:rect l="l" t="t" r="r" b="b"/>
              <a:pathLst>
                <a:path w="188" h="109" extrusionOk="0">
                  <a:moveTo>
                    <a:pt x="130" y="0"/>
                  </a:moveTo>
                  <a:cubicBezTo>
                    <a:pt x="122" y="0"/>
                    <a:pt x="114" y="8"/>
                    <a:pt x="106" y="16"/>
                  </a:cubicBezTo>
                  <a:lnTo>
                    <a:pt x="106" y="27"/>
                  </a:lnTo>
                  <a:cubicBezTo>
                    <a:pt x="106" y="39"/>
                    <a:pt x="95" y="39"/>
                    <a:pt x="81" y="50"/>
                  </a:cubicBezTo>
                  <a:lnTo>
                    <a:pt x="25" y="50"/>
                  </a:lnTo>
                  <a:cubicBezTo>
                    <a:pt x="11" y="64"/>
                    <a:pt x="0" y="75"/>
                    <a:pt x="11" y="86"/>
                  </a:cubicBezTo>
                  <a:cubicBezTo>
                    <a:pt x="11" y="97"/>
                    <a:pt x="25" y="97"/>
                    <a:pt x="25" y="109"/>
                  </a:cubicBezTo>
                  <a:lnTo>
                    <a:pt x="59" y="109"/>
                  </a:lnTo>
                  <a:cubicBezTo>
                    <a:pt x="81" y="97"/>
                    <a:pt x="106" y="97"/>
                    <a:pt x="117" y="97"/>
                  </a:cubicBezTo>
                  <a:cubicBezTo>
                    <a:pt x="129" y="97"/>
                    <a:pt x="140" y="109"/>
                    <a:pt x="140" y="109"/>
                  </a:cubicBezTo>
                  <a:cubicBezTo>
                    <a:pt x="165" y="97"/>
                    <a:pt x="176" y="86"/>
                    <a:pt x="176" y="75"/>
                  </a:cubicBezTo>
                  <a:cubicBezTo>
                    <a:pt x="187" y="64"/>
                    <a:pt x="187" y="39"/>
                    <a:pt x="187" y="27"/>
                  </a:cubicBezTo>
                  <a:lnTo>
                    <a:pt x="176" y="16"/>
                  </a:lnTo>
                  <a:cubicBezTo>
                    <a:pt x="165" y="5"/>
                    <a:pt x="151" y="5"/>
                    <a:pt x="140" y="5"/>
                  </a:cubicBezTo>
                  <a:cubicBezTo>
                    <a:pt x="137" y="2"/>
                    <a:pt x="133" y="0"/>
                    <a:pt x="13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8" name="Google Shape;216;p17">
              <a:extLst>
                <a:ext uri="{FF2B5EF4-FFF2-40B4-BE49-F238E27FC236}">
                  <a16:creationId xmlns:a16="http://schemas.microsoft.com/office/drawing/2014/main" xmlns="" id="{C822E3F4-D011-24CA-5882-78323B190BA3}"/>
                </a:ext>
              </a:extLst>
            </p:cNvPr>
            <p:cNvSpPr/>
            <p:nvPr/>
          </p:nvSpPr>
          <p:spPr>
            <a:xfrm>
              <a:off x="3049875" y="2912623"/>
              <a:ext cx="51182" cy="35736"/>
            </a:xfrm>
            <a:custGeom>
              <a:avLst/>
              <a:gdLst/>
              <a:ahLst/>
              <a:cxnLst/>
              <a:rect l="l" t="t" r="r" b="b"/>
              <a:pathLst>
                <a:path w="222" h="155" extrusionOk="0">
                  <a:moveTo>
                    <a:pt x="177" y="48"/>
                  </a:moveTo>
                  <a:lnTo>
                    <a:pt x="177" y="60"/>
                  </a:lnTo>
                  <a:cubicBezTo>
                    <a:pt x="177" y="71"/>
                    <a:pt x="177" y="71"/>
                    <a:pt x="163" y="85"/>
                  </a:cubicBezTo>
                  <a:lnTo>
                    <a:pt x="163" y="96"/>
                  </a:lnTo>
                  <a:lnTo>
                    <a:pt x="152" y="107"/>
                  </a:lnTo>
                  <a:cubicBezTo>
                    <a:pt x="152" y="107"/>
                    <a:pt x="152" y="96"/>
                    <a:pt x="141" y="96"/>
                  </a:cubicBezTo>
                  <a:lnTo>
                    <a:pt x="118" y="96"/>
                  </a:lnTo>
                  <a:cubicBezTo>
                    <a:pt x="93" y="96"/>
                    <a:pt x="82" y="96"/>
                    <a:pt x="71" y="107"/>
                  </a:cubicBezTo>
                  <a:lnTo>
                    <a:pt x="48" y="107"/>
                  </a:lnTo>
                  <a:lnTo>
                    <a:pt x="48" y="96"/>
                  </a:lnTo>
                  <a:lnTo>
                    <a:pt x="93" y="96"/>
                  </a:lnTo>
                  <a:cubicBezTo>
                    <a:pt x="107" y="85"/>
                    <a:pt x="107" y="85"/>
                    <a:pt x="118" y="85"/>
                  </a:cubicBezTo>
                  <a:cubicBezTo>
                    <a:pt x="129" y="71"/>
                    <a:pt x="129" y="71"/>
                    <a:pt x="141" y="60"/>
                  </a:cubicBezTo>
                  <a:lnTo>
                    <a:pt x="141" y="48"/>
                  </a:lnTo>
                  <a:close/>
                  <a:moveTo>
                    <a:pt x="118" y="1"/>
                  </a:moveTo>
                  <a:cubicBezTo>
                    <a:pt x="118" y="1"/>
                    <a:pt x="107" y="15"/>
                    <a:pt x="107" y="26"/>
                  </a:cubicBezTo>
                  <a:cubicBezTo>
                    <a:pt x="93" y="26"/>
                    <a:pt x="93" y="37"/>
                    <a:pt x="93" y="37"/>
                  </a:cubicBezTo>
                  <a:lnTo>
                    <a:pt x="82" y="48"/>
                  </a:lnTo>
                  <a:lnTo>
                    <a:pt x="60" y="48"/>
                  </a:lnTo>
                  <a:cubicBezTo>
                    <a:pt x="48" y="48"/>
                    <a:pt x="37" y="48"/>
                    <a:pt x="12" y="60"/>
                  </a:cubicBezTo>
                  <a:cubicBezTo>
                    <a:pt x="1" y="71"/>
                    <a:pt x="1" y="85"/>
                    <a:pt x="1" y="96"/>
                  </a:cubicBezTo>
                  <a:lnTo>
                    <a:pt x="1" y="107"/>
                  </a:lnTo>
                  <a:cubicBezTo>
                    <a:pt x="1" y="118"/>
                    <a:pt x="1" y="130"/>
                    <a:pt x="12" y="130"/>
                  </a:cubicBezTo>
                  <a:cubicBezTo>
                    <a:pt x="23" y="141"/>
                    <a:pt x="23" y="141"/>
                    <a:pt x="37" y="141"/>
                  </a:cubicBezTo>
                  <a:cubicBezTo>
                    <a:pt x="48" y="155"/>
                    <a:pt x="48" y="155"/>
                    <a:pt x="60" y="155"/>
                  </a:cubicBezTo>
                  <a:lnTo>
                    <a:pt x="71" y="155"/>
                  </a:lnTo>
                  <a:cubicBezTo>
                    <a:pt x="93" y="141"/>
                    <a:pt x="107" y="141"/>
                    <a:pt x="118" y="141"/>
                  </a:cubicBezTo>
                  <a:lnTo>
                    <a:pt x="129" y="141"/>
                  </a:lnTo>
                  <a:cubicBezTo>
                    <a:pt x="129" y="141"/>
                    <a:pt x="141" y="155"/>
                    <a:pt x="152" y="155"/>
                  </a:cubicBezTo>
                  <a:lnTo>
                    <a:pt x="163" y="155"/>
                  </a:lnTo>
                  <a:cubicBezTo>
                    <a:pt x="177" y="141"/>
                    <a:pt x="188" y="141"/>
                    <a:pt x="199" y="130"/>
                  </a:cubicBezTo>
                  <a:cubicBezTo>
                    <a:pt x="199" y="118"/>
                    <a:pt x="211" y="118"/>
                    <a:pt x="211" y="107"/>
                  </a:cubicBezTo>
                  <a:cubicBezTo>
                    <a:pt x="211" y="85"/>
                    <a:pt x="222" y="71"/>
                    <a:pt x="222" y="60"/>
                  </a:cubicBezTo>
                  <a:lnTo>
                    <a:pt x="222" y="48"/>
                  </a:lnTo>
                  <a:lnTo>
                    <a:pt x="211" y="37"/>
                  </a:lnTo>
                  <a:lnTo>
                    <a:pt x="211" y="26"/>
                  </a:lnTo>
                  <a:lnTo>
                    <a:pt x="199" y="15"/>
                  </a:lnTo>
                  <a:cubicBezTo>
                    <a:pt x="188" y="1"/>
                    <a:pt x="177" y="1"/>
                    <a:pt x="15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9" name="Google Shape;217;p17">
              <a:extLst>
                <a:ext uri="{FF2B5EF4-FFF2-40B4-BE49-F238E27FC236}">
                  <a16:creationId xmlns:a16="http://schemas.microsoft.com/office/drawing/2014/main" xmlns="" id="{58DBB4B5-35E8-9BE2-8609-D5BF1A938E15}"/>
                </a:ext>
              </a:extLst>
            </p:cNvPr>
            <p:cNvSpPr/>
            <p:nvPr/>
          </p:nvSpPr>
          <p:spPr>
            <a:xfrm>
              <a:off x="3093218" y="2942365"/>
              <a:ext cx="7839" cy="13833"/>
            </a:xfrm>
            <a:custGeom>
              <a:avLst/>
              <a:gdLst/>
              <a:ahLst/>
              <a:cxnLst/>
              <a:rect l="l" t="t" r="r" b="b"/>
              <a:pathLst>
                <a:path w="34" h="60" extrusionOk="0">
                  <a:moveTo>
                    <a:pt x="0" y="1"/>
                  </a:moveTo>
                  <a:lnTo>
                    <a:pt x="0" y="12"/>
                  </a:lnTo>
                  <a:lnTo>
                    <a:pt x="0" y="26"/>
                  </a:lnTo>
                  <a:lnTo>
                    <a:pt x="0" y="48"/>
                  </a:lnTo>
                  <a:cubicBezTo>
                    <a:pt x="11" y="48"/>
                    <a:pt x="11" y="59"/>
                    <a:pt x="23" y="59"/>
                  </a:cubicBezTo>
                  <a:cubicBezTo>
                    <a:pt x="23" y="59"/>
                    <a:pt x="34" y="59"/>
                    <a:pt x="34" y="48"/>
                  </a:cubicBezTo>
                  <a:lnTo>
                    <a:pt x="34" y="12"/>
                  </a:lnTo>
                  <a:lnTo>
                    <a:pt x="34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0" name="Google Shape;218;p17">
              <a:extLst>
                <a:ext uri="{FF2B5EF4-FFF2-40B4-BE49-F238E27FC236}">
                  <a16:creationId xmlns:a16="http://schemas.microsoft.com/office/drawing/2014/main" xmlns="" id="{22FC76C7-813E-DBCF-3417-74185B2E2D4E}"/>
                </a:ext>
              </a:extLst>
            </p:cNvPr>
            <p:cNvSpPr/>
            <p:nvPr/>
          </p:nvSpPr>
          <p:spPr>
            <a:xfrm>
              <a:off x="3087455" y="2937293"/>
              <a:ext cx="19366" cy="23978"/>
            </a:xfrm>
            <a:custGeom>
              <a:avLst/>
              <a:gdLst/>
              <a:ahLst/>
              <a:cxnLst/>
              <a:rect l="l" t="t" r="r" b="b"/>
              <a:pathLst>
                <a:path w="84" h="104" extrusionOk="0">
                  <a:moveTo>
                    <a:pt x="25" y="0"/>
                  </a:moveTo>
                  <a:lnTo>
                    <a:pt x="14" y="11"/>
                  </a:lnTo>
                  <a:lnTo>
                    <a:pt x="0" y="23"/>
                  </a:lnTo>
                  <a:lnTo>
                    <a:pt x="0" y="34"/>
                  </a:lnTo>
                  <a:lnTo>
                    <a:pt x="0" y="48"/>
                  </a:lnTo>
                  <a:lnTo>
                    <a:pt x="0" y="59"/>
                  </a:lnTo>
                  <a:cubicBezTo>
                    <a:pt x="0" y="70"/>
                    <a:pt x="0" y="81"/>
                    <a:pt x="14" y="81"/>
                  </a:cubicBezTo>
                  <a:cubicBezTo>
                    <a:pt x="14" y="92"/>
                    <a:pt x="25" y="92"/>
                    <a:pt x="25" y="92"/>
                  </a:cubicBezTo>
                  <a:cubicBezTo>
                    <a:pt x="36" y="104"/>
                    <a:pt x="36" y="104"/>
                    <a:pt x="48" y="104"/>
                  </a:cubicBezTo>
                  <a:cubicBezTo>
                    <a:pt x="48" y="104"/>
                    <a:pt x="59" y="104"/>
                    <a:pt x="59" y="92"/>
                  </a:cubicBezTo>
                  <a:cubicBezTo>
                    <a:pt x="70" y="92"/>
                    <a:pt x="70" y="92"/>
                    <a:pt x="84" y="81"/>
                  </a:cubicBezTo>
                  <a:lnTo>
                    <a:pt x="84" y="70"/>
                  </a:lnTo>
                  <a:lnTo>
                    <a:pt x="84" y="48"/>
                  </a:lnTo>
                  <a:lnTo>
                    <a:pt x="84" y="34"/>
                  </a:lnTo>
                  <a:lnTo>
                    <a:pt x="84" y="23"/>
                  </a:lnTo>
                  <a:lnTo>
                    <a:pt x="84" y="11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1" name="Google Shape;219;p17">
              <a:extLst>
                <a:ext uri="{FF2B5EF4-FFF2-40B4-BE49-F238E27FC236}">
                  <a16:creationId xmlns:a16="http://schemas.microsoft.com/office/drawing/2014/main" xmlns="" id="{F377D96C-4258-DCA7-3B7F-9C14FFAB4AAA}"/>
                </a:ext>
              </a:extLst>
            </p:cNvPr>
            <p:cNvSpPr/>
            <p:nvPr/>
          </p:nvSpPr>
          <p:spPr>
            <a:xfrm>
              <a:off x="3063477" y="2720342"/>
              <a:ext cx="136947" cy="173838"/>
            </a:xfrm>
            <a:custGeom>
              <a:avLst/>
              <a:gdLst/>
              <a:ahLst/>
              <a:cxnLst/>
              <a:rect l="l" t="t" r="r" b="b"/>
              <a:pathLst>
                <a:path w="594" h="754" extrusionOk="0">
                  <a:moveTo>
                    <a:pt x="163" y="1"/>
                  </a:moveTo>
                  <a:cubicBezTo>
                    <a:pt x="151" y="1"/>
                    <a:pt x="142" y="7"/>
                    <a:pt x="129" y="21"/>
                  </a:cubicBezTo>
                  <a:cubicBezTo>
                    <a:pt x="104" y="44"/>
                    <a:pt x="59" y="44"/>
                    <a:pt x="34" y="80"/>
                  </a:cubicBezTo>
                  <a:cubicBezTo>
                    <a:pt x="23" y="91"/>
                    <a:pt x="12" y="102"/>
                    <a:pt x="12" y="125"/>
                  </a:cubicBezTo>
                  <a:cubicBezTo>
                    <a:pt x="1" y="161"/>
                    <a:pt x="1" y="195"/>
                    <a:pt x="23" y="220"/>
                  </a:cubicBezTo>
                  <a:cubicBezTo>
                    <a:pt x="23" y="231"/>
                    <a:pt x="34" y="242"/>
                    <a:pt x="34" y="253"/>
                  </a:cubicBezTo>
                  <a:cubicBezTo>
                    <a:pt x="48" y="265"/>
                    <a:pt x="34" y="276"/>
                    <a:pt x="34" y="301"/>
                  </a:cubicBezTo>
                  <a:cubicBezTo>
                    <a:pt x="34" y="312"/>
                    <a:pt x="48" y="323"/>
                    <a:pt x="48" y="334"/>
                  </a:cubicBezTo>
                  <a:cubicBezTo>
                    <a:pt x="59" y="334"/>
                    <a:pt x="70" y="334"/>
                    <a:pt x="82" y="346"/>
                  </a:cubicBezTo>
                  <a:cubicBezTo>
                    <a:pt x="82" y="346"/>
                    <a:pt x="93" y="346"/>
                    <a:pt x="104" y="334"/>
                  </a:cubicBezTo>
                  <a:cubicBezTo>
                    <a:pt x="118" y="334"/>
                    <a:pt x="129" y="323"/>
                    <a:pt x="118" y="312"/>
                  </a:cubicBezTo>
                  <a:cubicBezTo>
                    <a:pt x="140" y="312"/>
                    <a:pt x="152" y="323"/>
                    <a:pt x="163" y="334"/>
                  </a:cubicBezTo>
                  <a:cubicBezTo>
                    <a:pt x="174" y="346"/>
                    <a:pt x="188" y="371"/>
                    <a:pt x="199" y="382"/>
                  </a:cubicBezTo>
                  <a:cubicBezTo>
                    <a:pt x="210" y="393"/>
                    <a:pt x="233" y="393"/>
                    <a:pt x="244" y="404"/>
                  </a:cubicBezTo>
                  <a:cubicBezTo>
                    <a:pt x="269" y="416"/>
                    <a:pt x="280" y="441"/>
                    <a:pt x="291" y="452"/>
                  </a:cubicBezTo>
                  <a:cubicBezTo>
                    <a:pt x="339" y="511"/>
                    <a:pt x="372" y="569"/>
                    <a:pt x="409" y="639"/>
                  </a:cubicBezTo>
                  <a:cubicBezTo>
                    <a:pt x="420" y="662"/>
                    <a:pt x="442" y="695"/>
                    <a:pt x="454" y="720"/>
                  </a:cubicBezTo>
                  <a:cubicBezTo>
                    <a:pt x="468" y="731"/>
                    <a:pt x="479" y="743"/>
                    <a:pt x="490" y="743"/>
                  </a:cubicBezTo>
                  <a:cubicBezTo>
                    <a:pt x="501" y="754"/>
                    <a:pt x="501" y="754"/>
                    <a:pt x="523" y="754"/>
                  </a:cubicBezTo>
                  <a:cubicBezTo>
                    <a:pt x="523" y="731"/>
                    <a:pt x="523" y="709"/>
                    <a:pt x="537" y="695"/>
                  </a:cubicBezTo>
                  <a:cubicBezTo>
                    <a:pt x="537" y="684"/>
                    <a:pt x="549" y="673"/>
                    <a:pt x="560" y="673"/>
                  </a:cubicBezTo>
                  <a:cubicBezTo>
                    <a:pt x="571" y="650"/>
                    <a:pt x="593" y="639"/>
                    <a:pt x="593" y="614"/>
                  </a:cubicBezTo>
                  <a:cubicBezTo>
                    <a:pt x="593" y="592"/>
                    <a:pt x="582" y="569"/>
                    <a:pt x="571" y="544"/>
                  </a:cubicBezTo>
                  <a:cubicBezTo>
                    <a:pt x="560" y="544"/>
                    <a:pt x="537" y="533"/>
                    <a:pt x="537" y="522"/>
                  </a:cubicBezTo>
                  <a:cubicBezTo>
                    <a:pt x="537" y="499"/>
                    <a:pt x="560" y="485"/>
                    <a:pt x="571" y="474"/>
                  </a:cubicBezTo>
                  <a:cubicBezTo>
                    <a:pt x="582" y="452"/>
                    <a:pt x="560" y="429"/>
                    <a:pt x="549" y="416"/>
                  </a:cubicBezTo>
                  <a:cubicBezTo>
                    <a:pt x="523" y="416"/>
                    <a:pt x="501" y="416"/>
                    <a:pt x="479" y="404"/>
                  </a:cubicBezTo>
                  <a:cubicBezTo>
                    <a:pt x="479" y="393"/>
                    <a:pt x="468" y="382"/>
                    <a:pt x="468" y="371"/>
                  </a:cubicBezTo>
                  <a:cubicBezTo>
                    <a:pt x="468" y="360"/>
                    <a:pt x="479" y="360"/>
                    <a:pt x="490" y="346"/>
                  </a:cubicBezTo>
                  <a:cubicBezTo>
                    <a:pt x="512" y="334"/>
                    <a:pt x="537" y="301"/>
                    <a:pt x="537" y="276"/>
                  </a:cubicBezTo>
                  <a:cubicBezTo>
                    <a:pt x="537" y="265"/>
                    <a:pt x="537" y="253"/>
                    <a:pt x="523" y="242"/>
                  </a:cubicBezTo>
                  <a:cubicBezTo>
                    <a:pt x="523" y="231"/>
                    <a:pt x="501" y="231"/>
                    <a:pt x="490" y="231"/>
                  </a:cubicBezTo>
                  <a:cubicBezTo>
                    <a:pt x="486" y="227"/>
                    <a:pt x="482" y="226"/>
                    <a:pt x="478" y="226"/>
                  </a:cubicBezTo>
                  <a:cubicBezTo>
                    <a:pt x="470" y="226"/>
                    <a:pt x="459" y="231"/>
                    <a:pt x="442" y="231"/>
                  </a:cubicBezTo>
                  <a:lnTo>
                    <a:pt x="361" y="231"/>
                  </a:lnTo>
                  <a:cubicBezTo>
                    <a:pt x="328" y="220"/>
                    <a:pt x="291" y="206"/>
                    <a:pt x="291" y="172"/>
                  </a:cubicBezTo>
                  <a:cubicBezTo>
                    <a:pt x="291" y="150"/>
                    <a:pt x="314" y="125"/>
                    <a:pt x="303" y="102"/>
                  </a:cubicBezTo>
                  <a:cubicBezTo>
                    <a:pt x="297" y="97"/>
                    <a:pt x="286" y="97"/>
                    <a:pt x="274" y="97"/>
                  </a:cubicBezTo>
                  <a:cubicBezTo>
                    <a:pt x="263" y="97"/>
                    <a:pt x="251" y="97"/>
                    <a:pt x="244" y="91"/>
                  </a:cubicBezTo>
                  <a:lnTo>
                    <a:pt x="233" y="91"/>
                  </a:lnTo>
                  <a:cubicBezTo>
                    <a:pt x="221" y="80"/>
                    <a:pt x="210" y="66"/>
                    <a:pt x="210" y="44"/>
                  </a:cubicBezTo>
                  <a:cubicBezTo>
                    <a:pt x="210" y="32"/>
                    <a:pt x="210" y="21"/>
                    <a:pt x="199" y="10"/>
                  </a:cubicBezTo>
                  <a:cubicBezTo>
                    <a:pt x="184" y="4"/>
                    <a:pt x="173" y="1"/>
                    <a:pt x="16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2" name="Google Shape;220;p17">
              <a:extLst>
                <a:ext uri="{FF2B5EF4-FFF2-40B4-BE49-F238E27FC236}">
                  <a16:creationId xmlns:a16="http://schemas.microsoft.com/office/drawing/2014/main" xmlns="" id="{4023D79B-AF44-E4C0-4CFF-FAFC2B29B671}"/>
                </a:ext>
              </a:extLst>
            </p:cNvPr>
            <p:cNvSpPr/>
            <p:nvPr/>
          </p:nvSpPr>
          <p:spPr>
            <a:xfrm>
              <a:off x="3060941" y="2714117"/>
              <a:ext cx="145247" cy="186058"/>
            </a:xfrm>
            <a:custGeom>
              <a:avLst/>
              <a:gdLst/>
              <a:ahLst/>
              <a:cxnLst/>
              <a:rect l="l" t="t" r="r" b="b"/>
              <a:pathLst>
                <a:path w="630" h="807" extrusionOk="0">
                  <a:moveTo>
                    <a:pt x="199" y="48"/>
                  </a:moveTo>
                  <a:lnTo>
                    <a:pt x="199" y="59"/>
                  </a:lnTo>
                  <a:lnTo>
                    <a:pt x="199" y="71"/>
                  </a:lnTo>
                  <a:cubicBezTo>
                    <a:pt x="199" y="82"/>
                    <a:pt x="199" y="93"/>
                    <a:pt x="210" y="107"/>
                  </a:cubicBezTo>
                  <a:cubicBezTo>
                    <a:pt x="210" y="118"/>
                    <a:pt x="221" y="129"/>
                    <a:pt x="232" y="141"/>
                  </a:cubicBezTo>
                  <a:lnTo>
                    <a:pt x="280" y="141"/>
                  </a:lnTo>
                  <a:lnTo>
                    <a:pt x="291" y="152"/>
                  </a:lnTo>
                  <a:lnTo>
                    <a:pt x="291" y="163"/>
                  </a:lnTo>
                  <a:cubicBezTo>
                    <a:pt x="291" y="177"/>
                    <a:pt x="280" y="188"/>
                    <a:pt x="280" y="199"/>
                  </a:cubicBezTo>
                  <a:cubicBezTo>
                    <a:pt x="280" y="233"/>
                    <a:pt x="302" y="247"/>
                    <a:pt x="314" y="258"/>
                  </a:cubicBezTo>
                  <a:cubicBezTo>
                    <a:pt x="325" y="269"/>
                    <a:pt x="350" y="280"/>
                    <a:pt x="361" y="280"/>
                  </a:cubicBezTo>
                  <a:lnTo>
                    <a:pt x="523" y="280"/>
                  </a:lnTo>
                  <a:lnTo>
                    <a:pt x="523" y="292"/>
                  </a:lnTo>
                  <a:lnTo>
                    <a:pt x="523" y="303"/>
                  </a:lnTo>
                  <a:cubicBezTo>
                    <a:pt x="523" y="328"/>
                    <a:pt x="512" y="339"/>
                    <a:pt x="490" y="350"/>
                  </a:cubicBezTo>
                  <a:cubicBezTo>
                    <a:pt x="490" y="361"/>
                    <a:pt x="479" y="361"/>
                    <a:pt x="479" y="361"/>
                  </a:cubicBezTo>
                  <a:cubicBezTo>
                    <a:pt x="465" y="373"/>
                    <a:pt x="453" y="373"/>
                    <a:pt x="453" y="398"/>
                  </a:cubicBezTo>
                  <a:cubicBezTo>
                    <a:pt x="453" y="409"/>
                    <a:pt x="453" y="420"/>
                    <a:pt x="465" y="431"/>
                  </a:cubicBezTo>
                  <a:lnTo>
                    <a:pt x="479" y="443"/>
                  </a:lnTo>
                  <a:cubicBezTo>
                    <a:pt x="490" y="456"/>
                    <a:pt x="501" y="456"/>
                    <a:pt x="512" y="468"/>
                  </a:cubicBezTo>
                  <a:lnTo>
                    <a:pt x="548" y="468"/>
                  </a:lnTo>
                  <a:lnTo>
                    <a:pt x="560" y="479"/>
                  </a:lnTo>
                  <a:lnTo>
                    <a:pt x="560" y="490"/>
                  </a:lnTo>
                  <a:cubicBezTo>
                    <a:pt x="560" y="490"/>
                    <a:pt x="560" y="501"/>
                    <a:pt x="548" y="501"/>
                  </a:cubicBezTo>
                  <a:lnTo>
                    <a:pt x="534" y="512"/>
                  </a:lnTo>
                  <a:cubicBezTo>
                    <a:pt x="523" y="526"/>
                    <a:pt x="523" y="538"/>
                    <a:pt x="523" y="549"/>
                  </a:cubicBezTo>
                  <a:cubicBezTo>
                    <a:pt x="523" y="560"/>
                    <a:pt x="523" y="560"/>
                    <a:pt x="534" y="571"/>
                  </a:cubicBezTo>
                  <a:cubicBezTo>
                    <a:pt x="534" y="582"/>
                    <a:pt x="548" y="582"/>
                    <a:pt x="548" y="582"/>
                  </a:cubicBezTo>
                  <a:cubicBezTo>
                    <a:pt x="560" y="596"/>
                    <a:pt x="560" y="596"/>
                    <a:pt x="571" y="596"/>
                  </a:cubicBezTo>
                  <a:cubicBezTo>
                    <a:pt x="571" y="607"/>
                    <a:pt x="582" y="619"/>
                    <a:pt x="582" y="630"/>
                  </a:cubicBezTo>
                  <a:cubicBezTo>
                    <a:pt x="582" y="652"/>
                    <a:pt x="571" y="666"/>
                    <a:pt x="560" y="677"/>
                  </a:cubicBezTo>
                  <a:cubicBezTo>
                    <a:pt x="548" y="689"/>
                    <a:pt x="534" y="689"/>
                    <a:pt x="523" y="700"/>
                  </a:cubicBezTo>
                  <a:cubicBezTo>
                    <a:pt x="512" y="722"/>
                    <a:pt x="512" y="736"/>
                    <a:pt x="512" y="747"/>
                  </a:cubicBezTo>
                  <a:lnTo>
                    <a:pt x="512" y="758"/>
                  </a:lnTo>
                  <a:cubicBezTo>
                    <a:pt x="501" y="747"/>
                    <a:pt x="490" y="736"/>
                    <a:pt x="490" y="722"/>
                  </a:cubicBezTo>
                  <a:cubicBezTo>
                    <a:pt x="465" y="711"/>
                    <a:pt x="453" y="677"/>
                    <a:pt x="442" y="652"/>
                  </a:cubicBezTo>
                  <a:cubicBezTo>
                    <a:pt x="409" y="582"/>
                    <a:pt x="372" y="526"/>
                    <a:pt x="325" y="468"/>
                  </a:cubicBezTo>
                  <a:cubicBezTo>
                    <a:pt x="314" y="443"/>
                    <a:pt x="291" y="420"/>
                    <a:pt x="269" y="409"/>
                  </a:cubicBezTo>
                  <a:cubicBezTo>
                    <a:pt x="244" y="398"/>
                    <a:pt x="232" y="398"/>
                    <a:pt x="221" y="387"/>
                  </a:cubicBezTo>
                  <a:cubicBezTo>
                    <a:pt x="210" y="387"/>
                    <a:pt x="210" y="361"/>
                    <a:pt x="199" y="350"/>
                  </a:cubicBezTo>
                  <a:cubicBezTo>
                    <a:pt x="185" y="339"/>
                    <a:pt x="174" y="339"/>
                    <a:pt x="174" y="328"/>
                  </a:cubicBezTo>
                  <a:cubicBezTo>
                    <a:pt x="163" y="328"/>
                    <a:pt x="151" y="317"/>
                    <a:pt x="140" y="317"/>
                  </a:cubicBezTo>
                  <a:lnTo>
                    <a:pt x="129" y="317"/>
                  </a:lnTo>
                  <a:lnTo>
                    <a:pt x="104" y="328"/>
                  </a:lnTo>
                  <a:lnTo>
                    <a:pt x="104" y="350"/>
                  </a:lnTo>
                  <a:lnTo>
                    <a:pt x="93" y="350"/>
                  </a:lnTo>
                  <a:lnTo>
                    <a:pt x="81" y="339"/>
                  </a:lnTo>
                  <a:lnTo>
                    <a:pt x="70" y="339"/>
                  </a:lnTo>
                  <a:lnTo>
                    <a:pt x="70" y="328"/>
                  </a:lnTo>
                  <a:cubicBezTo>
                    <a:pt x="70" y="317"/>
                    <a:pt x="81" y="303"/>
                    <a:pt x="81" y="292"/>
                  </a:cubicBezTo>
                  <a:cubicBezTo>
                    <a:pt x="81" y="292"/>
                    <a:pt x="70" y="280"/>
                    <a:pt x="70" y="269"/>
                  </a:cubicBezTo>
                  <a:cubicBezTo>
                    <a:pt x="70" y="258"/>
                    <a:pt x="59" y="247"/>
                    <a:pt x="45" y="233"/>
                  </a:cubicBezTo>
                  <a:lnTo>
                    <a:pt x="45" y="199"/>
                  </a:lnTo>
                  <a:lnTo>
                    <a:pt x="45" y="152"/>
                  </a:lnTo>
                  <a:cubicBezTo>
                    <a:pt x="45" y="141"/>
                    <a:pt x="59" y="129"/>
                    <a:pt x="59" y="118"/>
                  </a:cubicBezTo>
                  <a:cubicBezTo>
                    <a:pt x="70" y="107"/>
                    <a:pt x="81" y="107"/>
                    <a:pt x="104" y="93"/>
                  </a:cubicBezTo>
                  <a:cubicBezTo>
                    <a:pt x="115" y="82"/>
                    <a:pt x="140" y="82"/>
                    <a:pt x="163" y="59"/>
                  </a:cubicBezTo>
                  <a:lnTo>
                    <a:pt x="174" y="48"/>
                  </a:lnTo>
                  <a:close/>
                  <a:moveTo>
                    <a:pt x="174" y="1"/>
                  </a:moveTo>
                  <a:cubicBezTo>
                    <a:pt x="163" y="1"/>
                    <a:pt x="151" y="1"/>
                    <a:pt x="151" y="12"/>
                  </a:cubicBezTo>
                  <a:cubicBezTo>
                    <a:pt x="140" y="12"/>
                    <a:pt x="129" y="23"/>
                    <a:pt x="129" y="23"/>
                  </a:cubicBezTo>
                  <a:cubicBezTo>
                    <a:pt x="115" y="37"/>
                    <a:pt x="104" y="48"/>
                    <a:pt x="81" y="48"/>
                  </a:cubicBezTo>
                  <a:cubicBezTo>
                    <a:pt x="70" y="59"/>
                    <a:pt x="45" y="71"/>
                    <a:pt x="23" y="82"/>
                  </a:cubicBezTo>
                  <a:cubicBezTo>
                    <a:pt x="12" y="107"/>
                    <a:pt x="0" y="129"/>
                    <a:pt x="0" y="141"/>
                  </a:cubicBezTo>
                  <a:lnTo>
                    <a:pt x="0" y="199"/>
                  </a:lnTo>
                  <a:cubicBezTo>
                    <a:pt x="0" y="222"/>
                    <a:pt x="0" y="247"/>
                    <a:pt x="12" y="258"/>
                  </a:cubicBezTo>
                  <a:cubicBezTo>
                    <a:pt x="23" y="280"/>
                    <a:pt x="23" y="280"/>
                    <a:pt x="23" y="292"/>
                  </a:cubicBezTo>
                  <a:lnTo>
                    <a:pt x="34" y="292"/>
                  </a:lnTo>
                  <a:cubicBezTo>
                    <a:pt x="34" y="303"/>
                    <a:pt x="23" y="317"/>
                    <a:pt x="23" y="328"/>
                  </a:cubicBezTo>
                  <a:cubicBezTo>
                    <a:pt x="23" y="339"/>
                    <a:pt x="23" y="350"/>
                    <a:pt x="34" y="350"/>
                  </a:cubicBezTo>
                  <a:cubicBezTo>
                    <a:pt x="34" y="361"/>
                    <a:pt x="45" y="373"/>
                    <a:pt x="45" y="387"/>
                  </a:cubicBezTo>
                  <a:cubicBezTo>
                    <a:pt x="70" y="387"/>
                    <a:pt x="81" y="387"/>
                    <a:pt x="81" y="398"/>
                  </a:cubicBezTo>
                  <a:lnTo>
                    <a:pt x="104" y="398"/>
                  </a:lnTo>
                  <a:cubicBezTo>
                    <a:pt x="104" y="398"/>
                    <a:pt x="115" y="398"/>
                    <a:pt x="129" y="387"/>
                  </a:cubicBezTo>
                  <a:cubicBezTo>
                    <a:pt x="140" y="387"/>
                    <a:pt x="140" y="373"/>
                    <a:pt x="151" y="373"/>
                  </a:cubicBezTo>
                  <a:lnTo>
                    <a:pt x="163" y="373"/>
                  </a:lnTo>
                  <a:cubicBezTo>
                    <a:pt x="163" y="387"/>
                    <a:pt x="174" y="409"/>
                    <a:pt x="199" y="420"/>
                  </a:cubicBezTo>
                  <a:cubicBezTo>
                    <a:pt x="210" y="443"/>
                    <a:pt x="232" y="443"/>
                    <a:pt x="244" y="456"/>
                  </a:cubicBezTo>
                  <a:cubicBezTo>
                    <a:pt x="255" y="456"/>
                    <a:pt x="269" y="479"/>
                    <a:pt x="291" y="490"/>
                  </a:cubicBezTo>
                  <a:cubicBezTo>
                    <a:pt x="325" y="549"/>
                    <a:pt x="372" y="619"/>
                    <a:pt x="395" y="677"/>
                  </a:cubicBezTo>
                  <a:cubicBezTo>
                    <a:pt x="420" y="700"/>
                    <a:pt x="431" y="736"/>
                    <a:pt x="453" y="758"/>
                  </a:cubicBezTo>
                  <a:cubicBezTo>
                    <a:pt x="453" y="770"/>
                    <a:pt x="465" y="781"/>
                    <a:pt x="490" y="792"/>
                  </a:cubicBezTo>
                  <a:lnTo>
                    <a:pt x="501" y="806"/>
                  </a:lnTo>
                  <a:lnTo>
                    <a:pt x="548" y="806"/>
                  </a:lnTo>
                  <a:lnTo>
                    <a:pt x="560" y="792"/>
                  </a:lnTo>
                  <a:lnTo>
                    <a:pt x="560" y="758"/>
                  </a:lnTo>
                  <a:lnTo>
                    <a:pt x="560" y="736"/>
                  </a:lnTo>
                  <a:cubicBezTo>
                    <a:pt x="571" y="722"/>
                    <a:pt x="571" y="722"/>
                    <a:pt x="582" y="711"/>
                  </a:cubicBezTo>
                  <a:cubicBezTo>
                    <a:pt x="604" y="700"/>
                    <a:pt x="618" y="677"/>
                    <a:pt x="630" y="641"/>
                  </a:cubicBezTo>
                  <a:lnTo>
                    <a:pt x="630" y="630"/>
                  </a:lnTo>
                  <a:cubicBezTo>
                    <a:pt x="630" y="607"/>
                    <a:pt x="618" y="571"/>
                    <a:pt x="593" y="560"/>
                  </a:cubicBezTo>
                  <a:cubicBezTo>
                    <a:pt x="582" y="549"/>
                    <a:pt x="582" y="549"/>
                    <a:pt x="571" y="549"/>
                  </a:cubicBezTo>
                  <a:cubicBezTo>
                    <a:pt x="571" y="549"/>
                    <a:pt x="571" y="538"/>
                    <a:pt x="582" y="538"/>
                  </a:cubicBezTo>
                  <a:cubicBezTo>
                    <a:pt x="582" y="526"/>
                    <a:pt x="593" y="526"/>
                    <a:pt x="604" y="512"/>
                  </a:cubicBezTo>
                  <a:lnTo>
                    <a:pt x="604" y="490"/>
                  </a:lnTo>
                  <a:cubicBezTo>
                    <a:pt x="604" y="479"/>
                    <a:pt x="604" y="468"/>
                    <a:pt x="593" y="456"/>
                  </a:cubicBezTo>
                  <a:cubicBezTo>
                    <a:pt x="582" y="443"/>
                    <a:pt x="571" y="431"/>
                    <a:pt x="560" y="431"/>
                  </a:cubicBezTo>
                  <a:cubicBezTo>
                    <a:pt x="548" y="420"/>
                    <a:pt x="534" y="420"/>
                    <a:pt x="523" y="420"/>
                  </a:cubicBezTo>
                  <a:cubicBezTo>
                    <a:pt x="523" y="409"/>
                    <a:pt x="512" y="409"/>
                    <a:pt x="501" y="409"/>
                  </a:cubicBezTo>
                  <a:cubicBezTo>
                    <a:pt x="501" y="398"/>
                    <a:pt x="501" y="398"/>
                    <a:pt x="512" y="398"/>
                  </a:cubicBezTo>
                  <a:cubicBezTo>
                    <a:pt x="548" y="373"/>
                    <a:pt x="560" y="339"/>
                    <a:pt x="571" y="303"/>
                  </a:cubicBezTo>
                  <a:lnTo>
                    <a:pt x="571" y="292"/>
                  </a:lnTo>
                  <a:cubicBezTo>
                    <a:pt x="571" y="280"/>
                    <a:pt x="571" y="269"/>
                    <a:pt x="560" y="258"/>
                  </a:cubicBezTo>
                  <a:cubicBezTo>
                    <a:pt x="548" y="233"/>
                    <a:pt x="523" y="233"/>
                    <a:pt x="501" y="233"/>
                  </a:cubicBezTo>
                  <a:lnTo>
                    <a:pt x="372" y="233"/>
                  </a:lnTo>
                  <a:cubicBezTo>
                    <a:pt x="361" y="233"/>
                    <a:pt x="350" y="222"/>
                    <a:pt x="339" y="222"/>
                  </a:cubicBezTo>
                  <a:cubicBezTo>
                    <a:pt x="339" y="210"/>
                    <a:pt x="325" y="210"/>
                    <a:pt x="325" y="199"/>
                  </a:cubicBezTo>
                  <a:cubicBezTo>
                    <a:pt x="325" y="199"/>
                    <a:pt x="325" y="188"/>
                    <a:pt x="339" y="188"/>
                  </a:cubicBezTo>
                  <a:lnTo>
                    <a:pt x="339" y="152"/>
                  </a:lnTo>
                  <a:cubicBezTo>
                    <a:pt x="339" y="141"/>
                    <a:pt x="339" y="129"/>
                    <a:pt x="325" y="118"/>
                  </a:cubicBezTo>
                  <a:cubicBezTo>
                    <a:pt x="325" y="118"/>
                    <a:pt x="314" y="107"/>
                    <a:pt x="302" y="107"/>
                  </a:cubicBezTo>
                  <a:cubicBezTo>
                    <a:pt x="291" y="93"/>
                    <a:pt x="291" y="93"/>
                    <a:pt x="280" y="93"/>
                  </a:cubicBezTo>
                  <a:lnTo>
                    <a:pt x="244" y="93"/>
                  </a:lnTo>
                  <a:lnTo>
                    <a:pt x="244" y="71"/>
                  </a:lnTo>
                  <a:lnTo>
                    <a:pt x="244" y="37"/>
                  </a:lnTo>
                  <a:cubicBezTo>
                    <a:pt x="232" y="23"/>
                    <a:pt x="221" y="12"/>
                    <a:pt x="210" y="12"/>
                  </a:cubicBezTo>
                  <a:cubicBezTo>
                    <a:pt x="199" y="1"/>
                    <a:pt x="185" y="1"/>
                    <a:pt x="17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3" name="Google Shape;221;p17">
              <a:extLst>
                <a:ext uri="{FF2B5EF4-FFF2-40B4-BE49-F238E27FC236}">
                  <a16:creationId xmlns:a16="http://schemas.microsoft.com/office/drawing/2014/main" xmlns="" id="{D9BEB6AA-E09A-0C1D-114D-CFF4FB61BDFA}"/>
                </a:ext>
              </a:extLst>
            </p:cNvPr>
            <p:cNvSpPr/>
            <p:nvPr/>
          </p:nvSpPr>
          <p:spPr>
            <a:xfrm>
              <a:off x="3087455" y="2803110"/>
              <a:ext cx="8530" cy="8069"/>
            </a:xfrm>
            <a:custGeom>
              <a:avLst/>
              <a:gdLst/>
              <a:ahLst/>
              <a:cxnLst/>
              <a:rect l="l" t="t" r="r" b="b"/>
              <a:pathLst>
                <a:path w="37" h="35" extrusionOk="0">
                  <a:moveTo>
                    <a:pt x="0" y="1"/>
                  </a:moveTo>
                  <a:lnTo>
                    <a:pt x="0" y="23"/>
                  </a:lnTo>
                  <a:lnTo>
                    <a:pt x="14" y="23"/>
                  </a:lnTo>
                  <a:cubicBezTo>
                    <a:pt x="14" y="34"/>
                    <a:pt x="25" y="34"/>
                    <a:pt x="25" y="34"/>
                  </a:cubicBezTo>
                  <a:lnTo>
                    <a:pt x="25" y="23"/>
                  </a:lnTo>
                  <a:cubicBezTo>
                    <a:pt x="36" y="23"/>
                    <a:pt x="36" y="12"/>
                    <a:pt x="3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" name="Google Shape;222;p17">
              <a:extLst>
                <a:ext uri="{FF2B5EF4-FFF2-40B4-BE49-F238E27FC236}">
                  <a16:creationId xmlns:a16="http://schemas.microsoft.com/office/drawing/2014/main" xmlns="" id="{43B273C7-BCB6-D999-6608-4A03347DA4CE}"/>
                </a:ext>
              </a:extLst>
            </p:cNvPr>
            <p:cNvSpPr/>
            <p:nvPr/>
          </p:nvSpPr>
          <p:spPr>
            <a:xfrm>
              <a:off x="3082152" y="2797347"/>
              <a:ext cx="18905" cy="18906"/>
            </a:xfrm>
            <a:custGeom>
              <a:avLst/>
              <a:gdLst/>
              <a:ahLst/>
              <a:cxnLst/>
              <a:rect l="l" t="t" r="r" b="b"/>
              <a:pathLst>
                <a:path w="82" h="82" extrusionOk="0">
                  <a:moveTo>
                    <a:pt x="1" y="0"/>
                  </a:moveTo>
                  <a:lnTo>
                    <a:pt x="1" y="26"/>
                  </a:lnTo>
                  <a:lnTo>
                    <a:pt x="1" y="48"/>
                  </a:lnTo>
                  <a:lnTo>
                    <a:pt x="12" y="59"/>
                  </a:lnTo>
                  <a:lnTo>
                    <a:pt x="23" y="70"/>
                  </a:lnTo>
                  <a:cubicBezTo>
                    <a:pt x="37" y="70"/>
                    <a:pt x="37" y="82"/>
                    <a:pt x="48" y="82"/>
                  </a:cubicBezTo>
                  <a:lnTo>
                    <a:pt x="59" y="70"/>
                  </a:lnTo>
                  <a:lnTo>
                    <a:pt x="71" y="70"/>
                  </a:lnTo>
                  <a:lnTo>
                    <a:pt x="71" y="59"/>
                  </a:lnTo>
                  <a:cubicBezTo>
                    <a:pt x="82" y="48"/>
                    <a:pt x="82" y="37"/>
                    <a:pt x="82" y="37"/>
                  </a:cubicBezTo>
                  <a:lnTo>
                    <a:pt x="82" y="26"/>
                  </a:lnTo>
                  <a:lnTo>
                    <a:pt x="7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5" name="Google Shape;223;p17">
              <a:extLst>
                <a:ext uri="{FF2B5EF4-FFF2-40B4-BE49-F238E27FC236}">
                  <a16:creationId xmlns:a16="http://schemas.microsoft.com/office/drawing/2014/main" xmlns="" id="{428E7842-73A0-A0F4-DC1C-4FF9E7C3B533}"/>
                </a:ext>
              </a:extLst>
            </p:cNvPr>
            <p:cNvSpPr/>
            <p:nvPr/>
          </p:nvSpPr>
          <p:spPr>
            <a:xfrm>
              <a:off x="3187283" y="2896715"/>
              <a:ext cx="131644" cy="83922"/>
            </a:xfrm>
            <a:custGeom>
              <a:avLst/>
              <a:gdLst/>
              <a:ahLst/>
              <a:cxnLst/>
              <a:rect l="l" t="t" r="r" b="b"/>
              <a:pathLst>
                <a:path w="571" h="364" extrusionOk="0">
                  <a:moveTo>
                    <a:pt x="23" y="0"/>
                  </a:moveTo>
                  <a:cubicBezTo>
                    <a:pt x="12" y="0"/>
                    <a:pt x="12" y="0"/>
                    <a:pt x="0" y="14"/>
                  </a:cubicBezTo>
                  <a:lnTo>
                    <a:pt x="0" y="36"/>
                  </a:lnTo>
                  <a:cubicBezTo>
                    <a:pt x="0" y="48"/>
                    <a:pt x="12" y="48"/>
                    <a:pt x="23" y="59"/>
                  </a:cubicBezTo>
                  <a:cubicBezTo>
                    <a:pt x="115" y="140"/>
                    <a:pt x="221" y="224"/>
                    <a:pt x="314" y="305"/>
                  </a:cubicBezTo>
                  <a:cubicBezTo>
                    <a:pt x="336" y="327"/>
                    <a:pt x="361" y="350"/>
                    <a:pt x="395" y="364"/>
                  </a:cubicBezTo>
                  <a:cubicBezTo>
                    <a:pt x="431" y="364"/>
                    <a:pt x="453" y="364"/>
                    <a:pt x="490" y="350"/>
                  </a:cubicBezTo>
                  <a:lnTo>
                    <a:pt x="501" y="338"/>
                  </a:lnTo>
                  <a:cubicBezTo>
                    <a:pt x="512" y="327"/>
                    <a:pt x="501" y="316"/>
                    <a:pt x="512" y="294"/>
                  </a:cubicBezTo>
                  <a:cubicBezTo>
                    <a:pt x="512" y="280"/>
                    <a:pt x="523" y="280"/>
                    <a:pt x="523" y="268"/>
                  </a:cubicBezTo>
                  <a:cubicBezTo>
                    <a:pt x="546" y="246"/>
                    <a:pt x="571" y="210"/>
                    <a:pt x="560" y="176"/>
                  </a:cubicBezTo>
                  <a:cubicBezTo>
                    <a:pt x="560" y="140"/>
                    <a:pt x="523" y="117"/>
                    <a:pt x="501" y="106"/>
                  </a:cubicBezTo>
                  <a:lnTo>
                    <a:pt x="350" y="106"/>
                  </a:lnTo>
                  <a:cubicBezTo>
                    <a:pt x="350" y="106"/>
                    <a:pt x="336" y="106"/>
                    <a:pt x="325" y="95"/>
                  </a:cubicBezTo>
                  <a:cubicBezTo>
                    <a:pt x="325" y="95"/>
                    <a:pt x="314" y="84"/>
                    <a:pt x="302" y="84"/>
                  </a:cubicBezTo>
                  <a:cubicBezTo>
                    <a:pt x="291" y="59"/>
                    <a:pt x="255" y="59"/>
                    <a:pt x="233" y="59"/>
                  </a:cubicBezTo>
                  <a:lnTo>
                    <a:pt x="210" y="59"/>
                  </a:lnTo>
                  <a:cubicBezTo>
                    <a:pt x="196" y="48"/>
                    <a:pt x="185" y="36"/>
                    <a:pt x="174" y="25"/>
                  </a:cubicBezTo>
                  <a:cubicBezTo>
                    <a:pt x="163" y="14"/>
                    <a:pt x="140" y="14"/>
                    <a:pt x="126" y="14"/>
                  </a:cubicBezTo>
                  <a:cubicBezTo>
                    <a:pt x="93" y="14"/>
                    <a:pt x="56" y="0"/>
                    <a:pt x="2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6" name="Google Shape;224;p17">
              <a:extLst>
                <a:ext uri="{FF2B5EF4-FFF2-40B4-BE49-F238E27FC236}">
                  <a16:creationId xmlns:a16="http://schemas.microsoft.com/office/drawing/2014/main" xmlns="" id="{9E652DAD-4DC6-CFAC-0A7D-3C887DA32AFD}"/>
                </a:ext>
              </a:extLst>
            </p:cNvPr>
            <p:cNvSpPr/>
            <p:nvPr/>
          </p:nvSpPr>
          <p:spPr>
            <a:xfrm>
              <a:off x="3181520" y="2891412"/>
              <a:ext cx="140174" cy="94297"/>
            </a:xfrm>
            <a:custGeom>
              <a:avLst/>
              <a:gdLst/>
              <a:ahLst/>
              <a:cxnLst/>
              <a:rect l="l" t="t" r="r" b="b"/>
              <a:pathLst>
                <a:path w="608" h="409" extrusionOk="0">
                  <a:moveTo>
                    <a:pt x="48" y="48"/>
                  </a:moveTo>
                  <a:cubicBezTo>
                    <a:pt x="81" y="48"/>
                    <a:pt x="107" y="59"/>
                    <a:pt x="151" y="59"/>
                  </a:cubicBezTo>
                  <a:lnTo>
                    <a:pt x="188" y="59"/>
                  </a:lnTo>
                  <a:cubicBezTo>
                    <a:pt x="188" y="71"/>
                    <a:pt x="188" y="71"/>
                    <a:pt x="199" y="82"/>
                  </a:cubicBezTo>
                  <a:cubicBezTo>
                    <a:pt x="199" y="82"/>
                    <a:pt x="210" y="93"/>
                    <a:pt x="221" y="107"/>
                  </a:cubicBezTo>
                  <a:lnTo>
                    <a:pt x="291" y="107"/>
                  </a:lnTo>
                  <a:cubicBezTo>
                    <a:pt x="305" y="107"/>
                    <a:pt x="316" y="118"/>
                    <a:pt x="316" y="118"/>
                  </a:cubicBezTo>
                  <a:cubicBezTo>
                    <a:pt x="327" y="118"/>
                    <a:pt x="327" y="129"/>
                    <a:pt x="350" y="140"/>
                  </a:cubicBezTo>
                  <a:cubicBezTo>
                    <a:pt x="361" y="152"/>
                    <a:pt x="375" y="152"/>
                    <a:pt x="375" y="152"/>
                  </a:cubicBezTo>
                  <a:lnTo>
                    <a:pt x="515" y="152"/>
                  </a:lnTo>
                  <a:cubicBezTo>
                    <a:pt x="537" y="152"/>
                    <a:pt x="560" y="177"/>
                    <a:pt x="560" y="199"/>
                  </a:cubicBezTo>
                  <a:lnTo>
                    <a:pt x="560" y="210"/>
                  </a:lnTo>
                  <a:cubicBezTo>
                    <a:pt x="560" y="233"/>
                    <a:pt x="548" y="258"/>
                    <a:pt x="537" y="280"/>
                  </a:cubicBezTo>
                  <a:cubicBezTo>
                    <a:pt x="537" y="280"/>
                    <a:pt x="526" y="280"/>
                    <a:pt x="526" y="291"/>
                  </a:cubicBezTo>
                  <a:cubicBezTo>
                    <a:pt x="515" y="291"/>
                    <a:pt x="515" y="303"/>
                    <a:pt x="515" y="317"/>
                  </a:cubicBezTo>
                  <a:lnTo>
                    <a:pt x="501" y="328"/>
                  </a:lnTo>
                  <a:cubicBezTo>
                    <a:pt x="515" y="339"/>
                    <a:pt x="515" y="339"/>
                    <a:pt x="515" y="350"/>
                  </a:cubicBezTo>
                  <a:lnTo>
                    <a:pt x="501" y="350"/>
                  </a:lnTo>
                  <a:cubicBezTo>
                    <a:pt x="490" y="361"/>
                    <a:pt x="467" y="361"/>
                    <a:pt x="456" y="361"/>
                  </a:cubicBezTo>
                  <a:lnTo>
                    <a:pt x="431" y="361"/>
                  </a:lnTo>
                  <a:cubicBezTo>
                    <a:pt x="409" y="350"/>
                    <a:pt x="375" y="328"/>
                    <a:pt x="350" y="317"/>
                  </a:cubicBezTo>
                  <a:cubicBezTo>
                    <a:pt x="258" y="222"/>
                    <a:pt x="151" y="140"/>
                    <a:pt x="59" y="59"/>
                  </a:cubicBezTo>
                  <a:cubicBezTo>
                    <a:pt x="48" y="59"/>
                    <a:pt x="48" y="48"/>
                    <a:pt x="48" y="48"/>
                  </a:cubicBezTo>
                  <a:close/>
                  <a:moveTo>
                    <a:pt x="37" y="1"/>
                  </a:moveTo>
                  <a:cubicBezTo>
                    <a:pt x="37" y="1"/>
                    <a:pt x="25" y="1"/>
                    <a:pt x="11" y="12"/>
                  </a:cubicBezTo>
                  <a:cubicBezTo>
                    <a:pt x="0" y="23"/>
                    <a:pt x="0" y="37"/>
                    <a:pt x="0" y="48"/>
                  </a:cubicBezTo>
                  <a:lnTo>
                    <a:pt x="0" y="71"/>
                  </a:lnTo>
                  <a:cubicBezTo>
                    <a:pt x="11" y="82"/>
                    <a:pt x="25" y="93"/>
                    <a:pt x="25" y="93"/>
                  </a:cubicBezTo>
                  <a:cubicBezTo>
                    <a:pt x="129" y="177"/>
                    <a:pt x="221" y="269"/>
                    <a:pt x="327" y="350"/>
                  </a:cubicBezTo>
                  <a:cubicBezTo>
                    <a:pt x="350" y="361"/>
                    <a:pt x="375" y="398"/>
                    <a:pt x="420" y="409"/>
                  </a:cubicBezTo>
                  <a:lnTo>
                    <a:pt x="456" y="409"/>
                  </a:lnTo>
                  <a:cubicBezTo>
                    <a:pt x="478" y="409"/>
                    <a:pt x="501" y="409"/>
                    <a:pt x="515" y="398"/>
                  </a:cubicBezTo>
                  <a:cubicBezTo>
                    <a:pt x="526" y="398"/>
                    <a:pt x="526" y="398"/>
                    <a:pt x="537" y="387"/>
                  </a:cubicBezTo>
                  <a:cubicBezTo>
                    <a:pt x="537" y="387"/>
                    <a:pt x="548" y="373"/>
                    <a:pt x="548" y="361"/>
                  </a:cubicBezTo>
                  <a:cubicBezTo>
                    <a:pt x="560" y="361"/>
                    <a:pt x="560" y="350"/>
                    <a:pt x="560" y="350"/>
                  </a:cubicBezTo>
                  <a:cubicBezTo>
                    <a:pt x="560" y="339"/>
                    <a:pt x="548" y="328"/>
                    <a:pt x="548" y="328"/>
                  </a:cubicBezTo>
                  <a:lnTo>
                    <a:pt x="560" y="328"/>
                  </a:lnTo>
                  <a:lnTo>
                    <a:pt x="560" y="317"/>
                  </a:lnTo>
                  <a:lnTo>
                    <a:pt x="571" y="303"/>
                  </a:lnTo>
                  <a:cubicBezTo>
                    <a:pt x="596" y="280"/>
                    <a:pt x="607" y="247"/>
                    <a:pt x="607" y="210"/>
                  </a:cubicBezTo>
                  <a:lnTo>
                    <a:pt x="607" y="199"/>
                  </a:lnTo>
                  <a:cubicBezTo>
                    <a:pt x="596" y="152"/>
                    <a:pt x="571" y="118"/>
                    <a:pt x="526" y="107"/>
                  </a:cubicBezTo>
                  <a:lnTo>
                    <a:pt x="361" y="107"/>
                  </a:lnTo>
                  <a:cubicBezTo>
                    <a:pt x="361" y="93"/>
                    <a:pt x="361" y="93"/>
                    <a:pt x="350" y="82"/>
                  </a:cubicBezTo>
                  <a:cubicBezTo>
                    <a:pt x="339" y="71"/>
                    <a:pt x="316" y="71"/>
                    <a:pt x="305" y="59"/>
                  </a:cubicBezTo>
                  <a:lnTo>
                    <a:pt x="246" y="59"/>
                  </a:lnTo>
                  <a:lnTo>
                    <a:pt x="235" y="48"/>
                  </a:lnTo>
                  <a:cubicBezTo>
                    <a:pt x="235" y="37"/>
                    <a:pt x="221" y="37"/>
                    <a:pt x="210" y="23"/>
                  </a:cubicBezTo>
                  <a:cubicBezTo>
                    <a:pt x="199" y="12"/>
                    <a:pt x="188" y="12"/>
                    <a:pt x="176" y="12"/>
                  </a:cubicBezTo>
                  <a:lnTo>
                    <a:pt x="151" y="12"/>
                  </a:lnTo>
                  <a:cubicBezTo>
                    <a:pt x="118" y="12"/>
                    <a:pt x="95" y="1"/>
                    <a:pt x="4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7" name="Google Shape;225;p17">
              <a:extLst>
                <a:ext uri="{FF2B5EF4-FFF2-40B4-BE49-F238E27FC236}">
                  <a16:creationId xmlns:a16="http://schemas.microsoft.com/office/drawing/2014/main" xmlns="" id="{74583796-5F3D-8B36-5F0F-4F774B7A5025}"/>
                </a:ext>
              </a:extLst>
            </p:cNvPr>
            <p:cNvSpPr/>
            <p:nvPr/>
          </p:nvSpPr>
          <p:spPr>
            <a:xfrm>
              <a:off x="3334836" y="2988245"/>
              <a:ext cx="85995" cy="59483"/>
            </a:xfrm>
            <a:custGeom>
              <a:avLst/>
              <a:gdLst/>
              <a:ahLst/>
              <a:cxnLst/>
              <a:rect l="l" t="t" r="r" b="b"/>
              <a:pathLst>
                <a:path w="373" h="258" extrusionOk="0">
                  <a:moveTo>
                    <a:pt x="71" y="0"/>
                  </a:moveTo>
                  <a:cubicBezTo>
                    <a:pt x="60" y="0"/>
                    <a:pt x="60" y="0"/>
                    <a:pt x="46" y="11"/>
                  </a:cubicBezTo>
                  <a:cubicBezTo>
                    <a:pt x="23" y="11"/>
                    <a:pt x="12" y="11"/>
                    <a:pt x="12" y="22"/>
                  </a:cubicBezTo>
                  <a:cubicBezTo>
                    <a:pt x="1" y="36"/>
                    <a:pt x="1" y="59"/>
                    <a:pt x="12" y="70"/>
                  </a:cubicBezTo>
                  <a:cubicBezTo>
                    <a:pt x="12" y="81"/>
                    <a:pt x="12" y="81"/>
                    <a:pt x="23" y="92"/>
                  </a:cubicBezTo>
                  <a:cubicBezTo>
                    <a:pt x="23" y="106"/>
                    <a:pt x="34" y="106"/>
                    <a:pt x="23" y="118"/>
                  </a:cubicBezTo>
                  <a:cubicBezTo>
                    <a:pt x="23" y="129"/>
                    <a:pt x="12" y="140"/>
                    <a:pt x="1" y="151"/>
                  </a:cubicBezTo>
                  <a:lnTo>
                    <a:pt x="1" y="162"/>
                  </a:lnTo>
                  <a:cubicBezTo>
                    <a:pt x="12" y="187"/>
                    <a:pt x="12" y="199"/>
                    <a:pt x="12" y="210"/>
                  </a:cubicBezTo>
                  <a:cubicBezTo>
                    <a:pt x="34" y="232"/>
                    <a:pt x="60" y="246"/>
                    <a:pt x="93" y="257"/>
                  </a:cubicBezTo>
                  <a:cubicBezTo>
                    <a:pt x="115" y="257"/>
                    <a:pt x="141" y="246"/>
                    <a:pt x="163" y="232"/>
                  </a:cubicBezTo>
                  <a:cubicBezTo>
                    <a:pt x="185" y="221"/>
                    <a:pt x="199" y="210"/>
                    <a:pt x="199" y="199"/>
                  </a:cubicBezTo>
                  <a:cubicBezTo>
                    <a:pt x="211" y="187"/>
                    <a:pt x="211" y="187"/>
                    <a:pt x="222" y="176"/>
                  </a:cubicBezTo>
                  <a:cubicBezTo>
                    <a:pt x="222" y="162"/>
                    <a:pt x="244" y="151"/>
                    <a:pt x="255" y="140"/>
                  </a:cubicBezTo>
                  <a:lnTo>
                    <a:pt x="292" y="140"/>
                  </a:lnTo>
                  <a:cubicBezTo>
                    <a:pt x="303" y="140"/>
                    <a:pt x="314" y="151"/>
                    <a:pt x="325" y="151"/>
                  </a:cubicBezTo>
                  <a:cubicBezTo>
                    <a:pt x="339" y="151"/>
                    <a:pt x="350" y="151"/>
                    <a:pt x="362" y="140"/>
                  </a:cubicBezTo>
                  <a:cubicBezTo>
                    <a:pt x="373" y="140"/>
                    <a:pt x="373" y="118"/>
                    <a:pt x="373" y="106"/>
                  </a:cubicBezTo>
                  <a:lnTo>
                    <a:pt x="350" y="106"/>
                  </a:lnTo>
                  <a:cubicBezTo>
                    <a:pt x="303" y="81"/>
                    <a:pt x="269" y="48"/>
                    <a:pt x="211" y="36"/>
                  </a:cubicBezTo>
                  <a:cubicBezTo>
                    <a:pt x="199" y="36"/>
                    <a:pt x="185" y="36"/>
                    <a:pt x="174" y="48"/>
                  </a:cubicBezTo>
                  <a:lnTo>
                    <a:pt x="174" y="59"/>
                  </a:lnTo>
                  <a:lnTo>
                    <a:pt x="152" y="59"/>
                  </a:lnTo>
                  <a:cubicBezTo>
                    <a:pt x="141" y="48"/>
                    <a:pt x="141" y="48"/>
                    <a:pt x="129" y="36"/>
                  </a:cubicBezTo>
                  <a:cubicBezTo>
                    <a:pt x="115" y="22"/>
                    <a:pt x="104" y="11"/>
                    <a:pt x="9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8" name="Google Shape;226;p17">
              <a:extLst>
                <a:ext uri="{FF2B5EF4-FFF2-40B4-BE49-F238E27FC236}">
                  <a16:creationId xmlns:a16="http://schemas.microsoft.com/office/drawing/2014/main" xmlns="" id="{DEE61CC2-36D1-FFE0-19F6-69D4E0BEA80A}"/>
                </a:ext>
              </a:extLst>
            </p:cNvPr>
            <p:cNvSpPr/>
            <p:nvPr/>
          </p:nvSpPr>
          <p:spPr>
            <a:xfrm>
              <a:off x="3329072" y="2982942"/>
              <a:ext cx="97062" cy="69858"/>
            </a:xfrm>
            <a:custGeom>
              <a:avLst/>
              <a:gdLst/>
              <a:ahLst/>
              <a:cxnLst/>
              <a:rect l="l" t="t" r="r" b="b"/>
              <a:pathLst>
                <a:path w="421" h="303" extrusionOk="0">
                  <a:moveTo>
                    <a:pt x="107" y="45"/>
                  </a:moveTo>
                  <a:cubicBezTo>
                    <a:pt x="118" y="59"/>
                    <a:pt x="129" y="71"/>
                    <a:pt x="140" y="82"/>
                  </a:cubicBezTo>
                  <a:cubicBezTo>
                    <a:pt x="140" y="82"/>
                    <a:pt x="154" y="93"/>
                    <a:pt x="166" y="93"/>
                  </a:cubicBezTo>
                  <a:cubicBezTo>
                    <a:pt x="166" y="104"/>
                    <a:pt x="177" y="104"/>
                    <a:pt x="188" y="104"/>
                  </a:cubicBezTo>
                  <a:cubicBezTo>
                    <a:pt x="188" y="104"/>
                    <a:pt x="199" y="104"/>
                    <a:pt x="210" y="93"/>
                  </a:cubicBezTo>
                  <a:lnTo>
                    <a:pt x="224" y="82"/>
                  </a:lnTo>
                  <a:lnTo>
                    <a:pt x="236" y="82"/>
                  </a:lnTo>
                  <a:cubicBezTo>
                    <a:pt x="258" y="82"/>
                    <a:pt x="269" y="93"/>
                    <a:pt x="294" y="104"/>
                  </a:cubicBezTo>
                  <a:cubicBezTo>
                    <a:pt x="316" y="115"/>
                    <a:pt x="337" y="138"/>
                    <a:pt x="370" y="150"/>
                  </a:cubicBezTo>
                  <a:lnTo>
                    <a:pt x="370" y="150"/>
                  </a:lnTo>
                  <a:cubicBezTo>
                    <a:pt x="367" y="152"/>
                    <a:pt x="364" y="152"/>
                    <a:pt x="364" y="152"/>
                  </a:cubicBezTo>
                  <a:lnTo>
                    <a:pt x="350" y="152"/>
                  </a:lnTo>
                  <a:cubicBezTo>
                    <a:pt x="339" y="152"/>
                    <a:pt x="328" y="141"/>
                    <a:pt x="317" y="141"/>
                  </a:cubicBezTo>
                  <a:lnTo>
                    <a:pt x="294" y="141"/>
                  </a:lnTo>
                  <a:cubicBezTo>
                    <a:pt x="294" y="141"/>
                    <a:pt x="280" y="141"/>
                    <a:pt x="280" y="152"/>
                  </a:cubicBezTo>
                  <a:cubicBezTo>
                    <a:pt x="258" y="152"/>
                    <a:pt x="236" y="163"/>
                    <a:pt x="224" y="185"/>
                  </a:cubicBezTo>
                  <a:cubicBezTo>
                    <a:pt x="210" y="199"/>
                    <a:pt x="210" y="210"/>
                    <a:pt x="210" y="210"/>
                  </a:cubicBezTo>
                  <a:cubicBezTo>
                    <a:pt x="199" y="222"/>
                    <a:pt x="188" y="222"/>
                    <a:pt x="177" y="233"/>
                  </a:cubicBezTo>
                  <a:cubicBezTo>
                    <a:pt x="166" y="244"/>
                    <a:pt x="140" y="255"/>
                    <a:pt x="118" y="255"/>
                  </a:cubicBezTo>
                  <a:cubicBezTo>
                    <a:pt x="96" y="255"/>
                    <a:pt x="71" y="244"/>
                    <a:pt x="59" y="222"/>
                  </a:cubicBezTo>
                  <a:cubicBezTo>
                    <a:pt x="59" y="210"/>
                    <a:pt x="48" y="199"/>
                    <a:pt x="48" y="185"/>
                  </a:cubicBezTo>
                  <a:lnTo>
                    <a:pt x="48" y="174"/>
                  </a:lnTo>
                  <a:lnTo>
                    <a:pt x="59" y="174"/>
                  </a:lnTo>
                  <a:cubicBezTo>
                    <a:pt x="59" y="163"/>
                    <a:pt x="71" y="163"/>
                    <a:pt x="71" y="152"/>
                  </a:cubicBezTo>
                  <a:lnTo>
                    <a:pt x="71" y="141"/>
                  </a:lnTo>
                  <a:lnTo>
                    <a:pt x="71" y="104"/>
                  </a:lnTo>
                  <a:cubicBezTo>
                    <a:pt x="59" y="93"/>
                    <a:pt x="48" y="93"/>
                    <a:pt x="48" y="82"/>
                  </a:cubicBezTo>
                  <a:lnTo>
                    <a:pt x="48" y="71"/>
                  </a:lnTo>
                  <a:lnTo>
                    <a:pt x="48" y="59"/>
                  </a:lnTo>
                  <a:lnTo>
                    <a:pt x="71" y="59"/>
                  </a:lnTo>
                  <a:cubicBezTo>
                    <a:pt x="85" y="45"/>
                    <a:pt x="85" y="45"/>
                    <a:pt x="96" y="45"/>
                  </a:cubicBezTo>
                  <a:close/>
                  <a:moveTo>
                    <a:pt x="71" y="1"/>
                  </a:moveTo>
                  <a:lnTo>
                    <a:pt x="59" y="12"/>
                  </a:lnTo>
                  <a:lnTo>
                    <a:pt x="37" y="12"/>
                  </a:lnTo>
                  <a:cubicBezTo>
                    <a:pt x="37" y="23"/>
                    <a:pt x="26" y="23"/>
                    <a:pt x="15" y="34"/>
                  </a:cubicBezTo>
                  <a:cubicBezTo>
                    <a:pt x="1" y="45"/>
                    <a:pt x="1" y="59"/>
                    <a:pt x="1" y="71"/>
                  </a:cubicBezTo>
                  <a:cubicBezTo>
                    <a:pt x="1" y="82"/>
                    <a:pt x="1" y="93"/>
                    <a:pt x="15" y="104"/>
                  </a:cubicBezTo>
                  <a:cubicBezTo>
                    <a:pt x="15" y="115"/>
                    <a:pt x="26" y="129"/>
                    <a:pt x="26" y="129"/>
                  </a:cubicBezTo>
                  <a:lnTo>
                    <a:pt x="26" y="141"/>
                  </a:lnTo>
                  <a:cubicBezTo>
                    <a:pt x="26" y="141"/>
                    <a:pt x="15" y="152"/>
                    <a:pt x="15" y="163"/>
                  </a:cubicBezTo>
                  <a:lnTo>
                    <a:pt x="1" y="174"/>
                  </a:lnTo>
                  <a:lnTo>
                    <a:pt x="1" y="185"/>
                  </a:lnTo>
                  <a:cubicBezTo>
                    <a:pt x="15" y="210"/>
                    <a:pt x="15" y="233"/>
                    <a:pt x="26" y="244"/>
                  </a:cubicBezTo>
                  <a:cubicBezTo>
                    <a:pt x="37" y="280"/>
                    <a:pt x="71" y="292"/>
                    <a:pt x="107" y="303"/>
                  </a:cubicBezTo>
                  <a:lnTo>
                    <a:pt x="118" y="303"/>
                  </a:lnTo>
                  <a:cubicBezTo>
                    <a:pt x="154" y="303"/>
                    <a:pt x="177" y="292"/>
                    <a:pt x="199" y="269"/>
                  </a:cubicBezTo>
                  <a:cubicBezTo>
                    <a:pt x="224" y="269"/>
                    <a:pt x="236" y="255"/>
                    <a:pt x="247" y="233"/>
                  </a:cubicBezTo>
                  <a:cubicBezTo>
                    <a:pt x="258" y="222"/>
                    <a:pt x="258" y="210"/>
                    <a:pt x="258" y="210"/>
                  </a:cubicBezTo>
                  <a:cubicBezTo>
                    <a:pt x="269" y="199"/>
                    <a:pt x="280" y="199"/>
                    <a:pt x="294" y="185"/>
                  </a:cubicBezTo>
                  <a:lnTo>
                    <a:pt x="317" y="185"/>
                  </a:lnTo>
                  <a:cubicBezTo>
                    <a:pt x="328" y="185"/>
                    <a:pt x="339" y="199"/>
                    <a:pt x="350" y="199"/>
                  </a:cubicBezTo>
                  <a:lnTo>
                    <a:pt x="364" y="199"/>
                  </a:lnTo>
                  <a:cubicBezTo>
                    <a:pt x="375" y="199"/>
                    <a:pt x="387" y="199"/>
                    <a:pt x="398" y="185"/>
                  </a:cubicBezTo>
                  <a:cubicBezTo>
                    <a:pt x="409" y="174"/>
                    <a:pt x="420" y="163"/>
                    <a:pt x="420" y="141"/>
                  </a:cubicBezTo>
                  <a:cubicBezTo>
                    <a:pt x="420" y="141"/>
                    <a:pt x="420" y="129"/>
                    <a:pt x="409" y="115"/>
                  </a:cubicBezTo>
                  <a:cubicBezTo>
                    <a:pt x="398" y="104"/>
                    <a:pt x="387" y="104"/>
                    <a:pt x="387" y="104"/>
                  </a:cubicBezTo>
                  <a:cubicBezTo>
                    <a:pt x="364" y="93"/>
                    <a:pt x="339" y="82"/>
                    <a:pt x="317" y="71"/>
                  </a:cubicBezTo>
                  <a:cubicBezTo>
                    <a:pt x="294" y="59"/>
                    <a:pt x="269" y="45"/>
                    <a:pt x="236" y="34"/>
                  </a:cubicBezTo>
                  <a:cubicBezTo>
                    <a:pt x="224" y="34"/>
                    <a:pt x="199" y="34"/>
                    <a:pt x="188" y="45"/>
                  </a:cubicBezTo>
                  <a:lnTo>
                    <a:pt x="180" y="56"/>
                  </a:lnTo>
                  <a:lnTo>
                    <a:pt x="180" y="56"/>
                  </a:lnTo>
                  <a:cubicBezTo>
                    <a:pt x="178" y="53"/>
                    <a:pt x="177" y="50"/>
                    <a:pt x="177" y="45"/>
                  </a:cubicBezTo>
                  <a:cubicBezTo>
                    <a:pt x="166" y="34"/>
                    <a:pt x="140" y="23"/>
                    <a:pt x="129" y="12"/>
                  </a:cubicBezTo>
                  <a:cubicBezTo>
                    <a:pt x="118" y="1"/>
                    <a:pt x="107" y="1"/>
                    <a:pt x="10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9" name="Google Shape;227;p17">
              <a:extLst>
                <a:ext uri="{FF2B5EF4-FFF2-40B4-BE49-F238E27FC236}">
                  <a16:creationId xmlns:a16="http://schemas.microsoft.com/office/drawing/2014/main" xmlns="" id="{625A348D-DF81-E9B7-DACA-A91A76D66BF9}"/>
                </a:ext>
              </a:extLst>
            </p:cNvPr>
            <p:cNvSpPr/>
            <p:nvPr/>
          </p:nvSpPr>
          <p:spPr>
            <a:xfrm>
              <a:off x="3289187" y="3021906"/>
              <a:ext cx="37580" cy="44497"/>
            </a:xfrm>
            <a:custGeom>
              <a:avLst/>
              <a:gdLst/>
              <a:ahLst/>
              <a:cxnLst/>
              <a:rect l="l" t="t" r="r" b="b"/>
              <a:pathLst>
                <a:path w="163" h="193" extrusionOk="0">
                  <a:moveTo>
                    <a:pt x="58" y="0"/>
                  </a:moveTo>
                  <a:cubicBezTo>
                    <a:pt x="54" y="0"/>
                    <a:pt x="51" y="2"/>
                    <a:pt x="48" y="5"/>
                  </a:cubicBezTo>
                  <a:cubicBezTo>
                    <a:pt x="34" y="5"/>
                    <a:pt x="23" y="5"/>
                    <a:pt x="23" y="16"/>
                  </a:cubicBezTo>
                  <a:cubicBezTo>
                    <a:pt x="11" y="16"/>
                    <a:pt x="11" y="16"/>
                    <a:pt x="11" y="30"/>
                  </a:cubicBezTo>
                  <a:cubicBezTo>
                    <a:pt x="0" y="30"/>
                    <a:pt x="0" y="41"/>
                    <a:pt x="0" y="41"/>
                  </a:cubicBezTo>
                  <a:cubicBezTo>
                    <a:pt x="0" y="64"/>
                    <a:pt x="11" y="86"/>
                    <a:pt x="23" y="100"/>
                  </a:cubicBezTo>
                  <a:cubicBezTo>
                    <a:pt x="23" y="100"/>
                    <a:pt x="34" y="100"/>
                    <a:pt x="34" y="111"/>
                  </a:cubicBezTo>
                  <a:lnTo>
                    <a:pt x="34" y="123"/>
                  </a:lnTo>
                  <a:lnTo>
                    <a:pt x="34" y="170"/>
                  </a:lnTo>
                  <a:lnTo>
                    <a:pt x="34" y="181"/>
                  </a:lnTo>
                  <a:lnTo>
                    <a:pt x="48" y="181"/>
                  </a:lnTo>
                  <a:cubicBezTo>
                    <a:pt x="59" y="192"/>
                    <a:pt x="59" y="192"/>
                    <a:pt x="70" y="192"/>
                  </a:cubicBezTo>
                  <a:lnTo>
                    <a:pt x="104" y="192"/>
                  </a:lnTo>
                  <a:cubicBezTo>
                    <a:pt x="118" y="181"/>
                    <a:pt x="129" y="181"/>
                    <a:pt x="140" y="170"/>
                  </a:cubicBezTo>
                  <a:cubicBezTo>
                    <a:pt x="151" y="170"/>
                    <a:pt x="151" y="156"/>
                    <a:pt x="162" y="145"/>
                  </a:cubicBezTo>
                  <a:lnTo>
                    <a:pt x="162" y="123"/>
                  </a:lnTo>
                  <a:cubicBezTo>
                    <a:pt x="162" y="100"/>
                    <a:pt x="151" y="75"/>
                    <a:pt x="129" y="75"/>
                  </a:cubicBezTo>
                  <a:cubicBezTo>
                    <a:pt x="118" y="64"/>
                    <a:pt x="104" y="64"/>
                    <a:pt x="104" y="64"/>
                  </a:cubicBezTo>
                  <a:cubicBezTo>
                    <a:pt x="93" y="53"/>
                    <a:pt x="93" y="30"/>
                    <a:pt x="81" y="16"/>
                  </a:cubicBezTo>
                  <a:cubicBezTo>
                    <a:pt x="73" y="8"/>
                    <a:pt x="66" y="0"/>
                    <a:pt x="5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" name="Google Shape;228;p17">
              <a:extLst>
                <a:ext uri="{FF2B5EF4-FFF2-40B4-BE49-F238E27FC236}">
                  <a16:creationId xmlns:a16="http://schemas.microsoft.com/office/drawing/2014/main" xmlns="" id="{F6A52473-2B72-72D7-E5B0-31AE5629ED8B}"/>
                </a:ext>
              </a:extLst>
            </p:cNvPr>
            <p:cNvSpPr/>
            <p:nvPr/>
          </p:nvSpPr>
          <p:spPr>
            <a:xfrm>
              <a:off x="3283884" y="3017756"/>
              <a:ext cx="48646" cy="53719"/>
            </a:xfrm>
            <a:custGeom>
              <a:avLst/>
              <a:gdLst/>
              <a:ahLst/>
              <a:cxnLst/>
              <a:rect l="l" t="t" r="r" b="b"/>
              <a:pathLst>
                <a:path w="211" h="233" extrusionOk="0">
                  <a:moveTo>
                    <a:pt x="82" y="48"/>
                  </a:moveTo>
                  <a:cubicBezTo>
                    <a:pt x="82" y="48"/>
                    <a:pt x="93" y="48"/>
                    <a:pt x="93" y="59"/>
                  </a:cubicBezTo>
                  <a:lnTo>
                    <a:pt x="93" y="82"/>
                  </a:lnTo>
                  <a:cubicBezTo>
                    <a:pt x="104" y="82"/>
                    <a:pt x="104" y="93"/>
                    <a:pt x="116" y="93"/>
                  </a:cubicBezTo>
                  <a:cubicBezTo>
                    <a:pt x="116" y="104"/>
                    <a:pt x="127" y="104"/>
                    <a:pt x="127" y="104"/>
                  </a:cubicBezTo>
                  <a:lnTo>
                    <a:pt x="141" y="104"/>
                  </a:lnTo>
                  <a:lnTo>
                    <a:pt x="152" y="118"/>
                  </a:lnTo>
                  <a:cubicBezTo>
                    <a:pt x="163" y="129"/>
                    <a:pt x="163" y="129"/>
                    <a:pt x="163" y="141"/>
                  </a:cubicBezTo>
                  <a:lnTo>
                    <a:pt x="163" y="152"/>
                  </a:lnTo>
                  <a:cubicBezTo>
                    <a:pt x="163" y="163"/>
                    <a:pt x="152" y="163"/>
                    <a:pt x="152" y="163"/>
                  </a:cubicBezTo>
                  <a:cubicBezTo>
                    <a:pt x="141" y="174"/>
                    <a:pt x="127" y="188"/>
                    <a:pt x="116" y="188"/>
                  </a:cubicBezTo>
                  <a:lnTo>
                    <a:pt x="82" y="188"/>
                  </a:lnTo>
                  <a:lnTo>
                    <a:pt x="82" y="174"/>
                  </a:lnTo>
                  <a:lnTo>
                    <a:pt x="82" y="141"/>
                  </a:lnTo>
                  <a:lnTo>
                    <a:pt x="82" y="129"/>
                  </a:lnTo>
                  <a:lnTo>
                    <a:pt x="82" y="118"/>
                  </a:lnTo>
                  <a:cubicBezTo>
                    <a:pt x="82" y="104"/>
                    <a:pt x="71" y="104"/>
                    <a:pt x="71" y="104"/>
                  </a:cubicBezTo>
                  <a:lnTo>
                    <a:pt x="57" y="93"/>
                  </a:lnTo>
                  <a:lnTo>
                    <a:pt x="57" y="82"/>
                  </a:lnTo>
                  <a:cubicBezTo>
                    <a:pt x="57" y="82"/>
                    <a:pt x="46" y="71"/>
                    <a:pt x="46" y="59"/>
                  </a:cubicBezTo>
                  <a:lnTo>
                    <a:pt x="57" y="48"/>
                  </a:lnTo>
                  <a:close/>
                  <a:moveTo>
                    <a:pt x="71" y="1"/>
                  </a:moveTo>
                  <a:cubicBezTo>
                    <a:pt x="46" y="1"/>
                    <a:pt x="34" y="12"/>
                    <a:pt x="23" y="12"/>
                  </a:cubicBezTo>
                  <a:cubicBezTo>
                    <a:pt x="23" y="23"/>
                    <a:pt x="12" y="23"/>
                    <a:pt x="12" y="34"/>
                  </a:cubicBezTo>
                  <a:cubicBezTo>
                    <a:pt x="1" y="48"/>
                    <a:pt x="1" y="59"/>
                    <a:pt x="1" y="59"/>
                  </a:cubicBezTo>
                  <a:cubicBezTo>
                    <a:pt x="1" y="71"/>
                    <a:pt x="12" y="82"/>
                    <a:pt x="12" y="93"/>
                  </a:cubicBezTo>
                  <a:cubicBezTo>
                    <a:pt x="12" y="104"/>
                    <a:pt x="23" y="118"/>
                    <a:pt x="34" y="129"/>
                  </a:cubicBezTo>
                  <a:lnTo>
                    <a:pt x="34" y="141"/>
                  </a:lnTo>
                  <a:lnTo>
                    <a:pt x="34" y="174"/>
                  </a:lnTo>
                  <a:lnTo>
                    <a:pt x="34" y="188"/>
                  </a:lnTo>
                  <a:lnTo>
                    <a:pt x="34" y="199"/>
                  </a:lnTo>
                  <a:lnTo>
                    <a:pt x="46" y="210"/>
                  </a:lnTo>
                  <a:lnTo>
                    <a:pt x="46" y="222"/>
                  </a:lnTo>
                  <a:lnTo>
                    <a:pt x="57" y="222"/>
                  </a:lnTo>
                  <a:cubicBezTo>
                    <a:pt x="57" y="222"/>
                    <a:pt x="82" y="233"/>
                    <a:pt x="93" y="233"/>
                  </a:cubicBezTo>
                  <a:lnTo>
                    <a:pt x="141" y="233"/>
                  </a:lnTo>
                  <a:cubicBezTo>
                    <a:pt x="152" y="222"/>
                    <a:pt x="163" y="210"/>
                    <a:pt x="174" y="210"/>
                  </a:cubicBezTo>
                  <a:cubicBezTo>
                    <a:pt x="185" y="199"/>
                    <a:pt x="197" y="188"/>
                    <a:pt x="211" y="174"/>
                  </a:cubicBezTo>
                  <a:lnTo>
                    <a:pt x="211" y="152"/>
                  </a:lnTo>
                  <a:lnTo>
                    <a:pt x="211" y="129"/>
                  </a:lnTo>
                  <a:cubicBezTo>
                    <a:pt x="211" y="118"/>
                    <a:pt x="197" y="104"/>
                    <a:pt x="197" y="93"/>
                  </a:cubicBezTo>
                  <a:cubicBezTo>
                    <a:pt x="185" y="82"/>
                    <a:pt x="174" y="71"/>
                    <a:pt x="163" y="71"/>
                  </a:cubicBezTo>
                  <a:cubicBezTo>
                    <a:pt x="152" y="59"/>
                    <a:pt x="152" y="59"/>
                    <a:pt x="141" y="59"/>
                  </a:cubicBezTo>
                  <a:lnTo>
                    <a:pt x="141" y="48"/>
                  </a:lnTo>
                  <a:cubicBezTo>
                    <a:pt x="127" y="34"/>
                    <a:pt x="127" y="23"/>
                    <a:pt x="127" y="12"/>
                  </a:cubicBezTo>
                  <a:cubicBezTo>
                    <a:pt x="116" y="1"/>
                    <a:pt x="93" y="1"/>
                    <a:pt x="8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" name="Google Shape;229;p17">
              <a:extLst>
                <a:ext uri="{FF2B5EF4-FFF2-40B4-BE49-F238E27FC236}">
                  <a16:creationId xmlns:a16="http://schemas.microsoft.com/office/drawing/2014/main" xmlns="" id="{651C4292-AFE7-DF9D-1261-A478B5983B00}"/>
                </a:ext>
              </a:extLst>
            </p:cNvPr>
            <p:cNvSpPr/>
            <p:nvPr/>
          </p:nvSpPr>
          <p:spPr>
            <a:xfrm>
              <a:off x="3441812" y="3031359"/>
              <a:ext cx="13833" cy="13833"/>
            </a:xfrm>
            <a:custGeom>
              <a:avLst/>
              <a:gdLst/>
              <a:ahLst/>
              <a:cxnLst/>
              <a:rect l="l" t="t" r="r" b="b"/>
              <a:pathLst>
                <a:path w="60" h="60" extrusionOk="0">
                  <a:moveTo>
                    <a:pt x="1" y="0"/>
                  </a:moveTo>
                  <a:lnTo>
                    <a:pt x="1" y="23"/>
                  </a:lnTo>
                  <a:cubicBezTo>
                    <a:pt x="1" y="34"/>
                    <a:pt x="1" y="45"/>
                    <a:pt x="15" y="59"/>
                  </a:cubicBezTo>
                  <a:lnTo>
                    <a:pt x="49" y="59"/>
                  </a:lnTo>
                  <a:lnTo>
                    <a:pt x="60" y="45"/>
                  </a:lnTo>
                  <a:lnTo>
                    <a:pt x="60" y="34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2" name="Google Shape;230;p17">
              <a:extLst>
                <a:ext uri="{FF2B5EF4-FFF2-40B4-BE49-F238E27FC236}">
                  <a16:creationId xmlns:a16="http://schemas.microsoft.com/office/drawing/2014/main" xmlns="" id="{5324AAAA-0D75-D245-2096-C47649C00983}"/>
                </a:ext>
              </a:extLst>
            </p:cNvPr>
            <p:cNvSpPr/>
            <p:nvPr/>
          </p:nvSpPr>
          <p:spPr>
            <a:xfrm>
              <a:off x="3436740" y="3025595"/>
              <a:ext cx="24669" cy="24669"/>
            </a:xfrm>
            <a:custGeom>
              <a:avLst/>
              <a:gdLst/>
              <a:ahLst/>
              <a:cxnLst/>
              <a:rect l="l" t="t" r="r" b="b"/>
              <a:pathLst>
                <a:path w="107" h="107" extrusionOk="0">
                  <a:moveTo>
                    <a:pt x="59" y="48"/>
                  </a:moveTo>
                  <a:lnTo>
                    <a:pt x="59" y="59"/>
                  </a:lnTo>
                  <a:lnTo>
                    <a:pt x="48" y="59"/>
                  </a:lnTo>
                  <a:lnTo>
                    <a:pt x="48" y="48"/>
                  </a:lnTo>
                  <a:close/>
                  <a:moveTo>
                    <a:pt x="23" y="0"/>
                  </a:moveTo>
                  <a:lnTo>
                    <a:pt x="1" y="14"/>
                  </a:lnTo>
                  <a:lnTo>
                    <a:pt x="1" y="25"/>
                  </a:lnTo>
                  <a:lnTo>
                    <a:pt x="1" y="48"/>
                  </a:lnTo>
                  <a:cubicBezTo>
                    <a:pt x="1" y="70"/>
                    <a:pt x="12" y="95"/>
                    <a:pt x="23" y="95"/>
                  </a:cubicBezTo>
                  <a:cubicBezTo>
                    <a:pt x="37" y="107"/>
                    <a:pt x="48" y="107"/>
                    <a:pt x="59" y="107"/>
                  </a:cubicBezTo>
                  <a:cubicBezTo>
                    <a:pt x="71" y="107"/>
                    <a:pt x="71" y="107"/>
                    <a:pt x="82" y="95"/>
                  </a:cubicBezTo>
                  <a:lnTo>
                    <a:pt x="93" y="95"/>
                  </a:lnTo>
                  <a:lnTo>
                    <a:pt x="93" y="84"/>
                  </a:lnTo>
                  <a:lnTo>
                    <a:pt x="107" y="84"/>
                  </a:lnTo>
                  <a:lnTo>
                    <a:pt x="107" y="59"/>
                  </a:lnTo>
                  <a:lnTo>
                    <a:pt x="107" y="48"/>
                  </a:lnTo>
                  <a:cubicBezTo>
                    <a:pt x="107" y="37"/>
                    <a:pt x="107" y="25"/>
                    <a:pt x="93" y="14"/>
                  </a:cubicBezTo>
                  <a:cubicBezTo>
                    <a:pt x="82" y="0"/>
                    <a:pt x="71" y="0"/>
                    <a:pt x="7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" name="Google Shape;231;p17">
              <a:extLst>
                <a:ext uri="{FF2B5EF4-FFF2-40B4-BE49-F238E27FC236}">
                  <a16:creationId xmlns:a16="http://schemas.microsoft.com/office/drawing/2014/main" xmlns="" id="{9EA7829F-146E-89BD-CC0A-22DE92D09B38}"/>
                </a:ext>
              </a:extLst>
            </p:cNvPr>
            <p:cNvSpPr/>
            <p:nvPr/>
          </p:nvSpPr>
          <p:spPr>
            <a:xfrm>
              <a:off x="3135640" y="2982942"/>
              <a:ext cx="64785" cy="85997"/>
            </a:xfrm>
            <a:custGeom>
              <a:avLst/>
              <a:gdLst/>
              <a:ahLst/>
              <a:cxnLst/>
              <a:rect l="l" t="t" r="r" b="b"/>
              <a:pathLst>
                <a:path w="281" h="373" extrusionOk="0">
                  <a:moveTo>
                    <a:pt x="85" y="1"/>
                  </a:moveTo>
                  <a:cubicBezTo>
                    <a:pt x="71" y="12"/>
                    <a:pt x="71" y="12"/>
                    <a:pt x="71" y="23"/>
                  </a:cubicBezTo>
                  <a:cubicBezTo>
                    <a:pt x="71" y="34"/>
                    <a:pt x="85" y="45"/>
                    <a:pt x="85" y="45"/>
                  </a:cubicBezTo>
                  <a:cubicBezTo>
                    <a:pt x="96" y="93"/>
                    <a:pt x="96" y="141"/>
                    <a:pt x="71" y="163"/>
                  </a:cubicBezTo>
                  <a:cubicBezTo>
                    <a:pt x="59" y="185"/>
                    <a:pt x="37" y="210"/>
                    <a:pt x="26" y="233"/>
                  </a:cubicBezTo>
                  <a:cubicBezTo>
                    <a:pt x="1" y="269"/>
                    <a:pt x="15" y="314"/>
                    <a:pt x="48" y="350"/>
                  </a:cubicBezTo>
                  <a:lnTo>
                    <a:pt x="59" y="361"/>
                  </a:lnTo>
                  <a:cubicBezTo>
                    <a:pt x="71" y="361"/>
                    <a:pt x="85" y="373"/>
                    <a:pt x="96" y="373"/>
                  </a:cubicBezTo>
                  <a:cubicBezTo>
                    <a:pt x="118" y="373"/>
                    <a:pt x="141" y="373"/>
                    <a:pt x="166" y="361"/>
                  </a:cubicBezTo>
                  <a:cubicBezTo>
                    <a:pt x="199" y="339"/>
                    <a:pt x="210" y="303"/>
                    <a:pt x="236" y="292"/>
                  </a:cubicBezTo>
                  <a:cubicBezTo>
                    <a:pt x="247" y="280"/>
                    <a:pt x="269" y="269"/>
                    <a:pt x="280" y="255"/>
                  </a:cubicBezTo>
                  <a:cubicBezTo>
                    <a:pt x="280" y="244"/>
                    <a:pt x="280" y="222"/>
                    <a:pt x="269" y="210"/>
                  </a:cubicBezTo>
                  <a:cubicBezTo>
                    <a:pt x="258" y="185"/>
                    <a:pt x="247" y="174"/>
                    <a:pt x="236" y="163"/>
                  </a:cubicBezTo>
                  <a:cubicBezTo>
                    <a:pt x="224" y="141"/>
                    <a:pt x="224" y="104"/>
                    <a:pt x="224" y="82"/>
                  </a:cubicBezTo>
                  <a:cubicBezTo>
                    <a:pt x="210" y="59"/>
                    <a:pt x="188" y="34"/>
                    <a:pt x="166" y="23"/>
                  </a:cubicBezTo>
                  <a:cubicBezTo>
                    <a:pt x="155" y="12"/>
                    <a:pt x="129" y="1"/>
                    <a:pt x="10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4" name="Google Shape;232;p17">
              <a:extLst>
                <a:ext uri="{FF2B5EF4-FFF2-40B4-BE49-F238E27FC236}">
                  <a16:creationId xmlns:a16="http://schemas.microsoft.com/office/drawing/2014/main" xmlns="" id="{6651EECA-620B-16E2-B53B-EF76727D0210}"/>
                </a:ext>
              </a:extLst>
            </p:cNvPr>
            <p:cNvSpPr/>
            <p:nvPr/>
          </p:nvSpPr>
          <p:spPr>
            <a:xfrm>
              <a:off x="3133104" y="2977178"/>
              <a:ext cx="73084" cy="96833"/>
            </a:xfrm>
            <a:custGeom>
              <a:avLst/>
              <a:gdLst/>
              <a:ahLst/>
              <a:cxnLst/>
              <a:rect l="l" t="t" r="r" b="b"/>
              <a:pathLst>
                <a:path w="317" h="420" extrusionOk="0">
                  <a:moveTo>
                    <a:pt x="118" y="48"/>
                  </a:moveTo>
                  <a:cubicBezTo>
                    <a:pt x="129" y="48"/>
                    <a:pt x="152" y="59"/>
                    <a:pt x="166" y="70"/>
                  </a:cubicBezTo>
                  <a:cubicBezTo>
                    <a:pt x="188" y="84"/>
                    <a:pt x="199" y="96"/>
                    <a:pt x="210" y="118"/>
                  </a:cubicBezTo>
                  <a:lnTo>
                    <a:pt x="210" y="154"/>
                  </a:lnTo>
                  <a:cubicBezTo>
                    <a:pt x="221" y="166"/>
                    <a:pt x="221" y="177"/>
                    <a:pt x="221" y="199"/>
                  </a:cubicBezTo>
                  <a:cubicBezTo>
                    <a:pt x="235" y="224"/>
                    <a:pt x="258" y="235"/>
                    <a:pt x="258" y="247"/>
                  </a:cubicBezTo>
                  <a:cubicBezTo>
                    <a:pt x="269" y="247"/>
                    <a:pt x="269" y="258"/>
                    <a:pt x="269" y="269"/>
                  </a:cubicBezTo>
                  <a:cubicBezTo>
                    <a:pt x="269" y="269"/>
                    <a:pt x="269" y="280"/>
                    <a:pt x="258" y="280"/>
                  </a:cubicBezTo>
                  <a:cubicBezTo>
                    <a:pt x="258" y="280"/>
                    <a:pt x="247" y="280"/>
                    <a:pt x="235" y="294"/>
                  </a:cubicBezTo>
                  <a:cubicBezTo>
                    <a:pt x="221" y="305"/>
                    <a:pt x="210" y="317"/>
                    <a:pt x="199" y="328"/>
                  </a:cubicBezTo>
                  <a:cubicBezTo>
                    <a:pt x="188" y="339"/>
                    <a:pt x="177" y="350"/>
                    <a:pt x="166" y="364"/>
                  </a:cubicBezTo>
                  <a:cubicBezTo>
                    <a:pt x="152" y="375"/>
                    <a:pt x="140" y="375"/>
                    <a:pt x="118" y="375"/>
                  </a:cubicBezTo>
                  <a:lnTo>
                    <a:pt x="107" y="375"/>
                  </a:lnTo>
                  <a:cubicBezTo>
                    <a:pt x="96" y="375"/>
                    <a:pt x="96" y="375"/>
                    <a:pt x="82" y="364"/>
                  </a:cubicBezTo>
                  <a:lnTo>
                    <a:pt x="70" y="364"/>
                  </a:lnTo>
                  <a:cubicBezTo>
                    <a:pt x="59" y="339"/>
                    <a:pt x="48" y="317"/>
                    <a:pt x="48" y="294"/>
                  </a:cubicBezTo>
                  <a:cubicBezTo>
                    <a:pt x="48" y="280"/>
                    <a:pt x="48" y="269"/>
                    <a:pt x="59" y="269"/>
                  </a:cubicBezTo>
                  <a:cubicBezTo>
                    <a:pt x="59" y="247"/>
                    <a:pt x="82" y="235"/>
                    <a:pt x="107" y="210"/>
                  </a:cubicBezTo>
                  <a:cubicBezTo>
                    <a:pt x="118" y="188"/>
                    <a:pt x="129" y="154"/>
                    <a:pt x="129" y="118"/>
                  </a:cubicBezTo>
                  <a:cubicBezTo>
                    <a:pt x="129" y="107"/>
                    <a:pt x="129" y="84"/>
                    <a:pt x="118" y="59"/>
                  </a:cubicBezTo>
                  <a:cubicBezTo>
                    <a:pt x="107" y="59"/>
                    <a:pt x="107" y="48"/>
                    <a:pt x="107" y="48"/>
                  </a:cubicBezTo>
                  <a:close/>
                  <a:moveTo>
                    <a:pt x="70" y="1"/>
                  </a:moveTo>
                  <a:cubicBezTo>
                    <a:pt x="59" y="15"/>
                    <a:pt x="59" y="37"/>
                    <a:pt x="59" y="48"/>
                  </a:cubicBezTo>
                  <a:lnTo>
                    <a:pt x="59" y="59"/>
                  </a:lnTo>
                  <a:cubicBezTo>
                    <a:pt x="59" y="70"/>
                    <a:pt x="70" y="84"/>
                    <a:pt x="70" y="84"/>
                  </a:cubicBezTo>
                  <a:cubicBezTo>
                    <a:pt x="82" y="96"/>
                    <a:pt x="82" y="107"/>
                    <a:pt x="82" y="118"/>
                  </a:cubicBezTo>
                  <a:cubicBezTo>
                    <a:pt x="82" y="140"/>
                    <a:pt x="70" y="166"/>
                    <a:pt x="59" y="177"/>
                  </a:cubicBezTo>
                  <a:cubicBezTo>
                    <a:pt x="48" y="199"/>
                    <a:pt x="26" y="210"/>
                    <a:pt x="12" y="247"/>
                  </a:cubicBezTo>
                  <a:cubicBezTo>
                    <a:pt x="1" y="258"/>
                    <a:pt x="1" y="280"/>
                    <a:pt x="1" y="294"/>
                  </a:cubicBezTo>
                  <a:cubicBezTo>
                    <a:pt x="1" y="328"/>
                    <a:pt x="12" y="364"/>
                    <a:pt x="48" y="386"/>
                  </a:cubicBezTo>
                  <a:cubicBezTo>
                    <a:pt x="48" y="398"/>
                    <a:pt x="59" y="409"/>
                    <a:pt x="59" y="409"/>
                  </a:cubicBezTo>
                  <a:cubicBezTo>
                    <a:pt x="70" y="409"/>
                    <a:pt x="82" y="420"/>
                    <a:pt x="96" y="420"/>
                  </a:cubicBezTo>
                  <a:lnTo>
                    <a:pt x="118" y="420"/>
                  </a:lnTo>
                  <a:cubicBezTo>
                    <a:pt x="140" y="420"/>
                    <a:pt x="177" y="409"/>
                    <a:pt x="188" y="398"/>
                  </a:cubicBezTo>
                  <a:cubicBezTo>
                    <a:pt x="210" y="386"/>
                    <a:pt x="221" y="375"/>
                    <a:pt x="235" y="364"/>
                  </a:cubicBezTo>
                  <a:cubicBezTo>
                    <a:pt x="247" y="350"/>
                    <a:pt x="258" y="339"/>
                    <a:pt x="258" y="328"/>
                  </a:cubicBezTo>
                  <a:cubicBezTo>
                    <a:pt x="269" y="328"/>
                    <a:pt x="269" y="328"/>
                    <a:pt x="280" y="317"/>
                  </a:cubicBezTo>
                  <a:cubicBezTo>
                    <a:pt x="291" y="317"/>
                    <a:pt x="305" y="305"/>
                    <a:pt x="305" y="294"/>
                  </a:cubicBezTo>
                  <a:cubicBezTo>
                    <a:pt x="317" y="294"/>
                    <a:pt x="317" y="280"/>
                    <a:pt x="317" y="269"/>
                  </a:cubicBezTo>
                  <a:cubicBezTo>
                    <a:pt x="317" y="247"/>
                    <a:pt x="305" y="235"/>
                    <a:pt x="305" y="224"/>
                  </a:cubicBezTo>
                  <a:cubicBezTo>
                    <a:pt x="291" y="199"/>
                    <a:pt x="269" y="188"/>
                    <a:pt x="269" y="177"/>
                  </a:cubicBezTo>
                  <a:cubicBezTo>
                    <a:pt x="269" y="166"/>
                    <a:pt x="258" y="154"/>
                    <a:pt x="258" y="140"/>
                  </a:cubicBezTo>
                  <a:cubicBezTo>
                    <a:pt x="258" y="129"/>
                    <a:pt x="258" y="118"/>
                    <a:pt x="247" y="96"/>
                  </a:cubicBezTo>
                  <a:cubicBezTo>
                    <a:pt x="235" y="70"/>
                    <a:pt x="210" y="48"/>
                    <a:pt x="188" y="26"/>
                  </a:cubicBezTo>
                  <a:cubicBezTo>
                    <a:pt x="177" y="15"/>
                    <a:pt x="152" y="1"/>
                    <a:pt x="11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" name="Google Shape;233;p17">
              <a:extLst>
                <a:ext uri="{FF2B5EF4-FFF2-40B4-BE49-F238E27FC236}">
                  <a16:creationId xmlns:a16="http://schemas.microsoft.com/office/drawing/2014/main" xmlns="" id="{36820E47-7BB6-8DE4-A359-C7ABA17F9D09}"/>
                </a:ext>
              </a:extLst>
            </p:cNvPr>
            <p:cNvSpPr/>
            <p:nvPr/>
          </p:nvSpPr>
          <p:spPr>
            <a:xfrm>
              <a:off x="2996387" y="3093147"/>
              <a:ext cx="8069" cy="13142"/>
            </a:xfrm>
            <a:custGeom>
              <a:avLst/>
              <a:gdLst/>
              <a:ahLst/>
              <a:cxnLst/>
              <a:rect l="l" t="t" r="r" b="b"/>
              <a:pathLst>
                <a:path w="35" h="57" extrusionOk="0">
                  <a:moveTo>
                    <a:pt x="12" y="1"/>
                  </a:moveTo>
                  <a:cubicBezTo>
                    <a:pt x="1" y="1"/>
                    <a:pt x="1" y="12"/>
                    <a:pt x="1" y="12"/>
                  </a:cubicBezTo>
                  <a:lnTo>
                    <a:pt x="1" y="46"/>
                  </a:lnTo>
                  <a:lnTo>
                    <a:pt x="1" y="57"/>
                  </a:lnTo>
                  <a:lnTo>
                    <a:pt x="12" y="57"/>
                  </a:lnTo>
                  <a:cubicBezTo>
                    <a:pt x="12" y="57"/>
                    <a:pt x="23" y="57"/>
                    <a:pt x="23" y="46"/>
                  </a:cubicBezTo>
                  <a:cubicBezTo>
                    <a:pt x="34" y="34"/>
                    <a:pt x="34" y="23"/>
                    <a:pt x="34" y="12"/>
                  </a:cubicBezTo>
                  <a:lnTo>
                    <a:pt x="23" y="12"/>
                  </a:lnTo>
                  <a:cubicBezTo>
                    <a:pt x="23" y="12"/>
                    <a:pt x="23" y="1"/>
                    <a:pt x="1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6" name="Google Shape;234;p17">
              <a:extLst>
                <a:ext uri="{FF2B5EF4-FFF2-40B4-BE49-F238E27FC236}">
                  <a16:creationId xmlns:a16="http://schemas.microsoft.com/office/drawing/2014/main" xmlns="" id="{2FB5EF21-0644-D504-E240-7247C9C74755}"/>
                </a:ext>
              </a:extLst>
            </p:cNvPr>
            <p:cNvSpPr/>
            <p:nvPr/>
          </p:nvSpPr>
          <p:spPr>
            <a:xfrm>
              <a:off x="2990623" y="3087383"/>
              <a:ext cx="19597" cy="24669"/>
            </a:xfrm>
            <a:custGeom>
              <a:avLst/>
              <a:gdLst/>
              <a:ahLst/>
              <a:cxnLst/>
              <a:rect l="l" t="t" r="r" b="b"/>
              <a:pathLst>
                <a:path w="85" h="107" extrusionOk="0">
                  <a:moveTo>
                    <a:pt x="26" y="1"/>
                  </a:moveTo>
                  <a:cubicBezTo>
                    <a:pt x="15" y="1"/>
                    <a:pt x="15" y="12"/>
                    <a:pt x="1" y="26"/>
                  </a:cubicBezTo>
                  <a:lnTo>
                    <a:pt x="1" y="37"/>
                  </a:lnTo>
                  <a:lnTo>
                    <a:pt x="1" y="71"/>
                  </a:lnTo>
                  <a:lnTo>
                    <a:pt x="1" y="82"/>
                  </a:lnTo>
                  <a:cubicBezTo>
                    <a:pt x="1" y="82"/>
                    <a:pt x="1" y="96"/>
                    <a:pt x="15" y="96"/>
                  </a:cubicBezTo>
                  <a:lnTo>
                    <a:pt x="15" y="107"/>
                  </a:lnTo>
                  <a:lnTo>
                    <a:pt x="37" y="107"/>
                  </a:lnTo>
                  <a:cubicBezTo>
                    <a:pt x="48" y="107"/>
                    <a:pt x="59" y="96"/>
                    <a:pt x="71" y="82"/>
                  </a:cubicBezTo>
                  <a:cubicBezTo>
                    <a:pt x="84" y="71"/>
                    <a:pt x="84" y="59"/>
                    <a:pt x="84" y="48"/>
                  </a:cubicBezTo>
                  <a:lnTo>
                    <a:pt x="84" y="37"/>
                  </a:lnTo>
                  <a:lnTo>
                    <a:pt x="84" y="26"/>
                  </a:lnTo>
                  <a:lnTo>
                    <a:pt x="59" y="12"/>
                  </a:lnTo>
                  <a:lnTo>
                    <a:pt x="48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" name="Google Shape;235;p17">
              <a:extLst>
                <a:ext uri="{FF2B5EF4-FFF2-40B4-BE49-F238E27FC236}">
                  <a16:creationId xmlns:a16="http://schemas.microsoft.com/office/drawing/2014/main" xmlns="" id="{4F7D061B-9BEC-58B9-3920-5BF4D4A2F3BB}"/>
                </a:ext>
              </a:extLst>
            </p:cNvPr>
            <p:cNvSpPr/>
            <p:nvPr/>
          </p:nvSpPr>
          <p:spPr>
            <a:xfrm>
              <a:off x="3020364" y="3119661"/>
              <a:ext cx="24669" cy="16369"/>
            </a:xfrm>
            <a:custGeom>
              <a:avLst/>
              <a:gdLst/>
              <a:ahLst/>
              <a:cxnLst/>
              <a:rect l="l" t="t" r="r" b="b"/>
              <a:pathLst>
                <a:path w="107" h="71" extrusionOk="0">
                  <a:moveTo>
                    <a:pt x="11" y="1"/>
                  </a:moveTo>
                  <a:lnTo>
                    <a:pt x="11" y="12"/>
                  </a:lnTo>
                  <a:cubicBezTo>
                    <a:pt x="0" y="26"/>
                    <a:pt x="0" y="37"/>
                    <a:pt x="11" y="48"/>
                  </a:cubicBezTo>
                  <a:cubicBezTo>
                    <a:pt x="11" y="59"/>
                    <a:pt x="25" y="59"/>
                    <a:pt x="37" y="70"/>
                  </a:cubicBezTo>
                  <a:lnTo>
                    <a:pt x="95" y="70"/>
                  </a:lnTo>
                  <a:cubicBezTo>
                    <a:pt x="106" y="59"/>
                    <a:pt x="106" y="48"/>
                    <a:pt x="106" y="37"/>
                  </a:cubicBezTo>
                  <a:cubicBezTo>
                    <a:pt x="95" y="26"/>
                    <a:pt x="81" y="12"/>
                    <a:pt x="59" y="12"/>
                  </a:cubicBezTo>
                  <a:lnTo>
                    <a:pt x="59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8" name="Google Shape;236;p17">
              <a:extLst>
                <a:ext uri="{FF2B5EF4-FFF2-40B4-BE49-F238E27FC236}">
                  <a16:creationId xmlns:a16="http://schemas.microsoft.com/office/drawing/2014/main" xmlns="" id="{643C6111-C5B5-48E7-A5E4-60F724AD5F2E}"/>
                </a:ext>
              </a:extLst>
            </p:cNvPr>
            <p:cNvSpPr/>
            <p:nvPr/>
          </p:nvSpPr>
          <p:spPr>
            <a:xfrm>
              <a:off x="3015062" y="3114588"/>
              <a:ext cx="35044" cy="27205"/>
            </a:xfrm>
            <a:custGeom>
              <a:avLst/>
              <a:gdLst/>
              <a:ahLst/>
              <a:cxnLst/>
              <a:rect l="l" t="t" r="r" b="b"/>
              <a:pathLst>
                <a:path w="152" h="118" extrusionOk="0">
                  <a:moveTo>
                    <a:pt x="71" y="48"/>
                  </a:moveTo>
                  <a:cubicBezTo>
                    <a:pt x="78" y="55"/>
                    <a:pt x="91" y="63"/>
                    <a:pt x="102" y="70"/>
                  </a:cubicBezTo>
                  <a:lnTo>
                    <a:pt x="71" y="70"/>
                  </a:lnTo>
                  <a:lnTo>
                    <a:pt x="60" y="59"/>
                  </a:lnTo>
                  <a:lnTo>
                    <a:pt x="48" y="48"/>
                  </a:lnTo>
                  <a:close/>
                  <a:moveTo>
                    <a:pt x="23" y="0"/>
                  </a:moveTo>
                  <a:lnTo>
                    <a:pt x="23" y="11"/>
                  </a:lnTo>
                  <a:lnTo>
                    <a:pt x="12" y="11"/>
                  </a:lnTo>
                  <a:lnTo>
                    <a:pt x="12" y="23"/>
                  </a:lnTo>
                  <a:cubicBezTo>
                    <a:pt x="12" y="34"/>
                    <a:pt x="1" y="34"/>
                    <a:pt x="1" y="48"/>
                  </a:cubicBezTo>
                  <a:cubicBezTo>
                    <a:pt x="1" y="59"/>
                    <a:pt x="12" y="70"/>
                    <a:pt x="12" y="81"/>
                  </a:cubicBezTo>
                  <a:cubicBezTo>
                    <a:pt x="23" y="92"/>
                    <a:pt x="34" y="104"/>
                    <a:pt x="60" y="104"/>
                  </a:cubicBezTo>
                  <a:cubicBezTo>
                    <a:pt x="71" y="118"/>
                    <a:pt x="71" y="118"/>
                    <a:pt x="82" y="118"/>
                  </a:cubicBezTo>
                  <a:lnTo>
                    <a:pt x="104" y="118"/>
                  </a:lnTo>
                  <a:cubicBezTo>
                    <a:pt x="104" y="118"/>
                    <a:pt x="118" y="118"/>
                    <a:pt x="129" y="104"/>
                  </a:cubicBezTo>
                  <a:cubicBezTo>
                    <a:pt x="141" y="104"/>
                    <a:pt x="141" y="92"/>
                    <a:pt x="152" y="81"/>
                  </a:cubicBezTo>
                  <a:lnTo>
                    <a:pt x="152" y="70"/>
                  </a:lnTo>
                  <a:lnTo>
                    <a:pt x="152" y="59"/>
                  </a:lnTo>
                  <a:lnTo>
                    <a:pt x="152" y="48"/>
                  </a:lnTo>
                  <a:lnTo>
                    <a:pt x="141" y="48"/>
                  </a:lnTo>
                  <a:cubicBezTo>
                    <a:pt x="129" y="34"/>
                    <a:pt x="118" y="23"/>
                    <a:pt x="104" y="11"/>
                  </a:cubicBezTo>
                  <a:lnTo>
                    <a:pt x="93" y="11"/>
                  </a:lnTo>
                  <a:lnTo>
                    <a:pt x="9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" name="Google Shape;237;p17">
              <a:extLst>
                <a:ext uri="{FF2B5EF4-FFF2-40B4-BE49-F238E27FC236}">
                  <a16:creationId xmlns:a16="http://schemas.microsoft.com/office/drawing/2014/main" xmlns="" id="{8BC62A42-38F6-CDB9-4E8C-932C4440DB1D}"/>
                </a:ext>
              </a:extLst>
            </p:cNvPr>
            <p:cNvSpPr/>
            <p:nvPr/>
          </p:nvSpPr>
          <p:spPr>
            <a:xfrm>
              <a:off x="2945435" y="3149863"/>
              <a:ext cx="64785" cy="59022"/>
            </a:xfrm>
            <a:custGeom>
              <a:avLst/>
              <a:gdLst/>
              <a:ahLst/>
              <a:cxnLst/>
              <a:rect l="l" t="t" r="r" b="b"/>
              <a:pathLst>
                <a:path w="281" h="256" extrusionOk="0">
                  <a:moveTo>
                    <a:pt x="169" y="1"/>
                  </a:moveTo>
                  <a:cubicBezTo>
                    <a:pt x="163" y="1"/>
                    <a:pt x="157" y="4"/>
                    <a:pt x="152" y="9"/>
                  </a:cubicBezTo>
                  <a:cubicBezTo>
                    <a:pt x="127" y="9"/>
                    <a:pt x="116" y="21"/>
                    <a:pt x="104" y="46"/>
                  </a:cubicBezTo>
                  <a:cubicBezTo>
                    <a:pt x="82" y="57"/>
                    <a:pt x="57" y="79"/>
                    <a:pt x="34" y="104"/>
                  </a:cubicBezTo>
                  <a:cubicBezTo>
                    <a:pt x="23" y="116"/>
                    <a:pt x="12" y="127"/>
                    <a:pt x="12" y="149"/>
                  </a:cubicBezTo>
                  <a:cubicBezTo>
                    <a:pt x="1" y="160"/>
                    <a:pt x="12" y="186"/>
                    <a:pt x="23" y="197"/>
                  </a:cubicBezTo>
                  <a:lnTo>
                    <a:pt x="82" y="197"/>
                  </a:lnTo>
                  <a:cubicBezTo>
                    <a:pt x="82" y="197"/>
                    <a:pt x="93" y="197"/>
                    <a:pt x="104" y="208"/>
                  </a:cubicBezTo>
                  <a:cubicBezTo>
                    <a:pt x="116" y="208"/>
                    <a:pt x="116" y="230"/>
                    <a:pt x="127" y="244"/>
                  </a:cubicBezTo>
                  <a:cubicBezTo>
                    <a:pt x="141" y="244"/>
                    <a:pt x="152" y="255"/>
                    <a:pt x="163" y="255"/>
                  </a:cubicBezTo>
                  <a:lnTo>
                    <a:pt x="233" y="255"/>
                  </a:lnTo>
                  <a:lnTo>
                    <a:pt x="244" y="244"/>
                  </a:lnTo>
                  <a:cubicBezTo>
                    <a:pt x="244" y="244"/>
                    <a:pt x="255" y="230"/>
                    <a:pt x="267" y="219"/>
                  </a:cubicBezTo>
                  <a:lnTo>
                    <a:pt x="280" y="208"/>
                  </a:lnTo>
                  <a:lnTo>
                    <a:pt x="280" y="197"/>
                  </a:lnTo>
                  <a:lnTo>
                    <a:pt x="280" y="90"/>
                  </a:lnTo>
                  <a:cubicBezTo>
                    <a:pt x="280" y="79"/>
                    <a:pt x="280" y="68"/>
                    <a:pt x="267" y="57"/>
                  </a:cubicBezTo>
                  <a:cubicBezTo>
                    <a:pt x="267" y="35"/>
                    <a:pt x="255" y="21"/>
                    <a:pt x="244" y="21"/>
                  </a:cubicBezTo>
                  <a:cubicBezTo>
                    <a:pt x="222" y="9"/>
                    <a:pt x="211" y="9"/>
                    <a:pt x="185" y="9"/>
                  </a:cubicBezTo>
                  <a:cubicBezTo>
                    <a:pt x="180" y="4"/>
                    <a:pt x="174" y="1"/>
                    <a:pt x="16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0" name="Google Shape;238;p17">
              <a:extLst>
                <a:ext uri="{FF2B5EF4-FFF2-40B4-BE49-F238E27FC236}">
                  <a16:creationId xmlns:a16="http://schemas.microsoft.com/office/drawing/2014/main" xmlns="" id="{F3CB5BB2-D658-B34C-D14B-D44012357BE6}"/>
                </a:ext>
              </a:extLst>
            </p:cNvPr>
            <p:cNvSpPr/>
            <p:nvPr/>
          </p:nvSpPr>
          <p:spPr>
            <a:xfrm>
              <a:off x="2939671" y="3146635"/>
              <a:ext cx="75620" cy="67322"/>
            </a:xfrm>
            <a:custGeom>
              <a:avLst/>
              <a:gdLst/>
              <a:ahLst/>
              <a:cxnLst/>
              <a:rect l="l" t="t" r="r" b="b"/>
              <a:pathLst>
                <a:path w="328" h="292" extrusionOk="0">
                  <a:moveTo>
                    <a:pt x="258" y="49"/>
                  </a:moveTo>
                  <a:cubicBezTo>
                    <a:pt x="269" y="60"/>
                    <a:pt x="269" y="71"/>
                    <a:pt x="280" y="71"/>
                  </a:cubicBezTo>
                  <a:lnTo>
                    <a:pt x="280" y="104"/>
                  </a:lnTo>
                  <a:lnTo>
                    <a:pt x="280" y="211"/>
                  </a:lnTo>
                  <a:lnTo>
                    <a:pt x="280" y="222"/>
                  </a:lnTo>
                  <a:cubicBezTo>
                    <a:pt x="269" y="222"/>
                    <a:pt x="258" y="233"/>
                    <a:pt x="247" y="244"/>
                  </a:cubicBezTo>
                  <a:lnTo>
                    <a:pt x="188" y="244"/>
                  </a:lnTo>
                  <a:cubicBezTo>
                    <a:pt x="177" y="244"/>
                    <a:pt x="166" y="233"/>
                    <a:pt x="166" y="233"/>
                  </a:cubicBezTo>
                  <a:lnTo>
                    <a:pt x="166" y="222"/>
                  </a:lnTo>
                  <a:cubicBezTo>
                    <a:pt x="152" y="211"/>
                    <a:pt x="152" y="200"/>
                    <a:pt x="129" y="200"/>
                  </a:cubicBezTo>
                  <a:cubicBezTo>
                    <a:pt x="129" y="188"/>
                    <a:pt x="118" y="188"/>
                    <a:pt x="107" y="188"/>
                  </a:cubicBezTo>
                  <a:lnTo>
                    <a:pt x="59" y="188"/>
                  </a:lnTo>
                  <a:lnTo>
                    <a:pt x="48" y="174"/>
                  </a:lnTo>
                  <a:lnTo>
                    <a:pt x="59" y="163"/>
                  </a:lnTo>
                  <a:cubicBezTo>
                    <a:pt x="59" y="163"/>
                    <a:pt x="71" y="152"/>
                    <a:pt x="82" y="130"/>
                  </a:cubicBezTo>
                  <a:cubicBezTo>
                    <a:pt x="107" y="118"/>
                    <a:pt x="118" y="93"/>
                    <a:pt x="141" y="71"/>
                  </a:cubicBezTo>
                  <a:cubicBezTo>
                    <a:pt x="152" y="60"/>
                    <a:pt x="166" y="49"/>
                    <a:pt x="177" y="49"/>
                  </a:cubicBezTo>
                  <a:close/>
                  <a:moveTo>
                    <a:pt x="166" y="1"/>
                  </a:moveTo>
                  <a:cubicBezTo>
                    <a:pt x="141" y="12"/>
                    <a:pt x="129" y="23"/>
                    <a:pt x="107" y="35"/>
                  </a:cubicBezTo>
                  <a:cubicBezTo>
                    <a:pt x="96" y="60"/>
                    <a:pt x="71" y="82"/>
                    <a:pt x="48" y="104"/>
                  </a:cubicBezTo>
                  <a:cubicBezTo>
                    <a:pt x="37" y="118"/>
                    <a:pt x="12" y="130"/>
                    <a:pt x="12" y="152"/>
                  </a:cubicBezTo>
                  <a:cubicBezTo>
                    <a:pt x="12" y="163"/>
                    <a:pt x="1" y="163"/>
                    <a:pt x="1" y="174"/>
                  </a:cubicBezTo>
                  <a:cubicBezTo>
                    <a:pt x="12" y="188"/>
                    <a:pt x="12" y="200"/>
                    <a:pt x="12" y="211"/>
                  </a:cubicBezTo>
                  <a:lnTo>
                    <a:pt x="37" y="233"/>
                  </a:lnTo>
                  <a:lnTo>
                    <a:pt x="118" y="233"/>
                  </a:lnTo>
                  <a:lnTo>
                    <a:pt x="118" y="244"/>
                  </a:lnTo>
                  <a:cubicBezTo>
                    <a:pt x="118" y="258"/>
                    <a:pt x="129" y="258"/>
                    <a:pt x="129" y="269"/>
                  </a:cubicBezTo>
                  <a:cubicBezTo>
                    <a:pt x="152" y="281"/>
                    <a:pt x="177" y="281"/>
                    <a:pt x="188" y="292"/>
                  </a:cubicBezTo>
                  <a:lnTo>
                    <a:pt x="258" y="292"/>
                  </a:lnTo>
                  <a:cubicBezTo>
                    <a:pt x="269" y="292"/>
                    <a:pt x="280" y="281"/>
                    <a:pt x="280" y="281"/>
                  </a:cubicBezTo>
                  <a:cubicBezTo>
                    <a:pt x="292" y="269"/>
                    <a:pt x="305" y="258"/>
                    <a:pt x="317" y="258"/>
                  </a:cubicBezTo>
                  <a:lnTo>
                    <a:pt x="317" y="244"/>
                  </a:lnTo>
                  <a:lnTo>
                    <a:pt x="328" y="233"/>
                  </a:lnTo>
                  <a:lnTo>
                    <a:pt x="328" y="211"/>
                  </a:lnTo>
                  <a:lnTo>
                    <a:pt x="328" y="104"/>
                  </a:lnTo>
                  <a:cubicBezTo>
                    <a:pt x="328" y="93"/>
                    <a:pt x="328" y="71"/>
                    <a:pt x="317" y="60"/>
                  </a:cubicBezTo>
                  <a:cubicBezTo>
                    <a:pt x="305" y="35"/>
                    <a:pt x="292" y="23"/>
                    <a:pt x="269" y="12"/>
                  </a:cubicBezTo>
                  <a:cubicBezTo>
                    <a:pt x="258" y="1"/>
                    <a:pt x="236" y="1"/>
                    <a:pt x="22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1" name="Google Shape;239;p17">
              <a:extLst>
                <a:ext uri="{FF2B5EF4-FFF2-40B4-BE49-F238E27FC236}">
                  <a16:creationId xmlns:a16="http://schemas.microsoft.com/office/drawing/2014/main" xmlns="" id="{354A1F5E-1F5F-70FE-2B60-6AADF19A7FA7}"/>
                </a:ext>
              </a:extLst>
            </p:cNvPr>
            <p:cNvSpPr/>
            <p:nvPr/>
          </p:nvSpPr>
          <p:spPr>
            <a:xfrm>
              <a:off x="3047339" y="3238857"/>
              <a:ext cx="62249" cy="85305"/>
            </a:xfrm>
            <a:custGeom>
              <a:avLst/>
              <a:gdLst/>
              <a:ahLst/>
              <a:cxnLst/>
              <a:rect l="l" t="t" r="r" b="b"/>
              <a:pathLst>
                <a:path w="270" h="370" extrusionOk="0">
                  <a:moveTo>
                    <a:pt x="36" y="1"/>
                  </a:moveTo>
                  <a:cubicBezTo>
                    <a:pt x="27" y="1"/>
                    <a:pt x="17" y="4"/>
                    <a:pt x="12" y="9"/>
                  </a:cubicBezTo>
                  <a:cubicBezTo>
                    <a:pt x="12" y="9"/>
                    <a:pt x="12" y="20"/>
                    <a:pt x="1" y="32"/>
                  </a:cubicBezTo>
                  <a:lnTo>
                    <a:pt x="1" y="54"/>
                  </a:lnTo>
                  <a:cubicBezTo>
                    <a:pt x="1" y="68"/>
                    <a:pt x="12" y="79"/>
                    <a:pt x="12" y="90"/>
                  </a:cubicBezTo>
                  <a:cubicBezTo>
                    <a:pt x="34" y="101"/>
                    <a:pt x="48" y="124"/>
                    <a:pt x="59" y="160"/>
                  </a:cubicBezTo>
                  <a:lnTo>
                    <a:pt x="59" y="183"/>
                  </a:lnTo>
                  <a:cubicBezTo>
                    <a:pt x="71" y="208"/>
                    <a:pt x="71" y="219"/>
                    <a:pt x="82" y="230"/>
                  </a:cubicBezTo>
                  <a:cubicBezTo>
                    <a:pt x="82" y="264"/>
                    <a:pt x="93" y="289"/>
                    <a:pt x="104" y="322"/>
                  </a:cubicBezTo>
                  <a:cubicBezTo>
                    <a:pt x="104" y="334"/>
                    <a:pt x="118" y="348"/>
                    <a:pt x="118" y="359"/>
                  </a:cubicBezTo>
                  <a:cubicBezTo>
                    <a:pt x="129" y="370"/>
                    <a:pt x="140" y="370"/>
                    <a:pt x="152" y="370"/>
                  </a:cubicBezTo>
                  <a:cubicBezTo>
                    <a:pt x="163" y="370"/>
                    <a:pt x="174" y="359"/>
                    <a:pt x="188" y="348"/>
                  </a:cubicBezTo>
                  <a:cubicBezTo>
                    <a:pt x="188" y="334"/>
                    <a:pt x="188" y="322"/>
                    <a:pt x="199" y="311"/>
                  </a:cubicBezTo>
                  <a:cubicBezTo>
                    <a:pt x="210" y="300"/>
                    <a:pt x="222" y="289"/>
                    <a:pt x="233" y="278"/>
                  </a:cubicBezTo>
                  <a:cubicBezTo>
                    <a:pt x="244" y="264"/>
                    <a:pt x="258" y="264"/>
                    <a:pt x="269" y="252"/>
                  </a:cubicBezTo>
                  <a:lnTo>
                    <a:pt x="269" y="230"/>
                  </a:lnTo>
                  <a:lnTo>
                    <a:pt x="269" y="208"/>
                  </a:lnTo>
                  <a:cubicBezTo>
                    <a:pt x="269" y="194"/>
                    <a:pt x="258" y="183"/>
                    <a:pt x="258" y="171"/>
                  </a:cubicBezTo>
                  <a:cubicBezTo>
                    <a:pt x="233" y="149"/>
                    <a:pt x="210" y="113"/>
                    <a:pt x="188" y="90"/>
                  </a:cubicBezTo>
                  <a:cubicBezTo>
                    <a:pt x="152" y="54"/>
                    <a:pt x="104" y="32"/>
                    <a:pt x="59" y="9"/>
                  </a:cubicBezTo>
                  <a:cubicBezTo>
                    <a:pt x="54" y="4"/>
                    <a:pt x="45" y="1"/>
                    <a:pt x="3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2" name="Google Shape;240;p17">
              <a:extLst>
                <a:ext uri="{FF2B5EF4-FFF2-40B4-BE49-F238E27FC236}">
                  <a16:creationId xmlns:a16="http://schemas.microsoft.com/office/drawing/2014/main" xmlns="" id="{8B38BA89-BF4E-56D8-0DED-545FFA011B0F}"/>
                </a:ext>
              </a:extLst>
            </p:cNvPr>
            <p:cNvSpPr/>
            <p:nvPr/>
          </p:nvSpPr>
          <p:spPr>
            <a:xfrm>
              <a:off x="3042267" y="3232401"/>
              <a:ext cx="72393" cy="97064"/>
            </a:xfrm>
            <a:custGeom>
              <a:avLst/>
              <a:gdLst/>
              <a:ahLst/>
              <a:cxnLst/>
              <a:rect l="l" t="t" r="r" b="b"/>
              <a:pathLst>
                <a:path w="314" h="421" extrusionOk="0">
                  <a:moveTo>
                    <a:pt x="56" y="48"/>
                  </a:moveTo>
                  <a:cubicBezTo>
                    <a:pt x="56" y="48"/>
                    <a:pt x="70" y="48"/>
                    <a:pt x="70" y="60"/>
                  </a:cubicBezTo>
                  <a:cubicBezTo>
                    <a:pt x="115" y="71"/>
                    <a:pt x="162" y="107"/>
                    <a:pt x="185" y="129"/>
                  </a:cubicBezTo>
                  <a:cubicBezTo>
                    <a:pt x="210" y="166"/>
                    <a:pt x="232" y="188"/>
                    <a:pt x="255" y="222"/>
                  </a:cubicBezTo>
                  <a:cubicBezTo>
                    <a:pt x="266" y="222"/>
                    <a:pt x="266" y="236"/>
                    <a:pt x="266" y="247"/>
                  </a:cubicBezTo>
                  <a:lnTo>
                    <a:pt x="266" y="258"/>
                  </a:lnTo>
                  <a:lnTo>
                    <a:pt x="266" y="269"/>
                  </a:lnTo>
                  <a:cubicBezTo>
                    <a:pt x="255" y="280"/>
                    <a:pt x="244" y="280"/>
                    <a:pt x="244" y="280"/>
                  </a:cubicBezTo>
                  <a:cubicBezTo>
                    <a:pt x="221" y="292"/>
                    <a:pt x="210" y="317"/>
                    <a:pt x="196" y="328"/>
                  </a:cubicBezTo>
                  <a:cubicBezTo>
                    <a:pt x="185" y="339"/>
                    <a:pt x="185" y="350"/>
                    <a:pt x="185" y="362"/>
                  </a:cubicBezTo>
                  <a:lnTo>
                    <a:pt x="174" y="376"/>
                  </a:lnTo>
                  <a:lnTo>
                    <a:pt x="162" y="376"/>
                  </a:lnTo>
                  <a:cubicBezTo>
                    <a:pt x="162" y="362"/>
                    <a:pt x="151" y="350"/>
                    <a:pt x="151" y="339"/>
                  </a:cubicBezTo>
                  <a:cubicBezTo>
                    <a:pt x="140" y="317"/>
                    <a:pt x="126" y="280"/>
                    <a:pt x="115" y="258"/>
                  </a:cubicBezTo>
                  <a:cubicBezTo>
                    <a:pt x="115" y="236"/>
                    <a:pt x="115" y="222"/>
                    <a:pt x="104" y="211"/>
                  </a:cubicBezTo>
                  <a:lnTo>
                    <a:pt x="104" y="177"/>
                  </a:lnTo>
                  <a:cubicBezTo>
                    <a:pt x="93" y="152"/>
                    <a:pt x="70" y="118"/>
                    <a:pt x="56" y="96"/>
                  </a:cubicBezTo>
                  <a:cubicBezTo>
                    <a:pt x="45" y="96"/>
                    <a:pt x="45" y="82"/>
                    <a:pt x="45" y="82"/>
                  </a:cubicBezTo>
                  <a:lnTo>
                    <a:pt x="45" y="71"/>
                  </a:lnTo>
                  <a:lnTo>
                    <a:pt x="45" y="60"/>
                  </a:lnTo>
                  <a:lnTo>
                    <a:pt x="56" y="48"/>
                  </a:lnTo>
                  <a:close/>
                  <a:moveTo>
                    <a:pt x="56" y="1"/>
                  </a:moveTo>
                  <a:cubicBezTo>
                    <a:pt x="45" y="1"/>
                    <a:pt x="34" y="1"/>
                    <a:pt x="23" y="12"/>
                  </a:cubicBezTo>
                  <a:cubicBezTo>
                    <a:pt x="11" y="26"/>
                    <a:pt x="11" y="37"/>
                    <a:pt x="0" y="48"/>
                  </a:cubicBezTo>
                  <a:lnTo>
                    <a:pt x="0" y="71"/>
                  </a:lnTo>
                  <a:lnTo>
                    <a:pt x="0" y="82"/>
                  </a:lnTo>
                  <a:cubicBezTo>
                    <a:pt x="0" y="107"/>
                    <a:pt x="11" y="118"/>
                    <a:pt x="23" y="129"/>
                  </a:cubicBezTo>
                  <a:cubicBezTo>
                    <a:pt x="34" y="152"/>
                    <a:pt x="45" y="166"/>
                    <a:pt x="56" y="188"/>
                  </a:cubicBezTo>
                  <a:lnTo>
                    <a:pt x="56" y="222"/>
                  </a:lnTo>
                  <a:cubicBezTo>
                    <a:pt x="70" y="236"/>
                    <a:pt x="70" y="247"/>
                    <a:pt x="81" y="269"/>
                  </a:cubicBezTo>
                  <a:cubicBezTo>
                    <a:pt x="81" y="292"/>
                    <a:pt x="93" y="328"/>
                    <a:pt x="104" y="350"/>
                  </a:cubicBezTo>
                  <a:cubicBezTo>
                    <a:pt x="104" y="362"/>
                    <a:pt x="115" y="387"/>
                    <a:pt x="126" y="398"/>
                  </a:cubicBezTo>
                  <a:cubicBezTo>
                    <a:pt x="140" y="409"/>
                    <a:pt x="151" y="420"/>
                    <a:pt x="174" y="420"/>
                  </a:cubicBezTo>
                  <a:lnTo>
                    <a:pt x="185" y="420"/>
                  </a:lnTo>
                  <a:cubicBezTo>
                    <a:pt x="196" y="420"/>
                    <a:pt x="196" y="409"/>
                    <a:pt x="210" y="409"/>
                  </a:cubicBezTo>
                  <a:cubicBezTo>
                    <a:pt x="221" y="398"/>
                    <a:pt x="221" y="398"/>
                    <a:pt x="221" y="387"/>
                  </a:cubicBezTo>
                  <a:cubicBezTo>
                    <a:pt x="232" y="376"/>
                    <a:pt x="232" y="362"/>
                    <a:pt x="244" y="350"/>
                  </a:cubicBezTo>
                  <a:cubicBezTo>
                    <a:pt x="244" y="339"/>
                    <a:pt x="255" y="328"/>
                    <a:pt x="266" y="328"/>
                  </a:cubicBezTo>
                  <a:cubicBezTo>
                    <a:pt x="266" y="317"/>
                    <a:pt x="280" y="317"/>
                    <a:pt x="291" y="317"/>
                  </a:cubicBezTo>
                  <a:cubicBezTo>
                    <a:pt x="291" y="306"/>
                    <a:pt x="302" y="306"/>
                    <a:pt x="313" y="292"/>
                  </a:cubicBezTo>
                  <a:lnTo>
                    <a:pt x="313" y="258"/>
                  </a:lnTo>
                  <a:lnTo>
                    <a:pt x="313" y="236"/>
                  </a:lnTo>
                  <a:cubicBezTo>
                    <a:pt x="313" y="211"/>
                    <a:pt x="302" y="199"/>
                    <a:pt x="291" y="188"/>
                  </a:cubicBezTo>
                  <a:cubicBezTo>
                    <a:pt x="266" y="166"/>
                    <a:pt x="255" y="129"/>
                    <a:pt x="221" y="107"/>
                  </a:cubicBezTo>
                  <a:cubicBezTo>
                    <a:pt x="185" y="60"/>
                    <a:pt x="140" y="37"/>
                    <a:pt x="93" y="12"/>
                  </a:cubicBezTo>
                  <a:cubicBezTo>
                    <a:pt x="81" y="12"/>
                    <a:pt x="70" y="1"/>
                    <a:pt x="5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3" name="Google Shape;241;p17">
              <a:extLst>
                <a:ext uri="{FF2B5EF4-FFF2-40B4-BE49-F238E27FC236}">
                  <a16:creationId xmlns:a16="http://schemas.microsoft.com/office/drawing/2014/main" xmlns="" id="{332E9C87-C1B6-B296-EDE7-07EFFB380A3A}"/>
                </a:ext>
              </a:extLst>
            </p:cNvPr>
            <p:cNvSpPr/>
            <p:nvPr/>
          </p:nvSpPr>
          <p:spPr>
            <a:xfrm>
              <a:off x="2529059" y="3296956"/>
              <a:ext cx="16369" cy="24669"/>
            </a:xfrm>
            <a:custGeom>
              <a:avLst/>
              <a:gdLst/>
              <a:ahLst/>
              <a:cxnLst/>
              <a:rect l="l" t="t" r="r" b="b"/>
              <a:pathLst>
                <a:path w="71" h="107" extrusionOk="0">
                  <a:moveTo>
                    <a:pt x="23" y="0"/>
                  </a:moveTo>
                  <a:cubicBezTo>
                    <a:pt x="0" y="12"/>
                    <a:pt x="12" y="59"/>
                    <a:pt x="23" y="82"/>
                  </a:cubicBezTo>
                  <a:cubicBezTo>
                    <a:pt x="34" y="96"/>
                    <a:pt x="45" y="107"/>
                    <a:pt x="59" y="107"/>
                  </a:cubicBezTo>
                  <a:lnTo>
                    <a:pt x="70" y="107"/>
                  </a:lnTo>
                  <a:lnTo>
                    <a:pt x="70" y="96"/>
                  </a:lnTo>
                  <a:cubicBezTo>
                    <a:pt x="70" y="82"/>
                    <a:pt x="59" y="0"/>
                    <a:pt x="34" y="0"/>
                  </a:cubicBezTo>
                  <a:close/>
                </a:path>
              </a:pathLst>
            </a:custGeom>
            <a:solidFill>
              <a:srgbClr val="10B9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4" name="Google Shape;242;p17">
              <a:extLst>
                <a:ext uri="{FF2B5EF4-FFF2-40B4-BE49-F238E27FC236}">
                  <a16:creationId xmlns:a16="http://schemas.microsoft.com/office/drawing/2014/main" xmlns="" id="{72A473B8-769E-5302-6228-3BA805F4BFC8}"/>
                </a:ext>
              </a:extLst>
            </p:cNvPr>
            <p:cNvSpPr/>
            <p:nvPr/>
          </p:nvSpPr>
          <p:spPr>
            <a:xfrm>
              <a:off x="2526523" y="3291884"/>
              <a:ext cx="23977" cy="35044"/>
            </a:xfrm>
            <a:custGeom>
              <a:avLst/>
              <a:gdLst/>
              <a:ahLst/>
              <a:cxnLst/>
              <a:rect l="l" t="t" r="r" b="b"/>
              <a:pathLst>
                <a:path w="104" h="152" extrusionOk="0">
                  <a:moveTo>
                    <a:pt x="45" y="48"/>
                  </a:moveTo>
                  <a:cubicBezTo>
                    <a:pt x="45" y="48"/>
                    <a:pt x="45" y="59"/>
                    <a:pt x="56" y="70"/>
                  </a:cubicBezTo>
                  <a:lnTo>
                    <a:pt x="56" y="92"/>
                  </a:lnTo>
                  <a:cubicBezTo>
                    <a:pt x="45" y="81"/>
                    <a:pt x="45" y="70"/>
                    <a:pt x="45" y="59"/>
                  </a:cubicBezTo>
                  <a:lnTo>
                    <a:pt x="45" y="48"/>
                  </a:lnTo>
                  <a:close/>
                  <a:moveTo>
                    <a:pt x="23" y="0"/>
                  </a:moveTo>
                  <a:lnTo>
                    <a:pt x="23" y="11"/>
                  </a:lnTo>
                  <a:cubicBezTo>
                    <a:pt x="11" y="11"/>
                    <a:pt x="11" y="22"/>
                    <a:pt x="0" y="34"/>
                  </a:cubicBezTo>
                  <a:lnTo>
                    <a:pt x="0" y="59"/>
                  </a:lnTo>
                  <a:cubicBezTo>
                    <a:pt x="0" y="81"/>
                    <a:pt x="11" y="92"/>
                    <a:pt x="11" y="104"/>
                  </a:cubicBezTo>
                  <a:cubicBezTo>
                    <a:pt x="23" y="118"/>
                    <a:pt x="23" y="129"/>
                    <a:pt x="34" y="140"/>
                  </a:cubicBezTo>
                  <a:cubicBezTo>
                    <a:pt x="45" y="140"/>
                    <a:pt x="56" y="151"/>
                    <a:pt x="70" y="151"/>
                  </a:cubicBezTo>
                  <a:lnTo>
                    <a:pt x="93" y="151"/>
                  </a:lnTo>
                  <a:lnTo>
                    <a:pt x="104" y="129"/>
                  </a:lnTo>
                  <a:lnTo>
                    <a:pt x="104" y="104"/>
                  </a:lnTo>
                  <a:cubicBezTo>
                    <a:pt x="104" y="92"/>
                    <a:pt x="104" y="70"/>
                    <a:pt x="93" y="48"/>
                  </a:cubicBezTo>
                  <a:cubicBezTo>
                    <a:pt x="93" y="34"/>
                    <a:pt x="81" y="22"/>
                    <a:pt x="81" y="11"/>
                  </a:cubicBezTo>
                  <a:cubicBezTo>
                    <a:pt x="70" y="11"/>
                    <a:pt x="56" y="0"/>
                    <a:pt x="4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5" name="Google Shape;243;p17">
              <a:extLst>
                <a:ext uri="{FF2B5EF4-FFF2-40B4-BE49-F238E27FC236}">
                  <a16:creationId xmlns:a16="http://schemas.microsoft.com/office/drawing/2014/main" xmlns="" id="{91950EC9-BE73-DB44-0293-457DDD33D6FF}"/>
                </a:ext>
              </a:extLst>
            </p:cNvPr>
            <p:cNvSpPr/>
            <p:nvPr/>
          </p:nvSpPr>
          <p:spPr>
            <a:xfrm>
              <a:off x="2711426" y="3345373"/>
              <a:ext cx="24899" cy="13603"/>
            </a:xfrm>
            <a:custGeom>
              <a:avLst/>
              <a:gdLst/>
              <a:ahLst/>
              <a:cxnLst/>
              <a:rect l="l" t="t" r="r" b="b"/>
              <a:pathLst>
                <a:path w="108" h="59" extrusionOk="0">
                  <a:moveTo>
                    <a:pt x="12" y="0"/>
                  </a:moveTo>
                  <a:cubicBezTo>
                    <a:pt x="1" y="11"/>
                    <a:pt x="1" y="37"/>
                    <a:pt x="12" y="48"/>
                  </a:cubicBezTo>
                  <a:cubicBezTo>
                    <a:pt x="23" y="48"/>
                    <a:pt x="37" y="59"/>
                    <a:pt x="37" y="59"/>
                  </a:cubicBezTo>
                  <a:lnTo>
                    <a:pt x="93" y="59"/>
                  </a:lnTo>
                  <a:cubicBezTo>
                    <a:pt x="93" y="59"/>
                    <a:pt x="93" y="48"/>
                    <a:pt x="107" y="48"/>
                  </a:cubicBezTo>
                  <a:cubicBezTo>
                    <a:pt x="107" y="25"/>
                    <a:pt x="93" y="11"/>
                    <a:pt x="82" y="11"/>
                  </a:cubicBezTo>
                  <a:cubicBezTo>
                    <a:pt x="82" y="0"/>
                    <a:pt x="71" y="0"/>
                    <a:pt x="60" y="0"/>
                  </a:cubicBezTo>
                  <a:close/>
                </a:path>
              </a:pathLst>
            </a:custGeom>
            <a:solidFill>
              <a:srgbClr val="10B9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6" name="Google Shape;244;p17">
              <a:extLst>
                <a:ext uri="{FF2B5EF4-FFF2-40B4-BE49-F238E27FC236}">
                  <a16:creationId xmlns:a16="http://schemas.microsoft.com/office/drawing/2014/main" xmlns="" id="{781617E3-C5DF-6C22-DE6D-CECFFEB6B79D}"/>
                </a:ext>
              </a:extLst>
            </p:cNvPr>
            <p:cNvSpPr/>
            <p:nvPr/>
          </p:nvSpPr>
          <p:spPr>
            <a:xfrm>
              <a:off x="2706353" y="3340070"/>
              <a:ext cx="35044" cy="24208"/>
            </a:xfrm>
            <a:custGeom>
              <a:avLst/>
              <a:gdLst/>
              <a:ahLst/>
              <a:cxnLst/>
              <a:rect l="l" t="t" r="r" b="b"/>
              <a:pathLst>
                <a:path w="152" h="105" extrusionOk="0">
                  <a:moveTo>
                    <a:pt x="93" y="48"/>
                  </a:moveTo>
                  <a:lnTo>
                    <a:pt x="104" y="60"/>
                  </a:lnTo>
                  <a:lnTo>
                    <a:pt x="70" y="60"/>
                  </a:lnTo>
                  <a:cubicBezTo>
                    <a:pt x="59" y="60"/>
                    <a:pt x="59" y="60"/>
                    <a:pt x="59" y="48"/>
                  </a:cubicBezTo>
                  <a:close/>
                  <a:moveTo>
                    <a:pt x="23" y="1"/>
                  </a:moveTo>
                  <a:lnTo>
                    <a:pt x="23" y="12"/>
                  </a:lnTo>
                  <a:lnTo>
                    <a:pt x="12" y="12"/>
                  </a:lnTo>
                  <a:cubicBezTo>
                    <a:pt x="12" y="23"/>
                    <a:pt x="0" y="34"/>
                    <a:pt x="0" y="48"/>
                  </a:cubicBezTo>
                  <a:cubicBezTo>
                    <a:pt x="0" y="60"/>
                    <a:pt x="12" y="71"/>
                    <a:pt x="23" y="82"/>
                  </a:cubicBezTo>
                  <a:cubicBezTo>
                    <a:pt x="34" y="93"/>
                    <a:pt x="45" y="104"/>
                    <a:pt x="59" y="104"/>
                  </a:cubicBezTo>
                  <a:lnTo>
                    <a:pt x="115" y="104"/>
                  </a:lnTo>
                  <a:cubicBezTo>
                    <a:pt x="129" y="104"/>
                    <a:pt x="140" y="93"/>
                    <a:pt x="140" y="93"/>
                  </a:cubicBezTo>
                  <a:lnTo>
                    <a:pt x="140" y="71"/>
                  </a:lnTo>
                  <a:lnTo>
                    <a:pt x="151" y="60"/>
                  </a:lnTo>
                  <a:cubicBezTo>
                    <a:pt x="151" y="48"/>
                    <a:pt x="140" y="23"/>
                    <a:pt x="115" y="12"/>
                  </a:cubicBezTo>
                  <a:cubicBezTo>
                    <a:pt x="104" y="1"/>
                    <a:pt x="93" y="1"/>
                    <a:pt x="9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7" name="Google Shape;245;p17">
              <a:extLst>
                <a:ext uri="{FF2B5EF4-FFF2-40B4-BE49-F238E27FC236}">
                  <a16:creationId xmlns:a16="http://schemas.microsoft.com/office/drawing/2014/main" xmlns="" id="{24078ADA-C431-E225-1B9C-6B5CF5E00022}"/>
                </a:ext>
              </a:extLst>
            </p:cNvPr>
            <p:cNvSpPr/>
            <p:nvPr/>
          </p:nvSpPr>
          <p:spPr>
            <a:xfrm>
              <a:off x="2867509" y="3367275"/>
              <a:ext cx="21441" cy="23978"/>
            </a:xfrm>
            <a:custGeom>
              <a:avLst/>
              <a:gdLst/>
              <a:ahLst/>
              <a:cxnLst/>
              <a:rect l="l" t="t" r="r" b="b"/>
              <a:pathLst>
                <a:path w="93" h="104" extrusionOk="0">
                  <a:moveTo>
                    <a:pt x="23" y="0"/>
                  </a:moveTo>
                  <a:lnTo>
                    <a:pt x="12" y="11"/>
                  </a:lnTo>
                  <a:lnTo>
                    <a:pt x="12" y="23"/>
                  </a:lnTo>
                  <a:cubicBezTo>
                    <a:pt x="1" y="45"/>
                    <a:pt x="1" y="70"/>
                    <a:pt x="12" y="81"/>
                  </a:cubicBezTo>
                  <a:cubicBezTo>
                    <a:pt x="23" y="93"/>
                    <a:pt x="23" y="93"/>
                    <a:pt x="34" y="104"/>
                  </a:cubicBezTo>
                  <a:cubicBezTo>
                    <a:pt x="45" y="104"/>
                    <a:pt x="59" y="104"/>
                    <a:pt x="59" y="93"/>
                  </a:cubicBezTo>
                  <a:cubicBezTo>
                    <a:pt x="70" y="93"/>
                    <a:pt x="82" y="81"/>
                    <a:pt x="93" y="70"/>
                  </a:cubicBezTo>
                  <a:cubicBezTo>
                    <a:pt x="93" y="56"/>
                    <a:pt x="93" y="34"/>
                    <a:pt x="82" y="11"/>
                  </a:cubicBezTo>
                  <a:lnTo>
                    <a:pt x="70" y="0"/>
                  </a:lnTo>
                  <a:close/>
                </a:path>
              </a:pathLst>
            </a:custGeom>
            <a:solidFill>
              <a:srgbClr val="10B9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8" name="Google Shape;246;p17">
              <a:extLst>
                <a:ext uri="{FF2B5EF4-FFF2-40B4-BE49-F238E27FC236}">
                  <a16:creationId xmlns:a16="http://schemas.microsoft.com/office/drawing/2014/main" xmlns="" id="{61F22DFC-C401-CA47-1E9A-39B557262176}"/>
                </a:ext>
              </a:extLst>
            </p:cNvPr>
            <p:cNvSpPr/>
            <p:nvPr/>
          </p:nvSpPr>
          <p:spPr>
            <a:xfrm>
              <a:off x="2864973" y="3361511"/>
              <a:ext cx="29280" cy="35044"/>
            </a:xfrm>
            <a:custGeom>
              <a:avLst/>
              <a:gdLst/>
              <a:ahLst/>
              <a:cxnLst/>
              <a:rect l="l" t="t" r="r" b="b"/>
              <a:pathLst>
                <a:path w="127" h="152" extrusionOk="0">
                  <a:moveTo>
                    <a:pt x="70" y="48"/>
                  </a:moveTo>
                  <a:cubicBezTo>
                    <a:pt x="81" y="59"/>
                    <a:pt x="81" y="70"/>
                    <a:pt x="81" y="70"/>
                  </a:cubicBezTo>
                  <a:lnTo>
                    <a:pt x="81" y="81"/>
                  </a:lnTo>
                  <a:cubicBezTo>
                    <a:pt x="81" y="95"/>
                    <a:pt x="70" y="95"/>
                    <a:pt x="56" y="106"/>
                  </a:cubicBezTo>
                  <a:lnTo>
                    <a:pt x="45" y="95"/>
                  </a:lnTo>
                  <a:lnTo>
                    <a:pt x="45" y="70"/>
                  </a:lnTo>
                  <a:lnTo>
                    <a:pt x="45" y="59"/>
                  </a:lnTo>
                  <a:lnTo>
                    <a:pt x="45" y="48"/>
                  </a:lnTo>
                  <a:close/>
                  <a:moveTo>
                    <a:pt x="70" y="0"/>
                  </a:moveTo>
                  <a:cubicBezTo>
                    <a:pt x="45" y="0"/>
                    <a:pt x="34" y="0"/>
                    <a:pt x="23" y="11"/>
                  </a:cubicBezTo>
                  <a:lnTo>
                    <a:pt x="12" y="11"/>
                  </a:lnTo>
                  <a:lnTo>
                    <a:pt x="12" y="25"/>
                  </a:lnTo>
                  <a:lnTo>
                    <a:pt x="0" y="36"/>
                  </a:lnTo>
                  <a:lnTo>
                    <a:pt x="0" y="70"/>
                  </a:lnTo>
                  <a:cubicBezTo>
                    <a:pt x="0" y="81"/>
                    <a:pt x="0" y="106"/>
                    <a:pt x="12" y="118"/>
                  </a:cubicBezTo>
                  <a:cubicBezTo>
                    <a:pt x="12" y="129"/>
                    <a:pt x="23" y="140"/>
                    <a:pt x="45" y="151"/>
                  </a:cubicBezTo>
                  <a:lnTo>
                    <a:pt x="56" y="151"/>
                  </a:lnTo>
                  <a:cubicBezTo>
                    <a:pt x="70" y="151"/>
                    <a:pt x="70" y="151"/>
                    <a:pt x="81" y="140"/>
                  </a:cubicBezTo>
                  <a:cubicBezTo>
                    <a:pt x="93" y="140"/>
                    <a:pt x="115" y="129"/>
                    <a:pt x="115" y="106"/>
                  </a:cubicBezTo>
                  <a:cubicBezTo>
                    <a:pt x="126" y="95"/>
                    <a:pt x="126" y="81"/>
                    <a:pt x="126" y="70"/>
                  </a:cubicBezTo>
                  <a:cubicBezTo>
                    <a:pt x="126" y="59"/>
                    <a:pt x="126" y="36"/>
                    <a:pt x="115" y="25"/>
                  </a:cubicBezTo>
                  <a:lnTo>
                    <a:pt x="104" y="11"/>
                  </a:lnTo>
                  <a:lnTo>
                    <a:pt x="8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9" name="Google Shape;247;p17">
              <a:extLst>
                <a:ext uri="{FF2B5EF4-FFF2-40B4-BE49-F238E27FC236}">
                  <a16:creationId xmlns:a16="http://schemas.microsoft.com/office/drawing/2014/main" xmlns="" id="{8E30C0C8-8B0B-587C-893F-3FE374D12531}"/>
                </a:ext>
              </a:extLst>
            </p:cNvPr>
            <p:cNvSpPr/>
            <p:nvPr/>
          </p:nvSpPr>
          <p:spPr>
            <a:xfrm>
              <a:off x="2904858" y="3344220"/>
              <a:ext cx="166688" cy="114125"/>
            </a:xfrm>
            <a:custGeom>
              <a:avLst/>
              <a:gdLst/>
              <a:ahLst/>
              <a:cxnLst/>
              <a:rect l="l" t="t" r="r" b="b"/>
              <a:pathLst>
                <a:path w="723" h="495" extrusionOk="0">
                  <a:moveTo>
                    <a:pt x="473" y="1"/>
                  </a:moveTo>
                  <a:cubicBezTo>
                    <a:pt x="461" y="1"/>
                    <a:pt x="452" y="8"/>
                    <a:pt x="443" y="16"/>
                  </a:cubicBezTo>
                  <a:cubicBezTo>
                    <a:pt x="420" y="30"/>
                    <a:pt x="398" y="53"/>
                    <a:pt x="398" y="75"/>
                  </a:cubicBezTo>
                  <a:cubicBezTo>
                    <a:pt x="398" y="100"/>
                    <a:pt x="398" y="111"/>
                    <a:pt x="409" y="134"/>
                  </a:cubicBezTo>
                  <a:cubicBezTo>
                    <a:pt x="409" y="145"/>
                    <a:pt x="409" y="170"/>
                    <a:pt x="387" y="181"/>
                  </a:cubicBezTo>
                  <a:lnTo>
                    <a:pt x="373" y="181"/>
                  </a:lnTo>
                  <a:cubicBezTo>
                    <a:pt x="350" y="193"/>
                    <a:pt x="350" y="226"/>
                    <a:pt x="328" y="240"/>
                  </a:cubicBezTo>
                  <a:cubicBezTo>
                    <a:pt x="317" y="240"/>
                    <a:pt x="292" y="226"/>
                    <a:pt x="292" y="215"/>
                  </a:cubicBezTo>
                  <a:cubicBezTo>
                    <a:pt x="280" y="204"/>
                    <a:pt x="280" y="193"/>
                    <a:pt x="269" y="181"/>
                  </a:cubicBezTo>
                  <a:cubicBezTo>
                    <a:pt x="258" y="170"/>
                    <a:pt x="222" y="156"/>
                    <a:pt x="199" y="156"/>
                  </a:cubicBezTo>
                  <a:cubicBezTo>
                    <a:pt x="188" y="156"/>
                    <a:pt x="177" y="170"/>
                    <a:pt x="177" y="170"/>
                  </a:cubicBezTo>
                  <a:cubicBezTo>
                    <a:pt x="163" y="181"/>
                    <a:pt x="163" y="193"/>
                    <a:pt x="163" y="193"/>
                  </a:cubicBezTo>
                  <a:cubicBezTo>
                    <a:pt x="177" y="240"/>
                    <a:pt x="210" y="274"/>
                    <a:pt x="258" y="310"/>
                  </a:cubicBezTo>
                  <a:cubicBezTo>
                    <a:pt x="269" y="310"/>
                    <a:pt x="280" y="321"/>
                    <a:pt x="280" y="332"/>
                  </a:cubicBezTo>
                  <a:cubicBezTo>
                    <a:pt x="269" y="355"/>
                    <a:pt x="258" y="355"/>
                    <a:pt x="247" y="355"/>
                  </a:cubicBezTo>
                  <a:cubicBezTo>
                    <a:pt x="222" y="355"/>
                    <a:pt x="210" y="355"/>
                    <a:pt x="199" y="344"/>
                  </a:cubicBezTo>
                  <a:cubicBezTo>
                    <a:pt x="163" y="321"/>
                    <a:pt x="163" y="240"/>
                    <a:pt x="118" y="204"/>
                  </a:cubicBezTo>
                  <a:cubicBezTo>
                    <a:pt x="107" y="204"/>
                    <a:pt x="93" y="204"/>
                    <a:pt x="93" y="215"/>
                  </a:cubicBezTo>
                  <a:cubicBezTo>
                    <a:pt x="71" y="240"/>
                    <a:pt x="59" y="274"/>
                    <a:pt x="48" y="296"/>
                  </a:cubicBezTo>
                  <a:cubicBezTo>
                    <a:pt x="48" y="332"/>
                    <a:pt x="48" y="380"/>
                    <a:pt x="23" y="402"/>
                  </a:cubicBezTo>
                  <a:cubicBezTo>
                    <a:pt x="23" y="425"/>
                    <a:pt x="12" y="436"/>
                    <a:pt x="1" y="450"/>
                  </a:cubicBezTo>
                  <a:cubicBezTo>
                    <a:pt x="1" y="461"/>
                    <a:pt x="1" y="483"/>
                    <a:pt x="12" y="495"/>
                  </a:cubicBezTo>
                  <a:lnTo>
                    <a:pt x="37" y="495"/>
                  </a:lnTo>
                  <a:cubicBezTo>
                    <a:pt x="71" y="495"/>
                    <a:pt x="118" y="495"/>
                    <a:pt x="152" y="483"/>
                  </a:cubicBezTo>
                  <a:cubicBezTo>
                    <a:pt x="177" y="472"/>
                    <a:pt x="188" y="461"/>
                    <a:pt x="210" y="461"/>
                  </a:cubicBezTo>
                  <a:cubicBezTo>
                    <a:pt x="222" y="461"/>
                    <a:pt x="222" y="472"/>
                    <a:pt x="233" y="472"/>
                  </a:cubicBezTo>
                  <a:cubicBezTo>
                    <a:pt x="258" y="472"/>
                    <a:pt x="280" y="461"/>
                    <a:pt x="303" y="450"/>
                  </a:cubicBezTo>
                  <a:cubicBezTo>
                    <a:pt x="328" y="450"/>
                    <a:pt x="339" y="450"/>
                    <a:pt x="361" y="461"/>
                  </a:cubicBezTo>
                  <a:cubicBezTo>
                    <a:pt x="387" y="461"/>
                    <a:pt x="420" y="450"/>
                    <a:pt x="443" y="436"/>
                  </a:cubicBezTo>
                  <a:cubicBezTo>
                    <a:pt x="468" y="413"/>
                    <a:pt x="479" y="391"/>
                    <a:pt x="479" y="366"/>
                  </a:cubicBezTo>
                  <a:cubicBezTo>
                    <a:pt x="479" y="344"/>
                    <a:pt x="468" y="321"/>
                    <a:pt x="456" y="296"/>
                  </a:cubicBezTo>
                  <a:cubicBezTo>
                    <a:pt x="456" y="285"/>
                    <a:pt x="443" y="262"/>
                    <a:pt x="456" y="251"/>
                  </a:cubicBezTo>
                  <a:cubicBezTo>
                    <a:pt x="468" y="240"/>
                    <a:pt x="490" y="240"/>
                    <a:pt x="490" y="226"/>
                  </a:cubicBezTo>
                  <a:lnTo>
                    <a:pt x="501" y="215"/>
                  </a:lnTo>
                  <a:cubicBezTo>
                    <a:pt x="501" y="193"/>
                    <a:pt x="512" y="193"/>
                    <a:pt x="538" y="193"/>
                  </a:cubicBezTo>
                  <a:cubicBezTo>
                    <a:pt x="549" y="193"/>
                    <a:pt x="560" y="204"/>
                    <a:pt x="571" y="215"/>
                  </a:cubicBezTo>
                  <a:cubicBezTo>
                    <a:pt x="582" y="226"/>
                    <a:pt x="596" y="240"/>
                    <a:pt x="619" y="251"/>
                  </a:cubicBezTo>
                  <a:cubicBezTo>
                    <a:pt x="628" y="256"/>
                    <a:pt x="642" y="259"/>
                    <a:pt x="655" y="259"/>
                  </a:cubicBezTo>
                  <a:cubicBezTo>
                    <a:pt x="674" y="259"/>
                    <a:pt x="693" y="253"/>
                    <a:pt x="700" y="240"/>
                  </a:cubicBezTo>
                  <a:cubicBezTo>
                    <a:pt x="722" y="204"/>
                    <a:pt x="722" y="156"/>
                    <a:pt x="689" y="145"/>
                  </a:cubicBezTo>
                  <a:cubicBezTo>
                    <a:pt x="666" y="134"/>
                    <a:pt x="641" y="134"/>
                    <a:pt x="619" y="134"/>
                  </a:cubicBezTo>
                  <a:cubicBezTo>
                    <a:pt x="596" y="134"/>
                    <a:pt x="571" y="134"/>
                    <a:pt x="560" y="123"/>
                  </a:cubicBezTo>
                  <a:cubicBezTo>
                    <a:pt x="549" y="111"/>
                    <a:pt x="571" y="86"/>
                    <a:pt x="571" y="64"/>
                  </a:cubicBezTo>
                  <a:cubicBezTo>
                    <a:pt x="571" y="53"/>
                    <a:pt x="560" y="42"/>
                    <a:pt x="549" y="30"/>
                  </a:cubicBezTo>
                  <a:cubicBezTo>
                    <a:pt x="538" y="16"/>
                    <a:pt x="526" y="16"/>
                    <a:pt x="512" y="5"/>
                  </a:cubicBezTo>
                  <a:lnTo>
                    <a:pt x="490" y="5"/>
                  </a:lnTo>
                  <a:cubicBezTo>
                    <a:pt x="483" y="2"/>
                    <a:pt x="478" y="1"/>
                    <a:pt x="47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0" name="Google Shape;248;p17">
              <a:extLst>
                <a:ext uri="{FF2B5EF4-FFF2-40B4-BE49-F238E27FC236}">
                  <a16:creationId xmlns:a16="http://schemas.microsoft.com/office/drawing/2014/main" xmlns="" id="{B720E6E3-8A89-D009-765E-23275E1CD35E}"/>
                </a:ext>
              </a:extLst>
            </p:cNvPr>
            <p:cNvSpPr/>
            <p:nvPr/>
          </p:nvSpPr>
          <p:spPr>
            <a:xfrm>
              <a:off x="2899786" y="3340070"/>
              <a:ext cx="177524" cy="124039"/>
            </a:xfrm>
            <a:custGeom>
              <a:avLst/>
              <a:gdLst/>
              <a:ahLst/>
              <a:cxnLst/>
              <a:rect l="l" t="t" r="r" b="b"/>
              <a:pathLst>
                <a:path w="770" h="538" extrusionOk="0">
                  <a:moveTo>
                    <a:pt x="211" y="303"/>
                  </a:moveTo>
                  <a:lnTo>
                    <a:pt x="211" y="303"/>
                  </a:lnTo>
                  <a:cubicBezTo>
                    <a:pt x="229" y="319"/>
                    <a:pt x="246" y="330"/>
                    <a:pt x="255" y="339"/>
                  </a:cubicBezTo>
                  <a:cubicBezTo>
                    <a:pt x="269" y="339"/>
                    <a:pt x="269" y="350"/>
                    <a:pt x="269" y="350"/>
                  </a:cubicBezTo>
                  <a:lnTo>
                    <a:pt x="232" y="350"/>
                  </a:lnTo>
                  <a:cubicBezTo>
                    <a:pt x="223" y="341"/>
                    <a:pt x="214" y="322"/>
                    <a:pt x="211" y="303"/>
                  </a:cubicBezTo>
                  <a:close/>
                  <a:moveTo>
                    <a:pt x="523" y="48"/>
                  </a:moveTo>
                  <a:cubicBezTo>
                    <a:pt x="534" y="48"/>
                    <a:pt x="548" y="60"/>
                    <a:pt x="560" y="60"/>
                  </a:cubicBezTo>
                  <a:cubicBezTo>
                    <a:pt x="560" y="71"/>
                    <a:pt x="571" y="82"/>
                    <a:pt x="571" y="82"/>
                  </a:cubicBezTo>
                  <a:cubicBezTo>
                    <a:pt x="571" y="82"/>
                    <a:pt x="571" y="93"/>
                    <a:pt x="560" y="104"/>
                  </a:cubicBezTo>
                  <a:lnTo>
                    <a:pt x="560" y="129"/>
                  </a:lnTo>
                  <a:lnTo>
                    <a:pt x="560" y="152"/>
                  </a:lnTo>
                  <a:cubicBezTo>
                    <a:pt x="571" y="163"/>
                    <a:pt x="582" y="163"/>
                    <a:pt x="582" y="174"/>
                  </a:cubicBezTo>
                  <a:lnTo>
                    <a:pt x="699" y="174"/>
                  </a:lnTo>
                  <a:cubicBezTo>
                    <a:pt x="711" y="188"/>
                    <a:pt x="722" y="199"/>
                    <a:pt x="722" y="211"/>
                  </a:cubicBezTo>
                  <a:cubicBezTo>
                    <a:pt x="722" y="222"/>
                    <a:pt x="711" y="233"/>
                    <a:pt x="711" y="233"/>
                  </a:cubicBezTo>
                  <a:cubicBezTo>
                    <a:pt x="699" y="244"/>
                    <a:pt x="688" y="258"/>
                    <a:pt x="674" y="258"/>
                  </a:cubicBezTo>
                  <a:cubicBezTo>
                    <a:pt x="663" y="258"/>
                    <a:pt x="652" y="258"/>
                    <a:pt x="652" y="244"/>
                  </a:cubicBezTo>
                  <a:cubicBezTo>
                    <a:pt x="641" y="244"/>
                    <a:pt x="629" y="233"/>
                    <a:pt x="618" y="222"/>
                  </a:cubicBezTo>
                  <a:cubicBezTo>
                    <a:pt x="604" y="199"/>
                    <a:pt x="582" y="188"/>
                    <a:pt x="560" y="188"/>
                  </a:cubicBezTo>
                  <a:lnTo>
                    <a:pt x="548" y="188"/>
                  </a:lnTo>
                  <a:cubicBezTo>
                    <a:pt x="534" y="188"/>
                    <a:pt x="523" y="188"/>
                    <a:pt x="512" y="199"/>
                  </a:cubicBezTo>
                  <a:cubicBezTo>
                    <a:pt x="512" y="199"/>
                    <a:pt x="501" y="211"/>
                    <a:pt x="501" y="222"/>
                  </a:cubicBezTo>
                  <a:lnTo>
                    <a:pt x="501" y="233"/>
                  </a:lnTo>
                  <a:lnTo>
                    <a:pt x="490" y="233"/>
                  </a:lnTo>
                  <a:cubicBezTo>
                    <a:pt x="478" y="233"/>
                    <a:pt x="465" y="244"/>
                    <a:pt x="453" y="258"/>
                  </a:cubicBezTo>
                  <a:cubicBezTo>
                    <a:pt x="453" y="258"/>
                    <a:pt x="442" y="269"/>
                    <a:pt x="442" y="280"/>
                  </a:cubicBezTo>
                  <a:cubicBezTo>
                    <a:pt x="442" y="303"/>
                    <a:pt x="453" y="314"/>
                    <a:pt x="453" y="328"/>
                  </a:cubicBezTo>
                  <a:cubicBezTo>
                    <a:pt x="465" y="339"/>
                    <a:pt x="478" y="362"/>
                    <a:pt x="478" y="384"/>
                  </a:cubicBezTo>
                  <a:cubicBezTo>
                    <a:pt x="478" y="409"/>
                    <a:pt x="465" y="420"/>
                    <a:pt x="453" y="431"/>
                  </a:cubicBezTo>
                  <a:cubicBezTo>
                    <a:pt x="442" y="443"/>
                    <a:pt x="420" y="454"/>
                    <a:pt x="395" y="454"/>
                  </a:cubicBezTo>
                  <a:lnTo>
                    <a:pt x="383" y="454"/>
                  </a:lnTo>
                  <a:cubicBezTo>
                    <a:pt x="372" y="454"/>
                    <a:pt x="361" y="443"/>
                    <a:pt x="339" y="443"/>
                  </a:cubicBezTo>
                  <a:lnTo>
                    <a:pt x="325" y="443"/>
                  </a:lnTo>
                  <a:cubicBezTo>
                    <a:pt x="314" y="443"/>
                    <a:pt x="302" y="454"/>
                    <a:pt x="291" y="454"/>
                  </a:cubicBezTo>
                  <a:cubicBezTo>
                    <a:pt x="280" y="468"/>
                    <a:pt x="269" y="468"/>
                    <a:pt x="269" y="468"/>
                  </a:cubicBezTo>
                  <a:lnTo>
                    <a:pt x="255" y="468"/>
                  </a:lnTo>
                  <a:cubicBezTo>
                    <a:pt x="255" y="468"/>
                    <a:pt x="244" y="454"/>
                    <a:pt x="232" y="454"/>
                  </a:cubicBezTo>
                  <a:cubicBezTo>
                    <a:pt x="199" y="454"/>
                    <a:pt x="185" y="479"/>
                    <a:pt x="163" y="479"/>
                  </a:cubicBezTo>
                  <a:cubicBezTo>
                    <a:pt x="151" y="490"/>
                    <a:pt x="115" y="490"/>
                    <a:pt x="93" y="490"/>
                  </a:cubicBezTo>
                  <a:lnTo>
                    <a:pt x="45" y="490"/>
                  </a:lnTo>
                  <a:lnTo>
                    <a:pt x="45" y="479"/>
                  </a:lnTo>
                  <a:cubicBezTo>
                    <a:pt x="45" y="468"/>
                    <a:pt x="59" y="454"/>
                    <a:pt x="70" y="431"/>
                  </a:cubicBezTo>
                  <a:cubicBezTo>
                    <a:pt x="93" y="398"/>
                    <a:pt x="93" y="362"/>
                    <a:pt x="93" y="328"/>
                  </a:cubicBezTo>
                  <a:cubicBezTo>
                    <a:pt x="104" y="292"/>
                    <a:pt x="115" y="269"/>
                    <a:pt x="129" y="244"/>
                  </a:cubicBezTo>
                  <a:cubicBezTo>
                    <a:pt x="140" y="258"/>
                    <a:pt x="151" y="280"/>
                    <a:pt x="163" y="303"/>
                  </a:cubicBezTo>
                  <a:cubicBezTo>
                    <a:pt x="174" y="328"/>
                    <a:pt x="185" y="362"/>
                    <a:pt x="210" y="384"/>
                  </a:cubicBezTo>
                  <a:cubicBezTo>
                    <a:pt x="221" y="398"/>
                    <a:pt x="244" y="398"/>
                    <a:pt x="269" y="398"/>
                  </a:cubicBezTo>
                  <a:lnTo>
                    <a:pt x="302" y="398"/>
                  </a:lnTo>
                  <a:cubicBezTo>
                    <a:pt x="302" y="384"/>
                    <a:pt x="314" y="373"/>
                    <a:pt x="314" y="362"/>
                  </a:cubicBezTo>
                  <a:lnTo>
                    <a:pt x="325" y="350"/>
                  </a:lnTo>
                  <a:cubicBezTo>
                    <a:pt x="325" y="339"/>
                    <a:pt x="314" y="328"/>
                    <a:pt x="302" y="314"/>
                  </a:cubicBezTo>
                  <a:lnTo>
                    <a:pt x="291" y="303"/>
                  </a:lnTo>
                  <a:cubicBezTo>
                    <a:pt x="269" y="292"/>
                    <a:pt x="244" y="280"/>
                    <a:pt x="232" y="258"/>
                  </a:cubicBezTo>
                  <a:cubicBezTo>
                    <a:pt x="221" y="244"/>
                    <a:pt x="210" y="233"/>
                    <a:pt x="210" y="211"/>
                  </a:cubicBezTo>
                  <a:lnTo>
                    <a:pt x="210" y="199"/>
                  </a:lnTo>
                  <a:lnTo>
                    <a:pt x="232" y="199"/>
                  </a:lnTo>
                  <a:cubicBezTo>
                    <a:pt x="244" y="199"/>
                    <a:pt x="269" y="211"/>
                    <a:pt x="269" y="222"/>
                  </a:cubicBezTo>
                  <a:cubicBezTo>
                    <a:pt x="280" y="222"/>
                    <a:pt x="280" y="233"/>
                    <a:pt x="291" y="258"/>
                  </a:cubicBezTo>
                  <a:cubicBezTo>
                    <a:pt x="302" y="258"/>
                    <a:pt x="302" y="269"/>
                    <a:pt x="314" y="269"/>
                  </a:cubicBezTo>
                  <a:cubicBezTo>
                    <a:pt x="325" y="280"/>
                    <a:pt x="325" y="280"/>
                    <a:pt x="339" y="280"/>
                  </a:cubicBezTo>
                  <a:lnTo>
                    <a:pt x="350" y="280"/>
                  </a:lnTo>
                  <a:cubicBezTo>
                    <a:pt x="361" y="280"/>
                    <a:pt x="372" y="269"/>
                    <a:pt x="372" y="269"/>
                  </a:cubicBezTo>
                  <a:cubicBezTo>
                    <a:pt x="383" y="258"/>
                    <a:pt x="395" y="244"/>
                    <a:pt x="395" y="233"/>
                  </a:cubicBezTo>
                  <a:cubicBezTo>
                    <a:pt x="409" y="233"/>
                    <a:pt x="409" y="222"/>
                    <a:pt x="409" y="222"/>
                  </a:cubicBezTo>
                  <a:lnTo>
                    <a:pt x="420" y="222"/>
                  </a:lnTo>
                  <a:cubicBezTo>
                    <a:pt x="431" y="211"/>
                    <a:pt x="442" y="199"/>
                    <a:pt x="442" y="188"/>
                  </a:cubicBezTo>
                  <a:cubicBezTo>
                    <a:pt x="453" y="174"/>
                    <a:pt x="453" y="174"/>
                    <a:pt x="453" y="163"/>
                  </a:cubicBezTo>
                  <a:lnTo>
                    <a:pt x="453" y="152"/>
                  </a:lnTo>
                  <a:cubicBezTo>
                    <a:pt x="442" y="129"/>
                    <a:pt x="442" y="118"/>
                    <a:pt x="442" y="104"/>
                  </a:cubicBezTo>
                  <a:cubicBezTo>
                    <a:pt x="442" y="93"/>
                    <a:pt x="442" y="82"/>
                    <a:pt x="453" y="71"/>
                  </a:cubicBezTo>
                  <a:cubicBezTo>
                    <a:pt x="453" y="71"/>
                    <a:pt x="465" y="60"/>
                    <a:pt x="478" y="48"/>
                  </a:cubicBezTo>
                  <a:close/>
                  <a:moveTo>
                    <a:pt x="501" y="1"/>
                  </a:moveTo>
                  <a:cubicBezTo>
                    <a:pt x="490" y="1"/>
                    <a:pt x="465" y="1"/>
                    <a:pt x="453" y="12"/>
                  </a:cubicBezTo>
                  <a:cubicBezTo>
                    <a:pt x="442" y="23"/>
                    <a:pt x="431" y="34"/>
                    <a:pt x="420" y="48"/>
                  </a:cubicBezTo>
                  <a:cubicBezTo>
                    <a:pt x="409" y="60"/>
                    <a:pt x="395" y="82"/>
                    <a:pt x="395" y="93"/>
                  </a:cubicBezTo>
                  <a:lnTo>
                    <a:pt x="395" y="104"/>
                  </a:lnTo>
                  <a:cubicBezTo>
                    <a:pt x="395" y="129"/>
                    <a:pt x="409" y="141"/>
                    <a:pt x="409" y="152"/>
                  </a:cubicBezTo>
                  <a:lnTo>
                    <a:pt x="409" y="163"/>
                  </a:lnTo>
                  <a:lnTo>
                    <a:pt x="409" y="174"/>
                  </a:lnTo>
                  <a:lnTo>
                    <a:pt x="395" y="174"/>
                  </a:lnTo>
                  <a:lnTo>
                    <a:pt x="383" y="188"/>
                  </a:lnTo>
                  <a:cubicBezTo>
                    <a:pt x="372" y="188"/>
                    <a:pt x="361" y="211"/>
                    <a:pt x="350" y="222"/>
                  </a:cubicBezTo>
                  <a:lnTo>
                    <a:pt x="350" y="233"/>
                  </a:lnTo>
                  <a:lnTo>
                    <a:pt x="339" y="233"/>
                  </a:lnTo>
                  <a:lnTo>
                    <a:pt x="325" y="222"/>
                  </a:lnTo>
                  <a:cubicBezTo>
                    <a:pt x="325" y="222"/>
                    <a:pt x="314" y="199"/>
                    <a:pt x="314" y="188"/>
                  </a:cubicBezTo>
                  <a:cubicBezTo>
                    <a:pt x="291" y="163"/>
                    <a:pt x="255" y="152"/>
                    <a:pt x="232" y="152"/>
                  </a:cubicBezTo>
                  <a:lnTo>
                    <a:pt x="210" y="152"/>
                  </a:lnTo>
                  <a:cubicBezTo>
                    <a:pt x="199" y="152"/>
                    <a:pt x="185" y="163"/>
                    <a:pt x="174" y="174"/>
                  </a:cubicBezTo>
                  <a:cubicBezTo>
                    <a:pt x="163" y="188"/>
                    <a:pt x="163" y="199"/>
                    <a:pt x="163" y="211"/>
                  </a:cubicBezTo>
                  <a:lnTo>
                    <a:pt x="140" y="199"/>
                  </a:lnTo>
                  <a:lnTo>
                    <a:pt x="129" y="199"/>
                  </a:lnTo>
                  <a:cubicBezTo>
                    <a:pt x="115" y="199"/>
                    <a:pt x="115" y="199"/>
                    <a:pt x="104" y="211"/>
                  </a:cubicBezTo>
                  <a:lnTo>
                    <a:pt x="93" y="222"/>
                  </a:lnTo>
                  <a:cubicBezTo>
                    <a:pt x="70" y="244"/>
                    <a:pt x="59" y="280"/>
                    <a:pt x="59" y="314"/>
                  </a:cubicBezTo>
                  <a:cubicBezTo>
                    <a:pt x="45" y="350"/>
                    <a:pt x="45" y="384"/>
                    <a:pt x="34" y="409"/>
                  </a:cubicBezTo>
                  <a:cubicBezTo>
                    <a:pt x="23" y="420"/>
                    <a:pt x="12" y="443"/>
                    <a:pt x="0" y="468"/>
                  </a:cubicBezTo>
                  <a:lnTo>
                    <a:pt x="0" y="479"/>
                  </a:lnTo>
                  <a:cubicBezTo>
                    <a:pt x="0" y="490"/>
                    <a:pt x="0" y="501"/>
                    <a:pt x="12" y="513"/>
                  </a:cubicBezTo>
                  <a:cubicBezTo>
                    <a:pt x="12" y="524"/>
                    <a:pt x="23" y="524"/>
                    <a:pt x="34" y="538"/>
                  </a:cubicBezTo>
                  <a:lnTo>
                    <a:pt x="93" y="538"/>
                  </a:lnTo>
                  <a:cubicBezTo>
                    <a:pt x="129" y="538"/>
                    <a:pt x="151" y="538"/>
                    <a:pt x="185" y="524"/>
                  </a:cubicBezTo>
                  <a:cubicBezTo>
                    <a:pt x="210" y="513"/>
                    <a:pt x="221" y="501"/>
                    <a:pt x="232" y="501"/>
                  </a:cubicBezTo>
                  <a:cubicBezTo>
                    <a:pt x="232" y="501"/>
                    <a:pt x="244" y="513"/>
                    <a:pt x="255" y="513"/>
                  </a:cubicBezTo>
                  <a:lnTo>
                    <a:pt x="269" y="513"/>
                  </a:lnTo>
                  <a:cubicBezTo>
                    <a:pt x="280" y="513"/>
                    <a:pt x="291" y="501"/>
                    <a:pt x="302" y="501"/>
                  </a:cubicBezTo>
                  <a:cubicBezTo>
                    <a:pt x="314" y="501"/>
                    <a:pt x="325" y="490"/>
                    <a:pt x="339" y="490"/>
                  </a:cubicBezTo>
                  <a:cubicBezTo>
                    <a:pt x="350" y="490"/>
                    <a:pt x="361" y="490"/>
                    <a:pt x="383" y="501"/>
                  </a:cubicBezTo>
                  <a:lnTo>
                    <a:pt x="395" y="501"/>
                  </a:lnTo>
                  <a:cubicBezTo>
                    <a:pt x="431" y="501"/>
                    <a:pt x="453" y="490"/>
                    <a:pt x="478" y="468"/>
                  </a:cubicBezTo>
                  <a:cubicBezTo>
                    <a:pt x="512" y="443"/>
                    <a:pt x="523" y="420"/>
                    <a:pt x="523" y="384"/>
                  </a:cubicBezTo>
                  <a:cubicBezTo>
                    <a:pt x="523" y="350"/>
                    <a:pt x="512" y="328"/>
                    <a:pt x="501" y="303"/>
                  </a:cubicBezTo>
                  <a:cubicBezTo>
                    <a:pt x="501" y="292"/>
                    <a:pt x="490" y="280"/>
                    <a:pt x="490" y="280"/>
                  </a:cubicBezTo>
                  <a:lnTo>
                    <a:pt x="512" y="280"/>
                  </a:lnTo>
                  <a:lnTo>
                    <a:pt x="523" y="269"/>
                  </a:lnTo>
                  <a:cubicBezTo>
                    <a:pt x="534" y="269"/>
                    <a:pt x="534" y="258"/>
                    <a:pt x="534" y="244"/>
                  </a:cubicBezTo>
                  <a:lnTo>
                    <a:pt x="548" y="233"/>
                  </a:lnTo>
                  <a:lnTo>
                    <a:pt x="560" y="233"/>
                  </a:lnTo>
                  <a:cubicBezTo>
                    <a:pt x="560" y="233"/>
                    <a:pt x="571" y="233"/>
                    <a:pt x="582" y="244"/>
                  </a:cubicBezTo>
                  <a:cubicBezTo>
                    <a:pt x="593" y="258"/>
                    <a:pt x="604" y="280"/>
                    <a:pt x="629" y="292"/>
                  </a:cubicBezTo>
                  <a:cubicBezTo>
                    <a:pt x="641" y="292"/>
                    <a:pt x="652" y="303"/>
                    <a:pt x="674" y="303"/>
                  </a:cubicBezTo>
                  <a:cubicBezTo>
                    <a:pt x="699" y="303"/>
                    <a:pt x="733" y="292"/>
                    <a:pt x="744" y="269"/>
                  </a:cubicBezTo>
                  <a:cubicBezTo>
                    <a:pt x="758" y="244"/>
                    <a:pt x="769" y="233"/>
                    <a:pt x="769" y="211"/>
                  </a:cubicBezTo>
                  <a:cubicBezTo>
                    <a:pt x="769" y="188"/>
                    <a:pt x="758" y="163"/>
                    <a:pt x="722" y="141"/>
                  </a:cubicBezTo>
                  <a:cubicBezTo>
                    <a:pt x="711" y="129"/>
                    <a:pt x="688" y="129"/>
                    <a:pt x="663" y="129"/>
                  </a:cubicBezTo>
                  <a:lnTo>
                    <a:pt x="604" y="129"/>
                  </a:lnTo>
                  <a:lnTo>
                    <a:pt x="604" y="118"/>
                  </a:lnTo>
                  <a:cubicBezTo>
                    <a:pt x="604" y="104"/>
                    <a:pt x="618" y="93"/>
                    <a:pt x="618" y="82"/>
                  </a:cubicBezTo>
                  <a:cubicBezTo>
                    <a:pt x="618" y="60"/>
                    <a:pt x="604" y="48"/>
                    <a:pt x="582" y="23"/>
                  </a:cubicBezTo>
                  <a:cubicBezTo>
                    <a:pt x="571" y="12"/>
                    <a:pt x="560" y="12"/>
                    <a:pt x="54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1" name="Google Shape;249;p17">
              <a:extLst>
                <a:ext uri="{FF2B5EF4-FFF2-40B4-BE49-F238E27FC236}">
                  <a16:creationId xmlns:a16="http://schemas.microsoft.com/office/drawing/2014/main" xmlns="" id="{DA497542-E4BB-1072-B26D-1DB1F7EBAC0C}"/>
                </a:ext>
              </a:extLst>
            </p:cNvPr>
            <p:cNvSpPr/>
            <p:nvPr/>
          </p:nvSpPr>
          <p:spPr>
            <a:xfrm>
              <a:off x="3176217" y="3169921"/>
              <a:ext cx="158849" cy="128419"/>
            </a:xfrm>
            <a:custGeom>
              <a:avLst/>
              <a:gdLst/>
              <a:ahLst/>
              <a:cxnLst/>
              <a:rect l="l" t="t" r="r" b="b"/>
              <a:pathLst>
                <a:path w="689" h="557" extrusionOk="0">
                  <a:moveTo>
                    <a:pt x="674" y="1"/>
                  </a:moveTo>
                  <a:cubicBezTo>
                    <a:pt x="649" y="1"/>
                    <a:pt x="617" y="19"/>
                    <a:pt x="608" y="29"/>
                  </a:cubicBezTo>
                  <a:cubicBezTo>
                    <a:pt x="608" y="29"/>
                    <a:pt x="594" y="40"/>
                    <a:pt x="594" y="51"/>
                  </a:cubicBezTo>
                  <a:cubicBezTo>
                    <a:pt x="581" y="64"/>
                    <a:pt x="568" y="70"/>
                    <a:pt x="557" y="70"/>
                  </a:cubicBezTo>
                  <a:cubicBezTo>
                    <a:pt x="549" y="70"/>
                    <a:pt x="542" y="67"/>
                    <a:pt x="538" y="62"/>
                  </a:cubicBezTo>
                  <a:cubicBezTo>
                    <a:pt x="524" y="51"/>
                    <a:pt x="524" y="51"/>
                    <a:pt x="513" y="51"/>
                  </a:cubicBezTo>
                  <a:lnTo>
                    <a:pt x="490" y="51"/>
                  </a:lnTo>
                  <a:cubicBezTo>
                    <a:pt x="479" y="62"/>
                    <a:pt x="454" y="73"/>
                    <a:pt x="432" y="87"/>
                  </a:cubicBezTo>
                  <a:cubicBezTo>
                    <a:pt x="420" y="99"/>
                    <a:pt x="398" y="110"/>
                    <a:pt x="398" y="132"/>
                  </a:cubicBezTo>
                  <a:cubicBezTo>
                    <a:pt x="384" y="143"/>
                    <a:pt x="384" y="157"/>
                    <a:pt x="384" y="168"/>
                  </a:cubicBezTo>
                  <a:cubicBezTo>
                    <a:pt x="384" y="191"/>
                    <a:pt x="373" y="213"/>
                    <a:pt x="350" y="238"/>
                  </a:cubicBezTo>
                  <a:cubicBezTo>
                    <a:pt x="328" y="250"/>
                    <a:pt x="292" y="250"/>
                    <a:pt x="269" y="261"/>
                  </a:cubicBezTo>
                  <a:cubicBezTo>
                    <a:pt x="244" y="272"/>
                    <a:pt x="233" y="283"/>
                    <a:pt x="211" y="308"/>
                  </a:cubicBezTo>
                  <a:cubicBezTo>
                    <a:pt x="199" y="319"/>
                    <a:pt x="174" y="342"/>
                    <a:pt x="174" y="353"/>
                  </a:cubicBezTo>
                  <a:cubicBezTo>
                    <a:pt x="163" y="378"/>
                    <a:pt x="163" y="389"/>
                    <a:pt x="163" y="400"/>
                  </a:cubicBezTo>
                  <a:cubicBezTo>
                    <a:pt x="152" y="423"/>
                    <a:pt x="130" y="437"/>
                    <a:pt x="104" y="448"/>
                  </a:cubicBezTo>
                  <a:lnTo>
                    <a:pt x="71" y="448"/>
                  </a:lnTo>
                  <a:cubicBezTo>
                    <a:pt x="48" y="459"/>
                    <a:pt x="12" y="470"/>
                    <a:pt x="1" y="507"/>
                  </a:cubicBezTo>
                  <a:lnTo>
                    <a:pt x="1" y="529"/>
                  </a:lnTo>
                  <a:cubicBezTo>
                    <a:pt x="12" y="540"/>
                    <a:pt x="23" y="540"/>
                    <a:pt x="34" y="540"/>
                  </a:cubicBezTo>
                  <a:cubicBezTo>
                    <a:pt x="60" y="529"/>
                    <a:pt x="71" y="518"/>
                    <a:pt x="93" y="507"/>
                  </a:cubicBezTo>
                  <a:cubicBezTo>
                    <a:pt x="104" y="507"/>
                    <a:pt x="130" y="493"/>
                    <a:pt x="152" y="493"/>
                  </a:cubicBezTo>
                  <a:cubicBezTo>
                    <a:pt x="174" y="507"/>
                    <a:pt x="188" y="529"/>
                    <a:pt x="199" y="540"/>
                  </a:cubicBezTo>
                  <a:cubicBezTo>
                    <a:pt x="215" y="548"/>
                    <a:pt x="231" y="556"/>
                    <a:pt x="244" y="556"/>
                  </a:cubicBezTo>
                  <a:cubicBezTo>
                    <a:pt x="249" y="556"/>
                    <a:pt x="254" y="555"/>
                    <a:pt x="258" y="551"/>
                  </a:cubicBezTo>
                  <a:cubicBezTo>
                    <a:pt x="269" y="540"/>
                    <a:pt x="269" y="529"/>
                    <a:pt x="269" y="507"/>
                  </a:cubicBezTo>
                  <a:cubicBezTo>
                    <a:pt x="269" y="493"/>
                    <a:pt x="258" y="482"/>
                    <a:pt x="269" y="470"/>
                  </a:cubicBezTo>
                  <a:cubicBezTo>
                    <a:pt x="269" y="448"/>
                    <a:pt x="292" y="437"/>
                    <a:pt x="314" y="437"/>
                  </a:cubicBezTo>
                  <a:cubicBezTo>
                    <a:pt x="303" y="448"/>
                    <a:pt x="328" y="459"/>
                    <a:pt x="339" y="459"/>
                  </a:cubicBezTo>
                  <a:lnTo>
                    <a:pt x="373" y="459"/>
                  </a:lnTo>
                  <a:cubicBezTo>
                    <a:pt x="373" y="470"/>
                    <a:pt x="373" y="470"/>
                    <a:pt x="384" y="482"/>
                  </a:cubicBezTo>
                  <a:cubicBezTo>
                    <a:pt x="398" y="493"/>
                    <a:pt x="420" y="493"/>
                    <a:pt x="443" y="493"/>
                  </a:cubicBezTo>
                  <a:cubicBezTo>
                    <a:pt x="479" y="493"/>
                    <a:pt x="501" y="493"/>
                    <a:pt x="524" y="470"/>
                  </a:cubicBezTo>
                  <a:cubicBezTo>
                    <a:pt x="560" y="459"/>
                    <a:pt x="583" y="448"/>
                    <a:pt x="594" y="412"/>
                  </a:cubicBezTo>
                  <a:cubicBezTo>
                    <a:pt x="608" y="400"/>
                    <a:pt x="608" y="367"/>
                    <a:pt x="619" y="353"/>
                  </a:cubicBezTo>
                  <a:cubicBezTo>
                    <a:pt x="619" y="331"/>
                    <a:pt x="641" y="308"/>
                    <a:pt x="652" y="297"/>
                  </a:cubicBezTo>
                  <a:cubicBezTo>
                    <a:pt x="664" y="272"/>
                    <a:pt x="664" y="250"/>
                    <a:pt x="641" y="227"/>
                  </a:cubicBezTo>
                  <a:cubicBezTo>
                    <a:pt x="641" y="213"/>
                    <a:pt x="630" y="213"/>
                    <a:pt x="630" y="202"/>
                  </a:cubicBezTo>
                  <a:cubicBezTo>
                    <a:pt x="619" y="191"/>
                    <a:pt x="630" y="168"/>
                    <a:pt x="630" y="157"/>
                  </a:cubicBezTo>
                  <a:cubicBezTo>
                    <a:pt x="641" y="143"/>
                    <a:pt x="652" y="132"/>
                    <a:pt x="664" y="110"/>
                  </a:cubicBezTo>
                  <a:cubicBezTo>
                    <a:pt x="678" y="99"/>
                    <a:pt x="678" y="87"/>
                    <a:pt x="689" y="62"/>
                  </a:cubicBezTo>
                  <a:lnTo>
                    <a:pt x="689" y="3"/>
                  </a:lnTo>
                  <a:cubicBezTo>
                    <a:pt x="684" y="1"/>
                    <a:pt x="679" y="1"/>
                    <a:pt x="67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2" name="Google Shape;250;p17">
              <a:extLst>
                <a:ext uri="{FF2B5EF4-FFF2-40B4-BE49-F238E27FC236}">
                  <a16:creationId xmlns:a16="http://schemas.microsoft.com/office/drawing/2014/main" xmlns="" id="{E0BF56BB-198D-1A6F-8BEA-82FD7DCB81D6}"/>
                </a:ext>
              </a:extLst>
            </p:cNvPr>
            <p:cNvSpPr/>
            <p:nvPr/>
          </p:nvSpPr>
          <p:spPr>
            <a:xfrm>
              <a:off x="3171145" y="3165541"/>
              <a:ext cx="169224" cy="139947"/>
            </a:xfrm>
            <a:custGeom>
              <a:avLst/>
              <a:gdLst/>
              <a:ahLst/>
              <a:cxnLst/>
              <a:rect l="l" t="t" r="r" b="b"/>
              <a:pathLst>
                <a:path w="734" h="607" extrusionOk="0">
                  <a:moveTo>
                    <a:pt x="686" y="48"/>
                  </a:moveTo>
                  <a:lnTo>
                    <a:pt x="686" y="81"/>
                  </a:lnTo>
                  <a:cubicBezTo>
                    <a:pt x="674" y="92"/>
                    <a:pt x="674" y="106"/>
                    <a:pt x="663" y="118"/>
                  </a:cubicBezTo>
                  <a:cubicBezTo>
                    <a:pt x="663" y="129"/>
                    <a:pt x="652" y="140"/>
                    <a:pt x="641" y="162"/>
                  </a:cubicBezTo>
                  <a:cubicBezTo>
                    <a:pt x="630" y="176"/>
                    <a:pt x="630" y="187"/>
                    <a:pt x="630" y="199"/>
                  </a:cubicBezTo>
                  <a:lnTo>
                    <a:pt x="630" y="232"/>
                  </a:lnTo>
                  <a:cubicBezTo>
                    <a:pt x="641" y="246"/>
                    <a:pt x="652" y="257"/>
                    <a:pt x="652" y="257"/>
                  </a:cubicBezTo>
                  <a:cubicBezTo>
                    <a:pt x="652" y="269"/>
                    <a:pt x="663" y="280"/>
                    <a:pt x="663" y="291"/>
                  </a:cubicBezTo>
                  <a:cubicBezTo>
                    <a:pt x="663" y="294"/>
                    <a:pt x="663" y="296"/>
                    <a:pt x="663" y="297"/>
                  </a:cubicBezTo>
                  <a:lnTo>
                    <a:pt x="663" y="297"/>
                  </a:lnTo>
                  <a:cubicBezTo>
                    <a:pt x="648" y="307"/>
                    <a:pt x="641" y="318"/>
                    <a:pt x="641" y="327"/>
                  </a:cubicBezTo>
                  <a:cubicBezTo>
                    <a:pt x="630" y="338"/>
                    <a:pt x="616" y="350"/>
                    <a:pt x="616" y="361"/>
                  </a:cubicBezTo>
                  <a:cubicBezTo>
                    <a:pt x="605" y="386"/>
                    <a:pt x="605" y="408"/>
                    <a:pt x="593" y="419"/>
                  </a:cubicBezTo>
                  <a:cubicBezTo>
                    <a:pt x="582" y="442"/>
                    <a:pt x="571" y="467"/>
                    <a:pt x="546" y="478"/>
                  </a:cubicBezTo>
                  <a:cubicBezTo>
                    <a:pt x="523" y="489"/>
                    <a:pt x="490" y="489"/>
                    <a:pt x="465" y="489"/>
                  </a:cubicBezTo>
                  <a:lnTo>
                    <a:pt x="431" y="489"/>
                  </a:lnTo>
                  <a:cubicBezTo>
                    <a:pt x="431" y="489"/>
                    <a:pt x="420" y="489"/>
                    <a:pt x="420" y="478"/>
                  </a:cubicBezTo>
                  <a:lnTo>
                    <a:pt x="406" y="467"/>
                  </a:lnTo>
                  <a:cubicBezTo>
                    <a:pt x="406" y="456"/>
                    <a:pt x="395" y="456"/>
                    <a:pt x="384" y="456"/>
                  </a:cubicBezTo>
                  <a:lnTo>
                    <a:pt x="354" y="456"/>
                  </a:lnTo>
                  <a:lnTo>
                    <a:pt x="361" y="431"/>
                  </a:lnTo>
                  <a:lnTo>
                    <a:pt x="325" y="431"/>
                  </a:lnTo>
                  <a:cubicBezTo>
                    <a:pt x="314" y="431"/>
                    <a:pt x="303" y="431"/>
                    <a:pt x="291" y="442"/>
                  </a:cubicBezTo>
                  <a:cubicBezTo>
                    <a:pt x="280" y="456"/>
                    <a:pt x="266" y="467"/>
                    <a:pt x="266" y="478"/>
                  </a:cubicBezTo>
                  <a:cubicBezTo>
                    <a:pt x="255" y="489"/>
                    <a:pt x="255" y="489"/>
                    <a:pt x="255" y="501"/>
                  </a:cubicBezTo>
                  <a:cubicBezTo>
                    <a:pt x="255" y="512"/>
                    <a:pt x="266" y="526"/>
                    <a:pt x="266" y="537"/>
                  </a:cubicBezTo>
                  <a:lnTo>
                    <a:pt x="266" y="548"/>
                  </a:lnTo>
                  <a:lnTo>
                    <a:pt x="266" y="559"/>
                  </a:lnTo>
                  <a:cubicBezTo>
                    <a:pt x="255" y="559"/>
                    <a:pt x="244" y="548"/>
                    <a:pt x="244" y="548"/>
                  </a:cubicBezTo>
                  <a:cubicBezTo>
                    <a:pt x="233" y="537"/>
                    <a:pt x="221" y="526"/>
                    <a:pt x="221" y="526"/>
                  </a:cubicBezTo>
                  <a:cubicBezTo>
                    <a:pt x="210" y="512"/>
                    <a:pt x="196" y="501"/>
                    <a:pt x="185" y="501"/>
                  </a:cubicBezTo>
                  <a:cubicBezTo>
                    <a:pt x="174" y="489"/>
                    <a:pt x="163" y="489"/>
                    <a:pt x="163" y="489"/>
                  </a:cubicBezTo>
                  <a:cubicBezTo>
                    <a:pt x="140" y="489"/>
                    <a:pt x="115" y="501"/>
                    <a:pt x="104" y="512"/>
                  </a:cubicBezTo>
                  <a:cubicBezTo>
                    <a:pt x="82" y="526"/>
                    <a:pt x="70" y="537"/>
                    <a:pt x="56" y="537"/>
                  </a:cubicBezTo>
                  <a:lnTo>
                    <a:pt x="45" y="537"/>
                  </a:lnTo>
                  <a:cubicBezTo>
                    <a:pt x="56" y="512"/>
                    <a:pt x="82" y="489"/>
                    <a:pt x="93" y="489"/>
                  </a:cubicBezTo>
                  <a:lnTo>
                    <a:pt x="140" y="489"/>
                  </a:lnTo>
                  <a:cubicBezTo>
                    <a:pt x="163" y="478"/>
                    <a:pt x="185" y="456"/>
                    <a:pt x="210" y="431"/>
                  </a:cubicBezTo>
                  <a:cubicBezTo>
                    <a:pt x="210" y="408"/>
                    <a:pt x="210" y="397"/>
                    <a:pt x="221" y="386"/>
                  </a:cubicBezTo>
                  <a:cubicBezTo>
                    <a:pt x="221" y="372"/>
                    <a:pt x="233" y="350"/>
                    <a:pt x="255" y="338"/>
                  </a:cubicBezTo>
                  <a:cubicBezTo>
                    <a:pt x="266" y="316"/>
                    <a:pt x="291" y="302"/>
                    <a:pt x="303" y="291"/>
                  </a:cubicBezTo>
                  <a:lnTo>
                    <a:pt x="336" y="291"/>
                  </a:lnTo>
                  <a:cubicBezTo>
                    <a:pt x="350" y="280"/>
                    <a:pt x="361" y="280"/>
                    <a:pt x="384" y="269"/>
                  </a:cubicBezTo>
                  <a:cubicBezTo>
                    <a:pt x="406" y="257"/>
                    <a:pt x="431" y="221"/>
                    <a:pt x="431" y="199"/>
                  </a:cubicBezTo>
                  <a:cubicBezTo>
                    <a:pt x="431" y="176"/>
                    <a:pt x="431" y="162"/>
                    <a:pt x="442" y="151"/>
                  </a:cubicBezTo>
                  <a:lnTo>
                    <a:pt x="454" y="140"/>
                  </a:lnTo>
                  <a:lnTo>
                    <a:pt x="465" y="129"/>
                  </a:lnTo>
                  <a:cubicBezTo>
                    <a:pt x="490" y="118"/>
                    <a:pt x="512" y="106"/>
                    <a:pt x="523" y="92"/>
                  </a:cubicBezTo>
                  <a:lnTo>
                    <a:pt x="535" y="92"/>
                  </a:lnTo>
                  <a:cubicBezTo>
                    <a:pt x="546" y="106"/>
                    <a:pt x="571" y="118"/>
                    <a:pt x="582" y="118"/>
                  </a:cubicBezTo>
                  <a:cubicBezTo>
                    <a:pt x="593" y="118"/>
                    <a:pt x="616" y="106"/>
                    <a:pt x="630" y="81"/>
                  </a:cubicBezTo>
                  <a:cubicBezTo>
                    <a:pt x="641" y="70"/>
                    <a:pt x="641" y="59"/>
                    <a:pt x="652" y="59"/>
                  </a:cubicBezTo>
                  <a:lnTo>
                    <a:pt x="663" y="48"/>
                  </a:lnTo>
                  <a:close/>
                  <a:moveTo>
                    <a:pt x="686" y="0"/>
                  </a:moveTo>
                  <a:cubicBezTo>
                    <a:pt x="674" y="0"/>
                    <a:pt x="663" y="0"/>
                    <a:pt x="641" y="11"/>
                  </a:cubicBezTo>
                  <a:cubicBezTo>
                    <a:pt x="630" y="11"/>
                    <a:pt x="616" y="22"/>
                    <a:pt x="616" y="22"/>
                  </a:cubicBezTo>
                  <a:cubicBezTo>
                    <a:pt x="605" y="48"/>
                    <a:pt x="593" y="59"/>
                    <a:pt x="593" y="59"/>
                  </a:cubicBezTo>
                  <a:lnTo>
                    <a:pt x="582" y="70"/>
                  </a:lnTo>
                  <a:cubicBezTo>
                    <a:pt x="571" y="70"/>
                    <a:pt x="571" y="59"/>
                    <a:pt x="571" y="59"/>
                  </a:cubicBezTo>
                  <a:cubicBezTo>
                    <a:pt x="571" y="59"/>
                    <a:pt x="560" y="48"/>
                    <a:pt x="546" y="48"/>
                  </a:cubicBezTo>
                  <a:lnTo>
                    <a:pt x="535" y="48"/>
                  </a:lnTo>
                  <a:cubicBezTo>
                    <a:pt x="523" y="48"/>
                    <a:pt x="512" y="48"/>
                    <a:pt x="501" y="59"/>
                  </a:cubicBezTo>
                  <a:cubicBezTo>
                    <a:pt x="490" y="70"/>
                    <a:pt x="465" y="81"/>
                    <a:pt x="442" y="92"/>
                  </a:cubicBezTo>
                  <a:cubicBezTo>
                    <a:pt x="442" y="92"/>
                    <a:pt x="431" y="106"/>
                    <a:pt x="420" y="106"/>
                  </a:cubicBezTo>
                  <a:cubicBezTo>
                    <a:pt x="406" y="118"/>
                    <a:pt x="395" y="129"/>
                    <a:pt x="395" y="140"/>
                  </a:cubicBezTo>
                  <a:cubicBezTo>
                    <a:pt x="384" y="162"/>
                    <a:pt x="384" y="176"/>
                    <a:pt x="384" y="187"/>
                  </a:cubicBezTo>
                  <a:cubicBezTo>
                    <a:pt x="384" y="210"/>
                    <a:pt x="372" y="221"/>
                    <a:pt x="361" y="232"/>
                  </a:cubicBezTo>
                  <a:cubicBezTo>
                    <a:pt x="350" y="232"/>
                    <a:pt x="336" y="232"/>
                    <a:pt x="325" y="246"/>
                  </a:cubicBezTo>
                  <a:cubicBezTo>
                    <a:pt x="314" y="246"/>
                    <a:pt x="303" y="246"/>
                    <a:pt x="280" y="257"/>
                  </a:cubicBezTo>
                  <a:cubicBezTo>
                    <a:pt x="255" y="269"/>
                    <a:pt x="233" y="291"/>
                    <a:pt x="221" y="302"/>
                  </a:cubicBezTo>
                  <a:cubicBezTo>
                    <a:pt x="196" y="327"/>
                    <a:pt x="185" y="338"/>
                    <a:pt x="174" y="372"/>
                  </a:cubicBezTo>
                  <a:cubicBezTo>
                    <a:pt x="163" y="386"/>
                    <a:pt x="163" y="397"/>
                    <a:pt x="163" y="408"/>
                  </a:cubicBezTo>
                  <a:cubicBezTo>
                    <a:pt x="152" y="419"/>
                    <a:pt x="140" y="431"/>
                    <a:pt x="126" y="442"/>
                  </a:cubicBezTo>
                  <a:lnTo>
                    <a:pt x="93" y="442"/>
                  </a:lnTo>
                  <a:cubicBezTo>
                    <a:pt x="45" y="456"/>
                    <a:pt x="23" y="478"/>
                    <a:pt x="1" y="512"/>
                  </a:cubicBezTo>
                  <a:lnTo>
                    <a:pt x="1" y="537"/>
                  </a:lnTo>
                  <a:lnTo>
                    <a:pt x="1" y="548"/>
                  </a:lnTo>
                  <a:cubicBezTo>
                    <a:pt x="12" y="559"/>
                    <a:pt x="12" y="570"/>
                    <a:pt x="23" y="570"/>
                  </a:cubicBezTo>
                  <a:cubicBezTo>
                    <a:pt x="34" y="582"/>
                    <a:pt x="45" y="582"/>
                    <a:pt x="45" y="582"/>
                  </a:cubicBezTo>
                  <a:lnTo>
                    <a:pt x="70" y="582"/>
                  </a:lnTo>
                  <a:cubicBezTo>
                    <a:pt x="93" y="570"/>
                    <a:pt x="115" y="559"/>
                    <a:pt x="126" y="548"/>
                  </a:cubicBezTo>
                  <a:cubicBezTo>
                    <a:pt x="140" y="548"/>
                    <a:pt x="152" y="537"/>
                    <a:pt x="163" y="537"/>
                  </a:cubicBezTo>
                  <a:cubicBezTo>
                    <a:pt x="174" y="537"/>
                    <a:pt x="174" y="548"/>
                    <a:pt x="185" y="548"/>
                  </a:cubicBezTo>
                  <a:cubicBezTo>
                    <a:pt x="185" y="559"/>
                    <a:pt x="196" y="570"/>
                    <a:pt x="210" y="582"/>
                  </a:cubicBezTo>
                  <a:cubicBezTo>
                    <a:pt x="221" y="596"/>
                    <a:pt x="244" y="607"/>
                    <a:pt x="266" y="607"/>
                  </a:cubicBezTo>
                  <a:cubicBezTo>
                    <a:pt x="280" y="607"/>
                    <a:pt x="291" y="596"/>
                    <a:pt x="303" y="582"/>
                  </a:cubicBezTo>
                  <a:cubicBezTo>
                    <a:pt x="314" y="570"/>
                    <a:pt x="314" y="559"/>
                    <a:pt x="314" y="548"/>
                  </a:cubicBezTo>
                  <a:lnTo>
                    <a:pt x="314" y="526"/>
                  </a:lnTo>
                  <a:cubicBezTo>
                    <a:pt x="314" y="512"/>
                    <a:pt x="303" y="501"/>
                    <a:pt x="303" y="501"/>
                  </a:cubicBezTo>
                  <a:lnTo>
                    <a:pt x="303" y="489"/>
                  </a:lnTo>
                  <a:lnTo>
                    <a:pt x="314" y="478"/>
                  </a:lnTo>
                  <a:cubicBezTo>
                    <a:pt x="325" y="489"/>
                    <a:pt x="325" y="489"/>
                    <a:pt x="336" y="489"/>
                  </a:cubicBezTo>
                  <a:cubicBezTo>
                    <a:pt x="336" y="501"/>
                    <a:pt x="350" y="501"/>
                    <a:pt x="361" y="501"/>
                  </a:cubicBezTo>
                  <a:lnTo>
                    <a:pt x="372" y="501"/>
                  </a:lnTo>
                  <a:cubicBezTo>
                    <a:pt x="384" y="501"/>
                    <a:pt x="384" y="501"/>
                    <a:pt x="384" y="512"/>
                  </a:cubicBezTo>
                  <a:cubicBezTo>
                    <a:pt x="395" y="526"/>
                    <a:pt x="406" y="526"/>
                    <a:pt x="420" y="537"/>
                  </a:cubicBezTo>
                  <a:lnTo>
                    <a:pt x="465" y="537"/>
                  </a:lnTo>
                  <a:cubicBezTo>
                    <a:pt x="501" y="537"/>
                    <a:pt x="535" y="526"/>
                    <a:pt x="560" y="512"/>
                  </a:cubicBezTo>
                  <a:cubicBezTo>
                    <a:pt x="593" y="501"/>
                    <a:pt x="616" y="478"/>
                    <a:pt x="641" y="442"/>
                  </a:cubicBezTo>
                  <a:cubicBezTo>
                    <a:pt x="652" y="419"/>
                    <a:pt x="652" y="397"/>
                    <a:pt x="663" y="372"/>
                  </a:cubicBezTo>
                  <a:cubicBezTo>
                    <a:pt x="663" y="361"/>
                    <a:pt x="663" y="361"/>
                    <a:pt x="674" y="350"/>
                  </a:cubicBezTo>
                  <a:lnTo>
                    <a:pt x="686" y="338"/>
                  </a:lnTo>
                  <a:lnTo>
                    <a:pt x="700" y="338"/>
                  </a:lnTo>
                  <a:lnTo>
                    <a:pt x="700" y="316"/>
                  </a:lnTo>
                  <a:cubicBezTo>
                    <a:pt x="711" y="316"/>
                    <a:pt x="711" y="302"/>
                    <a:pt x="711" y="291"/>
                  </a:cubicBezTo>
                  <a:cubicBezTo>
                    <a:pt x="711" y="269"/>
                    <a:pt x="700" y="246"/>
                    <a:pt x="686" y="232"/>
                  </a:cubicBezTo>
                  <a:cubicBezTo>
                    <a:pt x="674" y="221"/>
                    <a:pt x="674" y="210"/>
                    <a:pt x="674" y="210"/>
                  </a:cubicBezTo>
                  <a:lnTo>
                    <a:pt x="674" y="199"/>
                  </a:lnTo>
                  <a:lnTo>
                    <a:pt x="674" y="187"/>
                  </a:lnTo>
                  <a:cubicBezTo>
                    <a:pt x="686" y="176"/>
                    <a:pt x="700" y="162"/>
                    <a:pt x="711" y="151"/>
                  </a:cubicBezTo>
                  <a:cubicBezTo>
                    <a:pt x="722" y="129"/>
                    <a:pt x="722" y="106"/>
                    <a:pt x="733" y="81"/>
                  </a:cubicBezTo>
                  <a:lnTo>
                    <a:pt x="733" y="48"/>
                  </a:lnTo>
                  <a:lnTo>
                    <a:pt x="733" y="36"/>
                  </a:lnTo>
                  <a:cubicBezTo>
                    <a:pt x="733" y="22"/>
                    <a:pt x="733" y="22"/>
                    <a:pt x="722" y="11"/>
                  </a:cubicBezTo>
                  <a:cubicBezTo>
                    <a:pt x="711" y="0"/>
                    <a:pt x="700" y="0"/>
                    <a:pt x="68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3" name="Google Shape;251;p17">
              <a:extLst>
                <a:ext uri="{FF2B5EF4-FFF2-40B4-BE49-F238E27FC236}">
                  <a16:creationId xmlns:a16="http://schemas.microsoft.com/office/drawing/2014/main" xmlns="" id="{07C7C2CA-D5AB-9051-EDD3-2E9027FDA7BF}"/>
                </a:ext>
              </a:extLst>
            </p:cNvPr>
            <p:cNvSpPr/>
            <p:nvPr/>
          </p:nvSpPr>
          <p:spPr>
            <a:xfrm>
              <a:off x="3348439" y="3151938"/>
              <a:ext cx="115736" cy="158852"/>
            </a:xfrm>
            <a:custGeom>
              <a:avLst/>
              <a:gdLst/>
              <a:ahLst/>
              <a:cxnLst/>
              <a:rect l="l" t="t" r="r" b="b"/>
              <a:pathLst>
                <a:path w="502" h="689" extrusionOk="0">
                  <a:moveTo>
                    <a:pt x="384" y="0"/>
                  </a:moveTo>
                  <a:cubicBezTo>
                    <a:pt x="372" y="0"/>
                    <a:pt x="361" y="12"/>
                    <a:pt x="350" y="12"/>
                  </a:cubicBezTo>
                  <a:cubicBezTo>
                    <a:pt x="325" y="26"/>
                    <a:pt x="314" y="37"/>
                    <a:pt x="291" y="48"/>
                  </a:cubicBezTo>
                  <a:cubicBezTo>
                    <a:pt x="280" y="70"/>
                    <a:pt x="266" y="95"/>
                    <a:pt x="255" y="107"/>
                  </a:cubicBezTo>
                  <a:cubicBezTo>
                    <a:pt x="244" y="129"/>
                    <a:pt x="221" y="151"/>
                    <a:pt x="196" y="151"/>
                  </a:cubicBezTo>
                  <a:cubicBezTo>
                    <a:pt x="185" y="165"/>
                    <a:pt x="174" y="165"/>
                    <a:pt x="163" y="165"/>
                  </a:cubicBezTo>
                  <a:cubicBezTo>
                    <a:pt x="126" y="165"/>
                    <a:pt x="82" y="165"/>
                    <a:pt x="70" y="199"/>
                  </a:cubicBezTo>
                  <a:cubicBezTo>
                    <a:pt x="56" y="210"/>
                    <a:pt x="56" y="235"/>
                    <a:pt x="45" y="246"/>
                  </a:cubicBezTo>
                  <a:cubicBezTo>
                    <a:pt x="45" y="258"/>
                    <a:pt x="23" y="269"/>
                    <a:pt x="12" y="280"/>
                  </a:cubicBezTo>
                  <a:cubicBezTo>
                    <a:pt x="1" y="291"/>
                    <a:pt x="12" y="316"/>
                    <a:pt x="23" y="339"/>
                  </a:cubicBezTo>
                  <a:cubicBezTo>
                    <a:pt x="34" y="350"/>
                    <a:pt x="45" y="361"/>
                    <a:pt x="56" y="386"/>
                  </a:cubicBezTo>
                  <a:cubicBezTo>
                    <a:pt x="82" y="409"/>
                    <a:pt x="82" y="445"/>
                    <a:pt x="93" y="467"/>
                  </a:cubicBezTo>
                  <a:lnTo>
                    <a:pt x="93" y="501"/>
                  </a:lnTo>
                  <a:cubicBezTo>
                    <a:pt x="104" y="526"/>
                    <a:pt x="140" y="526"/>
                    <a:pt x="152" y="548"/>
                  </a:cubicBezTo>
                  <a:cubicBezTo>
                    <a:pt x="163" y="560"/>
                    <a:pt x="163" y="585"/>
                    <a:pt x="163" y="607"/>
                  </a:cubicBezTo>
                  <a:cubicBezTo>
                    <a:pt x="163" y="618"/>
                    <a:pt x="163" y="641"/>
                    <a:pt x="174" y="655"/>
                  </a:cubicBezTo>
                  <a:cubicBezTo>
                    <a:pt x="185" y="677"/>
                    <a:pt x="196" y="688"/>
                    <a:pt x="221" y="688"/>
                  </a:cubicBezTo>
                  <a:cubicBezTo>
                    <a:pt x="233" y="688"/>
                    <a:pt x="233" y="677"/>
                    <a:pt x="244" y="677"/>
                  </a:cubicBezTo>
                  <a:cubicBezTo>
                    <a:pt x="255" y="666"/>
                    <a:pt x="280" y="655"/>
                    <a:pt x="291" y="629"/>
                  </a:cubicBezTo>
                  <a:cubicBezTo>
                    <a:pt x="303" y="618"/>
                    <a:pt x="314" y="596"/>
                    <a:pt x="336" y="585"/>
                  </a:cubicBezTo>
                  <a:cubicBezTo>
                    <a:pt x="361" y="571"/>
                    <a:pt x="395" y="571"/>
                    <a:pt x="420" y="560"/>
                  </a:cubicBezTo>
                  <a:cubicBezTo>
                    <a:pt x="431" y="548"/>
                    <a:pt x="442" y="526"/>
                    <a:pt x="442" y="515"/>
                  </a:cubicBezTo>
                  <a:cubicBezTo>
                    <a:pt x="454" y="490"/>
                    <a:pt x="454" y="467"/>
                    <a:pt x="454" y="456"/>
                  </a:cubicBezTo>
                  <a:cubicBezTo>
                    <a:pt x="454" y="397"/>
                    <a:pt x="490" y="339"/>
                    <a:pt x="501" y="269"/>
                  </a:cubicBezTo>
                  <a:lnTo>
                    <a:pt x="501" y="188"/>
                  </a:lnTo>
                  <a:lnTo>
                    <a:pt x="501" y="151"/>
                  </a:lnTo>
                  <a:cubicBezTo>
                    <a:pt x="490" y="140"/>
                    <a:pt x="490" y="118"/>
                    <a:pt x="476" y="107"/>
                  </a:cubicBezTo>
                  <a:cubicBezTo>
                    <a:pt x="454" y="81"/>
                    <a:pt x="442" y="59"/>
                    <a:pt x="431" y="48"/>
                  </a:cubicBezTo>
                  <a:cubicBezTo>
                    <a:pt x="420" y="26"/>
                    <a:pt x="406" y="12"/>
                    <a:pt x="38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4" name="Google Shape;252;p17">
              <a:extLst>
                <a:ext uri="{FF2B5EF4-FFF2-40B4-BE49-F238E27FC236}">
                  <a16:creationId xmlns:a16="http://schemas.microsoft.com/office/drawing/2014/main" xmlns="" id="{3EE7A500-8504-4213-03A8-850A0AA360A5}"/>
                </a:ext>
              </a:extLst>
            </p:cNvPr>
            <p:cNvSpPr/>
            <p:nvPr/>
          </p:nvSpPr>
          <p:spPr>
            <a:xfrm>
              <a:off x="3345211" y="3146635"/>
              <a:ext cx="124036" cy="169227"/>
            </a:xfrm>
            <a:custGeom>
              <a:avLst/>
              <a:gdLst/>
              <a:ahLst/>
              <a:cxnLst/>
              <a:rect l="l" t="t" r="r" b="b"/>
              <a:pathLst>
                <a:path w="538" h="734" extrusionOk="0">
                  <a:moveTo>
                    <a:pt x="398" y="49"/>
                  </a:moveTo>
                  <a:cubicBezTo>
                    <a:pt x="398" y="49"/>
                    <a:pt x="398" y="60"/>
                    <a:pt x="409" y="60"/>
                  </a:cubicBezTo>
                  <a:cubicBezTo>
                    <a:pt x="409" y="60"/>
                    <a:pt x="420" y="71"/>
                    <a:pt x="420" y="82"/>
                  </a:cubicBezTo>
                  <a:cubicBezTo>
                    <a:pt x="434" y="104"/>
                    <a:pt x="456" y="130"/>
                    <a:pt x="468" y="152"/>
                  </a:cubicBezTo>
                  <a:cubicBezTo>
                    <a:pt x="479" y="163"/>
                    <a:pt x="490" y="174"/>
                    <a:pt x="490" y="174"/>
                  </a:cubicBezTo>
                  <a:lnTo>
                    <a:pt x="490" y="211"/>
                  </a:lnTo>
                  <a:lnTo>
                    <a:pt x="490" y="222"/>
                  </a:lnTo>
                  <a:lnTo>
                    <a:pt x="490" y="292"/>
                  </a:lnTo>
                  <a:cubicBezTo>
                    <a:pt x="479" y="351"/>
                    <a:pt x="456" y="409"/>
                    <a:pt x="445" y="479"/>
                  </a:cubicBezTo>
                  <a:cubicBezTo>
                    <a:pt x="445" y="490"/>
                    <a:pt x="445" y="513"/>
                    <a:pt x="434" y="524"/>
                  </a:cubicBezTo>
                  <a:cubicBezTo>
                    <a:pt x="434" y="549"/>
                    <a:pt x="420" y="560"/>
                    <a:pt x="420" y="560"/>
                  </a:cubicBezTo>
                  <a:cubicBezTo>
                    <a:pt x="409" y="571"/>
                    <a:pt x="398" y="571"/>
                    <a:pt x="386" y="571"/>
                  </a:cubicBezTo>
                  <a:cubicBezTo>
                    <a:pt x="375" y="571"/>
                    <a:pt x="350" y="583"/>
                    <a:pt x="339" y="594"/>
                  </a:cubicBezTo>
                  <a:cubicBezTo>
                    <a:pt x="317" y="594"/>
                    <a:pt x="317" y="608"/>
                    <a:pt x="305" y="619"/>
                  </a:cubicBezTo>
                  <a:cubicBezTo>
                    <a:pt x="305" y="630"/>
                    <a:pt x="294" y="641"/>
                    <a:pt x="294" y="641"/>
                  </a:cubicBezTo>
                  <a:cubicBezTo>
                    <a:pt x="280" y="652"/>
                    <a:pt x="258" y="664"/>
                    <a:pt x="247" y="678"/>
                  </a:cubicBezTo>
                  <a:cubicBezTo>
                    <a:pt x="235" y="678"/>
                    <a:pt x="235" y="689"/>
                    <a:pt x="224" y="689"/>
                  </a:cubicBezTo>
                  <a:lnTo>
                    <a:pt x="224" y="678"/>
                  </a:lnTo>
                  <a:cubicBezTo>
                    <a:pt x="210" y="678"/>
                    <a:pt x="210" y="678"/>
                    <a:pt x="210" y="664"/>
                  </a:cubicBezTo>
                  <a:cubicBezTo>
                    <a:pt x="199" y="664"/>
                    <a:pt x="199" y="641"/>
                    <a:pt x="199" y="619"/>
                  </a:cubicBezTo>
                  <a:cubicBezTo>
                    <a:pt x="199" y="608"/>
                    <a:pt x="199" y="583"/>
                    <a:pt x="188" y="560"/>
                  </a:cubicBezTo>
                  <a:cubicBezTo>
                    <a:pt x="177" y="549"/>
                    <a:pt x="154" y="538"/>
                    <a:pt x="154" y="524"/>
                  </a:cubicBezTo>
                  <a:cubicBezTo>
                    <a:pt x="140" y="524"/>
                    <a:pt x="129" y="513"/>
                    <a:pt x="129" y="513"/>
                  </a:cubicBezTo>
                  <a:lnTo>
                    <a:pt x="129" y="490"/>
                  </a:lnTo>
                  <a:cubicBezTo>
                    <a:pt x="118" y="454"/>
                    <a:pt x="118" y="420"/>
                    <a:pt x="96" y="398"/>
                  </a:cubicBezTo>
                  <a:cubicBezTo>
                    <a:pt x="70" y="373"/>
                    <a:pt x="59" y="362"/>
                    <a:pt x="48" y="351"/>
                  </a:cubicBezTo>
                  <a:lnTo>
                    <a:pt x="48" y="328"/>
                  </a:lnTo>
                  <a:lnTo>
                    <a:pt x="48" y="314"/>
                  </a:lnTo>
                  <a:lnTo>
                    <a:pt x="59" y="303"/>
                  </a:lnTo>
                  <a:cubicBezTo>
                    <a:pt x="59" y="303"/>
                    <a:pt x="70" y="303"/>
                    <a:pt x="84" y="292"/>
                  </a:cubicBezTo>
                  <a:cubicBezTo>
                    <a:pt x="96" y="281"/>
                    <a:pt x="96" y="269"/>
                    <a:pt x="96" y="258"/>
                  </a:cubicBezTo>
                  <a:cubicBezTo>
                    <a:pt x="107" y="244"/>
                    <a:pt x="107" y="233"/>
                    <a:pt x="107" y="233"/>
                  </a:cubicBezTo>
                  <a:cubicBezTo>
                    <a:pt x="107" y="222"/>
                    <a:pt x="118" y="222"/>
                    <a:pt x="129" y="211"/>
                  </a:cubicBezTo>
                  <a:lnTo>
                    <a:pt x="177" y="211"/>
                  </a:lnTo>
                  <a:cubicBezTo>
                    <a:pt x="188" y="211"/>
                    <a:pt x="199" y="211"/>
                    <a:pt x="224" y="200"/>
                  </a:cubicBezTo>
                  <a:cubicBezTo>
                    <a:pt x="258" y="188"/>
                    <a:pt x="269" y="163"/>
                    <a:pt x="294" y="152"/>
                  </a:cubicBezTo>
                  <a:cubicBezTo>
                    <a:pt x="305" y="130"/>
                    <a:pt x="317" y="104"/>
                    <a:pt x="328" y="93"/>
                  </a:cubicBezTo>
                  <a:cubicBezTo>
                    <a:pt x="339" y="71"/>
                    <a:pt x="350" y="71"/>
                    <a:pt x="364" y="60"/>
                  </a:cubicBezTo>
                  <a:cubicBezTo>
                    <a:pt x="375" y="60"/>
                    <a:pt x="386" y="49"/>
                    <a:pt x="386" y="49"/>
                  </a:cubicBezTo>
                  <a:close/>
                  <a:moveTo>
                    <a:pt x="386" y="1"/>
                  </a:moveTo>
                  <a:cubicBezTo>
                    <a:pt x="375" y="1"/>
                    <a:pt x="364" y="12"/>
                    <a:pt x="350" y="12"/>
                  </a:cubicBezTo>
                  <a:cubicBezTo>
                    <a:pt x="328" y="23"/>
                    <a:pt x="305" y="35"/>
                    <a:pt x="294" y="60"/>
                  </a:cubicBezTo>
                  <a:cubicBezTo>
                    <a:pt x="269" y="82"/>
                    <a:pt x="258" y="104"/>
                    <a:pt x="247" y="118"/>
                  </a:cubicBezTo>
                  <a:cubicBezTo>
                    <a:pt x="235" y="141"/>
                    <a:pt x="224" y="152"/>
                    <a:pt x="210" y="152"/>
                  </a:cubicBezTo>
                  <a:cubicBezTo>
                    <a:pt x="199" y="163"/>
                    <a:pt x="188" y="163"/>
                    <a:pt x="177" y="163"/>
                  </a:cubicBezTo>
                  <a:lnTo>
                    <a:pt x="118" y="163"/>
                  </a:lnTo>
                  <a:cubicBezTo>
                    <a:pt x="96" y="174"/>
                    <a:pt x="70" y="188"/>
                    <a:pt x="59" y="211"/>
                  </a:cubicBezTo>
                  <a:cubicBezTo>
                    <a:pt x="59" y="222"/>
                    <a:pt x="59" y="233"/>
                    <a:pt x="48" y="244"/>
                  </a:cubicBezTo>
                  <a:lnTo>
                    <a:pt x="48" y="258"/>
                  </a:lnTo>
                  <a:cubicBezTo>
                    <a:pt x="48" y="258"/>
                    <a:pt x="37" y="258"/>
                    <a:pt x="37" y="269"/>
                  </a:cubicBezTo>
                  <a:cubicBezTo>
                    <a:pt x="26" y="269"/>
                    <a:pt x="26" y="281"/>
                    <a:pt x="15" y="281"/>
                  </a:cubicBezTo>
                  <a:cubicBezTo>
                    <a:pt x="1" y="292"/>
                    <a:pt x="1" y="314"/>
                    <a:pt x="1" y="328"/>
                  </a:cubicBezTo>
                  <a:cubicBezTo>
                    <a:pt x="1" y="339"/>
                    <a:pt x="1" y="362"/>
                    <a:pt x="15" y="373"/>
                  </a:cubicBezTo>
                  <a:cubicBezTo>
                    <a:pt x="26" y="398"/>
                    <a:pt x="48" y="409"/>
                    <a:pt x="48" y="420"/>
                  </a:cubicBezTo>
                  <a:cubicBezTo>
                    <a:pt x="70" y="443"/>
                    <a:pt x="70" y="468"/>
                    <a:pt x="84" y="490"/>
                  </a:cubicBezTo>
                  <a:lnTo>
                    <a:pt x="84" y="538"/>
                  </a:lnTo>
                  <a:cubicBezTo>
                    <a:pt x="96" y="549"/>
                    <a:pt x="107" y="560"/>
                    <a:pt x="118" y="571"/>
                  </a:cubicBezTo>
                  <a:cubicBezTo>
                    <a:pt x="129" y="571"/>
                    <a:pt x="140" y="583"/>
                    <a:pt x="140" y="583"/>
                  </a:cubicBezTo>
                  <a:cubicBezTo>
                    <a:pt x="154" y="594"/>
                    <a:pt x="154" y="608"/>
                    <a:pt x="154" y="630"/>
                  </a:cubicBezTo>
                  <a:cubicBezTo>
                    <a:pt x="154" y="641"/>
                    <a:pt x="154" y="664"/>
                    <a:pt x="166" y="689"/>
                  </a:cubicBezTo>
                  <a:cubicBezTo>
                    <a:pt x="177" y="700"/>
                    <a:pt x="177" y="711"/>
                    <a:pt x="188" y="722"/>
                  </a:cubicBezTo>
                  <a:cubicBezTo>
                    <a:pt x="199" y="722"/>
                    <a:pt x="210" y="734"/>
                    <a:pt x="224" y="734"/>
                  </a:cubicBezTo>
                  <a:lnTo>
                    <a:pt x="235" y="734"/>
                  </a:lnTo>
                  <a:cubicBezTo>
                    <a:pt x="247" y="734"/>
                    <a:pt x="258" y="722"/>
                    <a:pt x="269" y="711"/>
                  </a:cubicBezTo>
                  <a:cubicBezTo>
                    <a:pt x="294" y="700"/>
                    <a:pt x="305" y="689"/>
                    <a:pt x="328" y="678"/>
                  </a:cubicBezTo>
                  <a:cubicBezTo>
                    <a:pt x="328" y="664"/>
                    <a:pt x="339" y="652"/>
                    <a:pt x="339" y="641"/>
                  </a:cubicBezTo>
                  <a:cubicBezTo>
                    <a:pt x="350" y="641"/>
                    <a:pt x="350" y="630"/>
                    <a:pt x="364" y="630"/>
                  </a:cubicBezTo>
                  <a:cubicBezTo>
                    <a:pt x="364" y="619"/>
                    <a:pt x="375" y="619"/>
                    <a:pt x="398" y="619"/>
                  </a:cubicBezTo>
                  <a:cubicBezTo>
                    <a:pt x="409" y="619"/>
                    <a:pt x="420" y="608"/>
                    <a:pt x="445" y="594"/>
                  </a:cubicBezTo>
                  <a:cubicBezTo>
                    <a:pt x="468" y="583"/>
                    <a:pt x="479" y="560"/>
                    <a:pt x="479" y="538"/>
                  </a:cubicBezTo>
                  <a:cubicBezTo>
                    <a:pt x="490" y="513"/>
                    <a:pt x="490" y="501"/>
                    <a:pt x="490" y="479"/>
                  </a:cubicBezTo>
                  <a:cubicBezTo>
                    <a:pt x="490" y="420"/>
                    <a:pt x="526" y="362"/>
                    <a:pt x="537" y="303"/>
                  </a:cubicBezTo>
                  <a:lnTo>
                    <a:pt x="537" y="222"/>
                  </a:lnTo>
                  <a:lnTo>
                    <a:pt x="537" y="211"/>
                  </a:lnTo>
                  <a:lnTo>
                    <a:pt x="537" y="163"/>
                  </a:lnTo>
                  <a:cubicBezTo>
                    <a:pt x="526" y="152"/>
                    <a:pt x="515" y="130"/>
                    <a:pt x="515" y="118"/>
                  </a:cubicBezTo>
                  <a:cubicBezTo>
                    <a:pt x="490" y="93"/>
                    <a:pt x="479" y="71"/>
                    <a:pt x="456" y="49"/>
                  </a:cubicBezTo>
                  <a:cubicBezTo>
                    <a:pt x="456" y="49"/>
                    <a:pt x="445" y="35"/>
                    <a:pt x="445" y="23"/>
                  </a:cubicBezTo>
                  <a:cubicBezTo>
                    <a:pt x="434" y="23"/>
                    <a:pt x="420" y="12"/>
                    <a:pt x="409" y="12"/>
                  </a:cubicBezTo>
                  <a:cubicBezTo>
                    <a:pt x="398" y="1"/>
                    <a:pt x="398" y="1"/>
                    <a:pt x="38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5" name="Google Shape;253;p17">
              <a:extLst>
                <a:ext uri="{FF2B5EF4-FFF2-40B4-BE49-F238E27FC236}">
                  <a16:creationId xmlns:a16="http://schemas.microsoft.com/office/drawing/2014/main" xmlns="" id="{8A1BFD14-022A-BF79-F023-0F5C4B5A8EE5}"/>
                </a:ext>
              </a:extLst>
            </p:cNvPr>
            <p:cNvSpPr/>
            <p:nvPr/>
          </p:nvSpPr>
          <p:spPr>
            <a:xfrm>
              <a:off x="3501294" y="3204735"/>
              <a:ext cx="13602" cy="17753"/>
            </a:xfrm>
            <a:custGeom>
              <a:avLst/>
              <a:gdLst/>
              <a:ahLst/>
              <a:cxnLst/>
              <a:rect l="l" t="t" r="r" b="b"/>
              <a:pathLst>
                <a:path w="59" h="77" extrusionOk="0">
                  <a:moveTo>
                    <a:pt x="26" y="0"/>
                  </a:moveTo>
                  <a:cubicBezTo>
                    <a:pt x="24" y="0"/>
                    <a:pt x="23" y="2"/>
                    <a:pt x="23" y="6"/>
                  </a:cubicBezTo>
                  <a:cubicBezTo>
                    <a:pt x="11" y="6"/>
                    <a:pt x="11" y="6"/>
                    <a:pt x="11" y="17"/>
                  </a:cubicBezTo>
                  <a:cubicBezTo>
                    <a:pt x="0" y="29"/>
                    <a:pt x="0" y="40"/>
                    <a:pt x="11" y="62"/>
                  </a:cubicBezTo>
                  <a:cubicBezTo>
                    <a:pt x="11" y="62"/>
                    <a:pt x="23" y="76"/>
                    <a:pt x="37" y="76"/>
                  </a:cubicBezTo>
                  <a:cubicBezTo>
                    <a:pt x="48" y="76"/>
                    <a:pt x="48" y="76"/>
                    <a:pt x="48" y="62"/>
                  </a:cubicBezTo>
                  <a:cubicBezTo>
                    <a:pt x="59" y="40"/>
                    <a:pt x="59" y="17"/>
                    <a:pt x="37" y="6"/>
                  </a:cubicBezTo>
                  <a:cubicBezTo>
                    <a:pt x="37" y="6"/>
                    <a:pt x="30" y="0"/>
                    <a:pt x="2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6" name="Google Shape;254;p17">
              <a:extLst>
                <a:ext uri="{FF2B5EF4-FFF2-40B4-BE49-F238E27FC236}">
                  <a16:creationId xmlns:a16="http://schemas.microsoft.com/office/drawing/2014/main" xmlns="" id="{1E09D4B0-2AB7-0544-EA8B-2DAA30EE93A2}"/>
                </a:ext>
              </a:extLst>
            </p:cNvPr>
            <p:cNvSpPr/>
            <p:nvPr/>
          </p:nvSpPr>
          <p:spPr>
            <a:xfrm>
              <a:off x="3495992" y="3197588"/>
              <a:ext cx="24208" cy="32508"/>
            </a:xfrm>
            <a:custGeom>
              <a:avLst/>
              <a:gdLst/>
              <a:ahLst/>
              <a:cxnLst/>
              <a:rect l="l" t="t" r="r" b="b"/>
              <a:pathLst>
                <a:path w="105" h="141" extrusionOk="0">
                  <a:moveTo>
                    <a:pt x="46" y="48"/>
                  </a:moveTo>
                  <a:cubicBezTo>
                    <a:pt x="46" y="60"/>
                    <a:pt x="60" y="71"/>
                    <a:pt x="60" y="82"/>
                  </a:cubicBezTo>
                  <a:lnTo>
                    <a:pt x="57" y="84"/>
                  </a:lnTo>
                  <a:lnTo>
                    <a:pt x="57" y="84"/>
                  </a:lnTo>
                  <a:cubicBezTo>
                    <a:pt x="51" y="80"/>
                    <a:pt x="46" y="78"/>
                    <a:pt x="46" y="71"/>
                  </a:cubicBezTo>
                  <a:lnTo>
                    <a:pt x="46" y="48"/>
                  </a:lnTo>
                  <a:close/>
                  <a:moveTo>
                    <a:pt x="46" y="1"/>
                  </a:moveTo>
                  <a:lnTo>
                    <a:pt x="34" y="12"/>
                  </a:lnTo>
                  <a:lnTo>
                    <a:pt x="23" y="12"/>
                  </a:lnTo>
                  <a:cubicBezTo>
                    <a:pt x="12" y="23"/>
                    <a:pt x="12" y="23"/>
                    <a:pt x="12" y="37"/>
                  </a:cubicBezTo>
                  <a:cubicBezTo>
                    <a:pt x="1" y="48"/>
                    <a:pt x="1" y="60"/>
                    <a:pt x="1" y="71"/>
                  </a:cubicBezTo>
                  <a:cubicBezTo>
                    <a:pt x="1" y="82"/>
                    <a:pt x="1" y="82"/>
                    <a:pt x="12" y="93"/>
                  </a:cubicBezTo>
                  <a:lnTo>
                    <a:pt x="12" y="107"/>
                  </a:lnTo>
                  <a:cubicBezTo>
                    <a:pt x="23" y="118"/>
                    <a:pt x="34" y="118"/>
                    <a:pt x="46" y="130"/>
                  </a:cubicBezTo>
                  <a:lnTo>
                    <a:pt x="60" y="130"/>
                  </a:lnTo>
                  <a:lnTo>
                    <a:pt x="60" y="141"/>
                  </a:lnTo>
                  <a:lnTo>
                    <a:pt x="71" y="130"/>
                  </a:lnTo>
                  <a:lnTo>
                    <a:pt x="82" y="130"/>
                  </a:lnTo>
                  <a:lnTo>
                    <a:pt x="93" y="118"/>
                  </a:lnTo>
                  <a:lnTo>
                    <a:pt x="93" y="93"/>
                  </a:lnTo>
                  <a:cubicBezTo>
                    <a:pt x="104" y="93"/>
                    <a:pt x="104" y="82"/>
                    <a:pt x="104" y="82"/>
                  </a:cubicBezTo>
                  <a:cubicBezTo>
                    <a:pt x="104" y="60"/>
                    <a:pt x="93" y="37"/>
                    <a:pt x="82" y="23"/>
                  </a:cubicBezTo>
                  <a:cubicBezTo>
                    <a:pt x="71" y="12"/>
                    <a:pt x="60" y="12"/>
                    <a:pt x="4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7" name="Google Shape;255;p17">
              <a:extLst>
                <a:ext uri="{FF2B5EF4-FFF2-40B4-BE49-F238E27FC236}">
                  <a16:creationId xmlns:a16="http://schemas.microsoft.com/office/drawing/2014/main" xmlns="" id="{9F3357CA-B374-F6B0-9F76-4DF0F03CE527}"/>
                </a:ext>
              </a:extLst>
            </p:cNvPr>
            <p:cNvSpPr/>
            <p:nvPr/>
          </p:nvSpPr>
          <p:spPr>
            <a:xfrm>
              <a:off x="3538644" y="3184216"/>
              <a:ext cx="27205" cy="27205"/>
            </a:xfrm>
            <a:custGeom>
              <a:avLst/>
              <a:gdLst/>
              <a:ahLst/>
              <a:cxnLst/>
              <a:rect l="l" t="t" r="r" b="b"/>
              <a:pathLst>
                <a:path w="118" h="118" extrusionOk="0">
                  <a:moveTo>
                    <a:pt x="84" y="0"/>
                  </a:moveTo>
                  <a:cubicBezTo>
                    <a:pt x="70" y="11"/>
                    <a:pt x="59" y="25"/>
                    <a:pt x="48" y="25"/>
                  </a:cubicBezTo>
                  <a:lnTo>
                    <a:pt x="26" y="25"/>
                  </a:lnTo>
                  <a:cubicBezTo>
                    <a:pt x="14" y="37"/>
                    <a:pt x="14" y="37"/>
                    <a:pt x="0" y="37"/>
                  </a:cubicBezTo>
                  <a:lnTo>
                    <a:pt x="0" y="81"/>
                  </a:lnTo>
                  <a:cubicBezTo>
                    <a:pt x="14" y="95"/>
                    <a:pt x="37" y="106"/>
                    <a:pt x="48" y="118"/>
                  </a:cubicBezTo>
                  <a:lnTo>
                    <a:pt x="84" y="118"/>
                  </a:lnTo>
                  <a:cubicBezTo>
                    <a:pt x="107" y="95"/>
                    <a:pt x="118" y="59"/>
                    <a:pt x="118" y="25"/>
                  </a:cubicBezTo>
                  <a:cubicBezTo>
                    <a:pt x="118" y="25"/>
                    <a:pt x="118" y="11"/>
                    <a:pt x="107" y="11"/>
                  </a:cubicBezTo>
                  <a:lnTo>
                    <a:pt x="9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8" name="Google Shape;256;p17">
              <a:extLst>
                <a:ext uri="{FF2B5EF4-FFF2-40B4-BE49-F238E27FC236}">
                  <a16:creationId xmlns:a16="http://schemas.microsoft.com/office/drawing/2014/main" xmlns="" id="{05AD8409-2A02-9D52-7E99-1CFFBF4134FE}"/>
                </a:ext>
              </a:extLst>
            </p:cNvPr>
            <p:cNvSpPr/>
            <p:nvPr/>
          </p:nvSpPr>
          <p:spPr>
            <a:xfrm>
              <a:off x="3533571" y="3178913"/>
              <a:ext cx="37580" cy="37580"/>
            </a:xfrm>
            <a:custGeom>
              <a:avLst/>
              <a:gdLst/>
              <a:ahLst/>
              <a:cxnLst/>
              <a:rect l="l" t="t" r="r" b="b"/>
              <a:pathLst>
                <a:path w="163" h="163" extrusionOk="0">
                  <a:moveTo>
                    <a:pt x="113" y="55"/>
                  </a:moveTo>
                  <a:lnTo>
                    <a:pt x="117" y="60"/>
                  </a:lnTo>
                  <a:cubicBezTo>
                    <a:pt x="117" y="82"/>
                    <a:pt x="106" y="104"/>
                    <a:pt x="92" y="118"/>
                  </a:cubicBezTo>
                  <a:lnTo>
                    <a:pt x="81" y="118"/>
                  </a:lnTo>
                  <a:cubicBezTo>
                    <a:pt x="73" y="108"/>
                    <a:pt x="59" y="99"/>
                    <a:pt x="48" y="91"/>
                  </a:cubicBezTo>
                  <a:lnTo>
                    <a:pt x="48" y="91"/>
                  </a:lnTo>
                  <a:lnTo>
                    <a:pt x="48" y="82"/>
                  </a:lnTo>
                  <a:lnTo>
                    <a:pt x="48" y="71"/>
                  </a:lnTo>
                  <a:lnTo>
                    <a:pt x="70" y="71"/>
                  </a:lnTo>
                  <a:cubicBezTo>
                    <a:pt x="85" y="71"/>
                    <a:pt x="101" y="66"/>
                    <a:pt x="113" y="55"/>
                  </a:cubicBezTo>
                  <a:close/>
                  <a:moveTo>
                    <a:pt x="92" y="1"/>
                  </a:moveTo>
                  <a:lnTo>
                    <a:pt x="81" y="12"/>
                  </a:lnTo>
                  <a:cubicBezTo>
                    <a:pt x="81" y="23"/>
                    <a:pt x="70" y="23"/>
                    <a:pt x="70" y="23"/>
                  </a:cubicBezTo>
                  <a:lnTo>
                    <a:pt x="48" y="23"/>
                  </a:lnTo>
                  <a:cubicBezTo>
                    <a:pt x="36" y="34"/>
                    <a:pt x="22" y="34"/>
                    <a:pt x="11" y="48"/>
                  </a:cubicBezTo>
                  <a:cubicBezTo>
                    <a:pt x="0" y="60"/>
                    <a:pt x="0" y="71"/>
                    <a:pt x="0" y="82"/>
                  </a:cubicBezTo>
                  <a:lnTo>
                    <a:pt x="0" y="93"/>
                  </a:lnTo>
                  <a:lnTo>
                    <a:pt x="0" y="118"/>
                  </a:lnTo>
                  <a:lnTo>
                    <a:pt x="11" y="118"/>
                  </a:lnTo>
                  <a:cubicBezTo>
                    <a:pt x="22" y="141"/>
                    <a:pt x="36" y="152"/>
                    <a:pt x="59" y="152"/>
                  </a:cubicBezTo>
                  <a:cubicBezTo>
                    <a:pt x="59" y="163"/>
                    <a:pt x="70" y="163"/>
                    <a:pt x="92" y="163"/>
                  </a:cubicBezTo>
                  <a:cubicBezTo>
                    <a:pt x="106" y="163"/>
                    <a:pt x="117" y="152"/>
                    <a:pt x="129" y="152"/>
                  </a:cubicBezTo>
                  <a:cubicBezTo>
                    <a:pt x="151" y="129"/>
                    <a:pt x="162" y="93"/>
                    <a:pt x="162" y="60"/>
                  </a:cubicBezTo>
                  <a:lnTo>
                    <a:pt x="162" y="48"/>
                  </a:lnTo>
                  <a:cubicBezTo>
                    <a:pt x="162" y="34"/>
                    <a:pt x="162" y="34"/>
                    <a:pt x="151" y="23"/>
                  </a:cubicBezTo>
                  <a:lnTo>
                    <a:pt x="140" y="12"/>
                  </a:lnTo>
                  <a:lnTo>
                    <a:pt x="129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9" name="Google Shape;257;p17">
              <a:extLst>
                <a:ext uri="{FF2B5EF4-FFF2-40B4-BE49-F238E27FC236}">
                  <a16:creationId xmlns:a16="http://schemas.microsoft.com/office/drawing/2014/main" xmlns="" id="{AF45D96B-7CED-7104-5A0B-39CF272915A5}"/>
                </a:ext>
              </a:extLst>
            </p:cNvPr>
            <p:cNvSpPr/>
            <p:nvPr/>
          </p:nvSpPr>
          <p:spPr>
            <a:xfrm>
              <a:off x="3447806" y="3283354"/>
              <a:ext cx="29741" cy="38272"/>
            </a:xfrm>
            <a:custGeom>
              <a:avLst/>
              <a:gdLst/>
              <a:ahLst/>
              <a:cxnLst/>
              <a:rect l="l" t="t" r="r" b="b"/>
              <a:pathLst>
                <a:path w="129" h="166" extrusionOk="0">
                  <a:moveTo>
                    <a:pt x="115" y="1"/>
                  </a:moveTo>
                  <a:cubicBezTo>
                    <a:pt x="104" y="1"/>
                    <a:pt x="92" y="15"/>
                    <a:pt x="81" y="26"/>
                  </a:cubicBezTo>
                  <a:cubicBezTo>
                    <a:pt x="81" y="26"/>
                    <a:pt x="81" y="37"/>
                    <a:pt x="70" y="48"/>
                  </a:cubicBezTo>
                  <a:cubicBezTo>
                    <a:pt x="70" y="48"/>
                    <a:pt x="59" y="59"/>
                    <a:pt x="45" y="59"/>
                  </a:cubicBezTo>
                  <a:cubicBezTo>
                    <a:pt x="34" y="71"/>
                    <a:pt x="23" y="85"/>
                    <a:pt x="11" y="107"/>
                  </a:cubicBezTo>
                  <a:cubicBezTo>
                    <a:pt x="0" y="107"/>
                    <a:pt x="0" y="118"/>
                    <a:pt x="0" y="129"/>
                  </a:cubicBezTo>
                  <a:cubicBezTo>
                    <a:pt x="0" y="141"/>
                    <a:pt x="11" y="155"/>
                    <a:pt x="23" y="166"/>
                  </a:cubicBezTo>
                  <a:cubicBezTo>
                    <a:pt x="34" y="166"/>
                    <a:pt x="45" y="155"/>
                    <a:pt x="45" y="141"/>
                  </a:cubicBezTo>
                  <a:cubicBezTo>
                    <a:pt x="59" y="129"/>
                    <a:pt x="59" y="118"/>
                    <a:pt x="70" y="107"/>
                  </a:cubicBezTo>
                  <a:cubicBezTo>
                    <a:pt x="70" y="96"/>
                    <a:pt x="81" y="85"/>
                    <a:pt x="92" y="85"/>
                  </a:cubicBezTo>
                  <a:lnTo>
                    <a:pt x="104" y="85"/>
                  </a:lnTo>
                  <a:lnTo>
                    <a:pt x="115" y="71"/>
                  </a:lnTo>
                  <a:cubicBezTo>
                    <a:pt x="129" y="59"/>
                    <a:pt x="129" y="37"/>
                    <a:pt x="129" y="15"/>
                  </a:cubicBezTo>
                  <a:lnTo>
                    <a:pt x="11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0" name="Google Shape;258;p17">
              <a:extLst>
                <a:ext uri="{FF2B5EF4-FFF2-40B4-BE49-F238E27FC236}">
                  <a16:creationId xmlns:a16="http://schemas.microsoft.com/office/drawing/2014/main" xmlns="" id="{19B4ED85-5186-3CA7-F8C6-A85E32E7A3FA}"/>
                </a:ext>
              </a:extLst>
            </p:cNvPr>
            <p:cNvSpPr/>
            <p:nvPr/>
          </p:nvSpPr>
          <p:spPr>
            <a:xfrm>
              <a:off x="3441812" y="3278282"/>
              <a:ext cx="41038" cy="48647"/>
            </a:xfrm>
            <a:custGeom>
              <a:avLst/>
              <a:gdLst/>
              <a:ahLst/>
              <a:cxnLst/>
              <a:rect l="l" t="t" r="r" b="b"/>
              <a:pathLst>
                <a:path w="178" h="211" extrusionOk="0">
                  <a:moveTo>
                    <a:pt x="130" y="59"/>
                  </a:moveTo>
                  <a:cubicBezTo>
                    <a:pt x="130" y="70"/>
                    <a:pt x="130" y="70"/>
                    <a:pt x="118" y="81"/>
                  </a:cubicBezTo>
                  <a:cubicBezTo>
                    <a:pt x="118" y="70"/>
                    <a:pt x="130" y="70"/>
                    <a:pt x="130" y="59"/>
                  </a:cubicBezTo>
                  <a:close/>
                  <a:moveTo>
                    <a:pt x="65" y="120"/>
                  </a:moveTo>
                  <a:cubicBezTo>
                    <a:pt x="60" y="134"/>
                    <a:pt x="60" y="143"/>
                    <a:pt x="60" y="151"/>
                  </a:cubicBezTo>
                  <a:lnTo>
                    <a:pt x="49" y="151"/>
                  </a:lnTo>
                  <a:lnTo>
                    <a:pt x="49" y="140"/>
                  </a:lnTo>
                  <a:cubicBezTo>
                    <a:pt x="54" y="129"/>
                    <a:pt x="59" y="124"/>
                    <a:pt x="65" y="120"/>
                  </a:cubicBezTo>
                  <a:close/>
                  <a:moveTo>
                    <a:pt x="130" y="0"/>
                  </a:moveTo>
                  <a:cubicBezTo>
                    <a:pt x="118" y="0"/>
                    <a:pt x="96" y="12"/>
                    <a:pt x="85" y="37"/>
                  </a:cubicBezTo>
                  <a:lnTo>
                    <a:pt x="85" y="48"/>
                  </a:lnTo>
                  <a:lnTo>
                    <a:pt x="85" y="59"/>
                  </a:lnTo>
                  <a:lnTo>
                    <a:pt x="60" y="59"/>
                  </a:lnTo>
                  <a:cubicBezTo>
                    <a:pt x="49" y="70"/>
                    <a:pt x="26" y="93"/>
                    <a:pt x="15" y="118"/>
                  </a:cubicBezTo>
                  <a:cubicBezTo>
                    <a:pt x="1" y="129"/>
                    <a:pt x="1" y="140"/>
                    <a:pt x="1" y="151"/>
                  </a:cubicBezTo>
                  <a:lnTo>
                    <a:pt x="1" y="163"/>
                  </a:lnTo>
                  <a:cubicBezTo>
                    <a:pt x="1" y="177"/>
                    <a:pt x="1" y="177"/>
                    <a:pt x="15" y="188"/>
                  </a:cubicBezTo>
                  <a:cubicBezTo>
                    <a:pt x="26" y="199"/>
                    <a:pt x="26" y="199"/>
                    <a:pt x="49" y="210"/>
                  </a:cubicBezTo>
                  <a:cubicBezTo>
                    <a:pt x="60" y="210"/>
                    <a:pt x="71" y="199"/>
                    <a:pt x="85" y="199"/>
                  </a:cubicBezTo>
                  <a:cubicBezTo>
                    <a:pt x="85" y="188"/>
                    <a:pt x="96" y="177"/>
                    <a:pt x="96" y="177"/>
                  </a:cubicBezTo>
                  <a:cubicBezTo>
                    <a:pt x="107" y="151"/>
                    <a:pt x="107" y="140"/>
                    <a:pt x="107" y="140"/>
                  </a:cubicBezTo>
                  <a:cubicBezTo>
                    <a:pt x="118" y="129"/>
                    <a:pt x="118" y="129"/>
                    <a:pt x="130" y="129"/>
                  </a:cubicBezTo>
                  <a:lnTo>
                    <a:pt x="141" y="129"/>
                  </a:lnTo>
                  <a:lnTo>
                    <a:pt x="155" y="118"/>
                  </a:lnTo>
                  <a:cubicBezTo>
                    <a:pt x="166" y="93"/>
                    <a:pt x="177" y="81"/>
                    <a:pt x="177" y="59"/>
                  </a:cubicBezTo>
                  <a:lnTo>
                    <a:pt x="177" y="23"/>
                  </a:lnTo>
                  <a:lnTo>
                    <a:pt x="166" y="12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1" name="Google Shape;259;p17">
              <a:extLst>
                <a:ext uri="{FF2B5EF4-FFF2-40B4-BE49-F238E27FC236}">
                  <a16:creationId xmlns:a16="http://schemas.microsoft.com/office/drawing/2014/main" xmlns="" id="{E1D50873-9E01-14E9-FC61-BABB860F19FE}"/>
                </a:ext>
              </a:extLst>
            </p:cNvPr>
            <p:cNvSpPr/>
            <p:nvPr/>
          </p:nvSpPr>
          <p:spPr>
            <a:xfrm>
              <a:off x="3425904" y="3318859"/>
              <a:ext cx="13602" cy="24208"/>
            </a:xfrm>
            <a:custGeom>
              <a:avLst/>
              <a:gdLst/>
              <a:ahLst/>
              <a:cxnLst/>
              <a:rect l="l" t="t" r="r" b="b"/>
              <a:pathLst>
                <a:path w="59" h="105" extrusionOk="0">
                  <a:moveTo>
                    <a:pt x="0" y="1"/>
                  </a:moveTo>
                  <a:lnTo>
                    <a:pt x="0" y="34"/>
                  </a:lnTo>
                  <a:lnTo>
                    <a:pt x="0" y="45"/>
                  </a:lnTo>
                  <a:cubicBezTo>
                    <a:pt x="14" y="56"/>
                    <a:pt x="25" y="70"/>
                    <a:pt x="14" y="82"/>
                  </a:cubicBezTo>
                  <a:cubicBezTo>
                    <a:pt x="14" y="93"/>
                    <a:pt x="14" y="93"/>
                    <a:pt x="25" y="104"/>
                  </a:cubicBezTo>
                  <a:lnTo>
                    <a:pt x="36" y="104"/>
                  </a:lnTo>
                  <a:lnTo>
                    <a:pt x="48" y="93"/>
                  </a:lnTo>
                  <a:lnTo>
                    <a:pt x="59" y="82"/>
                  </a:lnTo>
                  <a:lnTo>
                    <a:pt x="59" y="70"/>
                  </a:lnTo>
                  <a:lnTo>
                    <a:pt x="59" y="23"/>
                  </a:lnTo>
                  <a:lnTo>
                    <a:pt x="59" y="12"/>
                  </a:lnTo>
                  <a:cubicBezTo>
                    <a:pt x="59" y="1"/>
                    <a:pt x="48" y="1"/>
                    <a:pt x="3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2" name="Google Shape;260;p17">
              <a:extLst>
                <a:ext uri="{FF2B5EF4-FFF2-40B4-BE49-F238E27FC236}">
                  <a16:creationId xmlns:a16="http://schemas.microsoft.com/office/drawing/2014/main" xmlns="" id="{70420C5F-3B6A-EF4B-746C-0312049DC905}"/>
                </a:ext>
              </a:extLst>
            </p:cNvPr>
            <p:cNvSpPr/>
            <p:nvPr/>
          </p:nvSpPr>
          <p:spPr>
            <a:xfrm>
              <a:off x="3420601" y="3313095"/>
              <a:ext cx="24669" cy="35044"/>
            </a:xfrm>
            <a:custGeom>
              <a:avLst/>
              <a:gdLst/>
              <a:ahLst/>
              <a:cxnLst/>
              <a:rect l="l" t="t" r="r" b="b"/>
              <a:pathLst>
                <a:path w="107" h="152" extrusionOk="0">
                  <a:moveTo>
                    <a:pt x="59" y="48"/>
                  </a:moveTo>
                  <a:lnTo>
                    <a:pt x="59" y="59"/>
                  </a:lnTo>
                  <a:lnTo>
                    <a:pt x="59" y="81"/>
                  </a:lnTo>
                  <a:lnTo>
                    <a:pt x="59" y="95"/>
                  </a:lnTo>
                  <a:cubicBezTo>
                    <a:pt x="59" y="95"/>
                    <a:pt x="59" y="95"/>
                    <a:pt x="59" y="95"/>
                  </a:cubicBezTo>
                  <a:lnTo>
                    <a:pt x="59" y="95"/>
                  </a:lnTo>
                  <a:cubicBezTo>
                    <a:pt x="59" y="78"/>
                    <a:pt x="58" y="68"/>
                    <a:pt x="48" y="59"/>
                  </a:cubicBezTo>
                  <a:lnTo>
                    <a:pt x="48" y="48"/>
                  </a:lnTo>
                  <a:close/>
                  <a:moveTo>
                    <a:pt x="12" y="0"/>
                  </a:moveTo>
                  <a:lnTo>
                    <a:pt x="12" y="12"/>
                  </a:lnTo>
                  <a:lnTo>
                    <a:pt x="1" y="12"/>
                  </a:lnTo>
                  <a:lnTo>
                    <a:pt x="1" y="59"/>
                  </a:lnTo>
                  <a:lnTo>
                    <a:pt x="1" y="70"/>
                  </a:lnTo>
                  <a:lnTo>
                    <a:pt x="12" y="81"/>
                  </a:lnTo>
                  <a:lnTo>
                    <a:pt x="12" y="95"/>
                  </a:lnTo>
                  <a:cubicBezTo>
                    <a:pt x="12" y="95"/>
                    <a:pt x="23" y="107"/>
                    <a:pt x="12" y="107"/>
                  </a:cubicBezTo>
                  <a:lnTo>
                    <a:pt x="12" y="118"/>
                  </a:lnTo>
                  <a:cubicBezTo>
                    <a:pt x="12" y="118"/>
                    <a:pt x="12" y="129"/>
                    <a:pt x="23" y="140"/>
                  </a:cubicBezTo>
                  <a:lnTo>
                    <a:pt x="37" y="151"/>
                  </a:lnTo>
                  <a:lnTo>
                    <a:pt x="71" y="151"/>
                  </a:lnTo>
                  <a:lnTo>
                    <a:pt x="82" y="140"/>
                  </a:lnTo>
                  <a:lnTo>
                    <a:pt x="82" y="129"/>
                  </a:lnTo>
                  <a:cubicBezTo>
                    <a:pt x="82" y="129"/>
                    <a:pt x="93" y="129"/>
                    <a:pt x="107" y="118"/>
                  </a:cubicBezTo>
                  <a:lnTo>
                    <a:pt x="107" y="95"/>
                  </a:lnTo>
                  <a:lnTo>
                    <a:pt x="107" y="59"/>
                  </a:lnTo>
                  <a:lnTo>
                    <a:pt x="107" y="48"/>
                  </a:lnTo>
                  <a:lnTo>
                    <a:pt x="107" y="37"/>
                  </a:lnTo>
                  <a:lnTo>
                    <a:pt x="107" y="26"/>
                  </a:lnTo>
                  <a:cubicBezTo>
                    <a:pt x="107" y="12"/>
                    <a:pt x="93" y="12"/>
                    <a:pt x="9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3" name="Google Shape;261;p17">
              <a:extLst>
                <a:ext uri="{FF2B5EF4-FFF2-40B4-BE49-F238E27FC236}">
                  <a16:creationId xmlns:a16="http://schemas.microsoft.com/office/drawing/2014/main" xmlns="" id="{CEF61DC0-2D32-E480-3825-14A69FDD4152}"/>
                </a:ext>
              </a:extLst>
            </p:cNvPr>
            <p:cNvSpPr/>
            <p:nvPr/>
          </p:nvSpPr>
          <p:spPr>
            <a:xfrm>
              <a:off x="3380716" y="3329234"/>
              <a:ext cx="40116" cy="30203"/>
            </a:xfrm>
            <a:custGeom>
              <a:avLst/>
              <a:gdLst/>
              <a:ahLst/>
              <a:cxnLst/>
              <a:rect l="l" t="t" r="r" b="b"/>
              <a:pathLst>
                <a:path w="174" h="131" extrusionOk="0">
                  <a:moveTo>
                    <a:pt x="140" y="0"/>
                  </a:moveTo>
                  <a:cubicBezTo>
                    <a:pt x="126" y="0"/>
                    <a:pt x="115" y="0"/>
                    <a:pt x="104" y="11"/>
                  </a:cubicBezTo>
                  <a:cubicBezTo>
                    <a:pt x="104" y="11"/>
                    <a:pt x="104" y="25"/>
                    <a:pt x="93" y="25"/>
                  </a:cubicBezTo>
                  <a:cubicBezTo>
                    <a:pt x="81" y="48"/>
                    <a:pt x="56" y="59"/>
                    <a:pt x="34" y="70"/>
                  </a:cubicBezTo>
                  <a:cubicBezTo>
                    <a:pt x="23" y="70"/>
                    <a:pt x="12" y="70"/>
                    <a:pt x="12" y="81"/>
                  </a:cubicBezTo>
                  <a:cubicBezTo>
                    <a:pt x="0" y="81"/>
                    <a:pt x="0" y="95"/>
                    <a:pt x="12" y="107"/>
                  </a:cubicBezTo>
                  <a:lnTo>
                    <a:pt x="23" y="118"/>
                  </a:lnTo>
                  <a:cubicBezTo>
                    <a:pt x="34" y="107"/>
                    <a:pt x="45" y="107"/>
                    <a:pt x="45" y="107"/>
                  </a:cubicBezTo>
                  <a:cubicBezTo>
                    <a:pt x="56" y="107"/>
                    <a:pt x="70" y="107"/>
                    <a:pt x="70" y="118"/>
                  </a:cubicBezTo>
                  <a:lnTo>
                    <a:pt x="81" y="118"/>
                  </a:lnTo>
                  <a:cubicBezTo>
                    <a:pt x="91" y="127"/>
                    <a:pt x="103" y="131"/>
                    <a:pt x="114" y="131"/>
                  </a:cubicBezTo>
                  <a:cubicBezTo>
                    <a:pt x="130" y="131"/>
                    <a:pt x="145" y="124"/>
                    <a:pt x="151" y="118"/>
                  </a:cubicBezTo>
                  <a:cubicBezTo>
                    <a:pt x="163" y="95"/>
                    <a:pt x="174" y="81"/>
                    <a:pt x="174" y="59"/>
                  </a:cubicBezTo>
                  <a:cubicBezTo>
                    <a:pt x="163" y="48"/>
                    <a:pt x="163" y="25"/>
                    <a:pt x="151" y="11"/>
                  </a:cubicBezTo>
                  <a:lnTo>
                    <a:pt x="15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4" name="Google Shape;262;p17">
              <a:extLst>
                <a:ext uri="{FF2B5EF4-FFF2-40B4-BE49-F238E27FC236}">
                  <a16:creationId xmlns:a16="http://schemas.microsoft.com/office/drawing/2014/main" xmlns="" id="{B4E52F3D-6C35-7389-9BEF-83A162E0A922}"/>
                </a:ext>
              </a:extLst>
            </p:cNvPr>
            <p:cNvSpPr/>
            <p:nvPr/>
          </p:nvSpPr>
          <p:spPr>
            <a:xfrm>
              <a:off x="3374952" y="3323931"/>
              <a:ext cx="51182" cy="40347"/>
            </a:xfrm>
            <a:custGeom>
              <a:avLst/>
              <a:gdLst/>
              <a:ahLst/>
              <a:cxnLst/>
              <a:rect l="l" t="t" r="r" b="b"/>
              <a:pathLst>
                <a:path w="222" h="175" extrusionOk="0">
                  <a:moveTo>
                    <a:pt x="151" y="48"/>
                  </a:moveTo>
                  <a:cubicBezTo>
                    <a:pt x="165" y="60"/>
                    <a:pt x="165" y="71"/>
                    <a:pt x="176" y="82"/>
                  </a:cubicBezTo>
                  <a:lnTo>
                    <a:pt x="176" y="93"/>
                  </a:lnTo>
                  <a:cubicBezTo>
                    <a:pt x="176" y="104"/>
                    <a:pt x="165" y="118"/>
                    <a:pt x="165" y="118"/>
                  </a:cubicBezTo>
                  <a:cubicBezTo>
                    <a:pt x="151" y="130"/>
                    <a:pt x="151" y="130"/>
                    <a:pt x="140" y="130"/>
                  </a:cubicBezTo>
                  <a:lnTo>
                    <a:pt x="118" y="130"/>
                  </a:lnTo>
                  <a:cubicBezTo>
                    <a:pt x="118" y="130"/>
                    <a:pt x="118" y="118"/>
                    <a:pt x="106" y="118"/>
                  </a:cubicBezTo>
                  <a:cubicBezTo>
                    <a:pt x="95" y="104"/>
                    <a:pt x="81" y="104"/>
                    <a:pt x="70" y="104"/>
                  </a:cubicBezTo>
                  <a:cubicBezTo>
                    <a:pt x="66" y="104"/>
                    <a:pt x="62" y="106"/>
                    <a:pt x="59" y="109"/>
                  </a:cubicBezTo>
                  <a:lnTo>
                    <a:pt x="59" y="109"/>
                  </a:lnTo>
                  <a:cubicBezTo>
                    <a:pt x="59" y="107"/>
                    <a:pt x="59" y="106"/>
                    <a:pt x="59" y="104"/>
                  </a:cubicBezTo>
                  <a:cubicBezTo>
                    <a:pt x="70" y="104"/>
                    <a:pt x="81" y="104"/>
                    <a:pt x="106" y="93"/>
                  </a:cubicBezTo>
                  <a:cubicBezTo>
                    <a:pt x="118" y="93"/>
                    <a:pt x="129" y="82"/>
                    <a:pt x="140" y="71"/>
                  </a:cubicBezTo>
                  <a:cubicBezTo>
                    <a:pt x="140" y="60"/>
                    <a:pt x="151" y="48"/>
                    <a:pt x="151" y="48"/>
                  </a:cubicBezTo>
                  <a:close/>
                  <a:moveTo>
                    <a:pt x="165" y="1"/>
                  </a:moveTo>
                  <a:cubicBezTo>
                    <a:pt x="151" y="1"/>
                    <a:pt x="129" y="1"/>
                    <a:pt x="118" y="12"/>
                  </a:cubicBezTo>
                  <a:cubicBezTo>
                    <a:pt x="106" y="23"/>
                    <a:pt x="106" y="34"/>
                    <a:pt x="106" y="34"/>
                  </a:cubicBezTo>
                  <a:lnTo>
                    <a:pt x="81" y="60"/>
                  </a:lnTo>
                  <a:cubicBezTo>
                    <a:pt x="70" y="60"/>
                    <a:pt x="59" y="60"/>
                    <a:pt x="48" y="71"/>
                  </a:cubicBezTo>
                  <a:cubicBezTo>
                    <a:pt x="37" y="71"/>
                    <a:pt x="25" y="82"/>
                    <a:pt x="11" y="93"/>
                  </a:cubicBezTo>
                  <a:cubicBezTo>
                    <a:pt x="11" y="93"/>
                    <a:pt x="0" y="104"/>
                    <a:pt x="0" y="118"/>
                  </a:cubicBezTo>
                  <a:cubicBezTo>
                    <a:pt x="0" y="130"/>
                    <a:pt x="11" y="141"/>
                    <a:pt x="11" y="141"/>
                  </a:cubicBezTo>
                  <a:cubicBezTo>
                    <a:pt x="25" y="152"/>
                    <a:pt x="37" y="163"/>
                    <a:pt x="48" y="163"/>
                  </a:cubicBezTo>
                  <a:cubicBezTo>
                    <a:pt x="59" y="152"/>
                    <a:pt x="70" y="152"/>
                    <a:pt x="70" y="152"/>
                  </a:cubicBezTo>
                  <a:lnTo>
                    <a:pt x="81" y="152"/>
                  </a:lnTo>
                  <a:cubicBezTo>
                    <a:pt x="81" y="163"/>
                    <a:pt x="95" y="163"/>
                    <a:pt x="95" y="163"/>
                  </a:cubicBezTo>
                  <a:cubicBezTo>
                    <a:pt x="106" y="174"/>
                    <a:pt x="118" y="174"/>
                    <a:pt x="140" y="174"/>
                  </a:cubicBezTo>
                  <a:cubicBezTo>
                    <a:pt x="165" y="174"/>
                    <a:pt x="188" y="163"/>
                    <a:pt x="199" y="152"/>
                  </a:cubicBezTo>
                  <a:cubicBezTo>
                    <a:pt x="210" y="130"/>
                    <a:pt x="221" y="104"/>
                    <a:pt x="221" y="93"/>
                  </a:cubicBezTo>
                  <a:lnTo>
                    <a:pt x="221" y="82"/>
                  </a:lnTo>
                  <a:cubicBezTo>
                    <a:pt x="210" y="60"/>
                    <a:pt x="210" y="34"/>
                    <a:pt x="199" y="23"/>
                  </a:cubicBezTo>
                  <a:lnTo>
                    <a:pt x="188" y="12"/>
                  </a:lnTo>
                  <a:lnTo>
                    <a:pt x="17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" name="Google Shape;263;p17">
              <a:extLst>
                <a:ext uri="{FF2B5EF4-FFF2-40B4-BE49-F238E27FC236}">
                  <a16:creationId xmlns:a16="http://schemas.microsoft.com/office/drawing/2014/main" xmlns="" id="{5E03A972-C778-DA8E-5C45-FCCED22063C5}"/>
                </a:ext>
              </a:extLst>
            </p:cNvPr>
            <p:cNvSpPr/>
            <p:nvPr/>
          </p:nvSpPr>
          <p:spPr>
            <a:xfrm>
              <a:off x="3467403" y="3309867"/>
              <a:ext cx="36657" cy="17061"/>
            </a:xfrm>
            <a:custGeom>
              <a:avLst/>
              <a:gdLst/>
              <a:ahLst/>
              <a:cxnLst/>
              <a:rect l="l" t="t" r="r" b="b"/>
              <a:pathLst>
                <a:path w="159" h="74" extrusionOk="0">
                  <a:moveTo>
                    <a:pt x="96" y="0"/>
                  </a:moveTo>
                  <a:cubicBezTo>
                    <a:pt x="60" y="0"/>
                    <a:pt x="0" y="22"/>
                    <a:pt x="19" y="62"/>
                  </a:cubicBezTo>
                  <a:cubicBezTo>
                    <a:pt x="30" y="73"/>
                    <a:pt x="44" y="73"/>
                    <a:pt x="55" y="73"/>
                  </a:cubicBezTo>
                  <a:cubicBezTo>
                    <a:pt x="66" y="73"/>
                    <a:pt x="77" y="62"/>
                    <a:pt x="89" y="62"/>
                  </a:cubicBezTo>
                  <a:cubicBezTo>
                    <a:pt x="94" y="56"/>
                    <a:pt x="100" y="54"/>
                    <a:pt x="107" y="54"/>
                  </a:cubicBezTo>
                  <a:cubicBezTo>
                    <a:pt x="113" y="54"/>
                    <a:pt x="119" y="56"/>
                    <a:pt x="125" y="62"/>
                  </a:cubicBezTo>
                  <a:cubicBezTo>
                    <a:pt x="136" y="62"/>
                    <a:pt x="158" y="62"/>
                    <a:pt x="158" y="51"/>
                  </a:cubicBezTo>
                  <a:cubicBezTo>
                    <a:pt x="147" y="26"/>
                    <a:pt x="136" y="3"/>
                    <a:pt x="114" y="3"/>
                  </a:cubicBezTo>
                  <a:cubicBezTo>
                    <a:pt x="109" y="1"/>
                    <a:pt x="103" y="0"/>
                    <a:pt x="9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" name="Google Shape;264;p17">
              <a:extLst>
                <a:ext uri="{FF2B5EF4-FFF2-40B4-BE49-F238E27FC236}">
                  <a16:creationId xmlns:a16="http://schemas.microsoft.com/office/drawing/2014/main" xmlns="" id="{CD3E0129-B4A8-E0EB-4D5F-F3BF028ED8D2}"/>
                </a:ext>
              </a:extLst>
            </p:cNvPr>
            <p:cNvSpPr/>
            <p:nvPr/>
          </p:nvSpPr>
          <p:spPr>
            <a:xfrm>
              <a:off x="3466481" y="3305256"/>
              <a:ext cx="43343" cy="26744"/>
            </a:xfrm>
            <a:custGeom>
              <a:avLst/>
              <a:gdLst/>
              <a:ahLst/>
              <a:cxnLst/>
              <a:rect l="l" t="t" r="r" b="b"/>
              <a:pathLst>
                <a:path w="188" h="116" extrusionOk="0">
                  <a:moveTo>
                    <a:pt x="104" y="46"/>
                  </a:moveTo>
                  <a:cubicBezTo>
                    <a:pt x="118" y="46"/>
                    <a:pt x="118" y="46"/>
                    <a:pt x="129" y="60"/>
                  </a:cubicBezTo>
                  <a:lnTo>
                    <a:pt x="81" y="60"/>
                  </a:lnTo>
                  <a:cubicBezTo>
                    <a:pt x="70" y="60"/>
                    <a:pt x="59" y="71"/>
                    <a:pt x="48" y="71"/>
                  </a:cubicBezTo>
                  <a:lnTo>
                    <a:pt x="48" y="60"/>
                  </a:lnTo>
                  <a:cubicBezTo>
                    <a:pt x="48" y="60"/>
                    <a:pt x="59" y="46"/>
                    <a:pt x="70" y="46"/>
                  </a:cubicBezTo>
                  <a:close/>
                  <a:moveTo>
                    <a:pt x="104" y="1"/>
                  </a:moveTo>
                  <a:cubicBezTo>
                    <a:pt x="81" y="1"/>
                    <a:pt x="59" y="1"/>
                    <a:pt x="34" y="12"/>
                  </a:cubicBezTo>
                  <a:cubicBezTo>
                    <a:pt x="23" y="12"/>
                    <a:pt x="23" y="23"/>
                    <a:pt x="11" y="34"/>
                  </a:cubicBezTo>
                  <a:cubicBezTo>
                    <a:pt x="0" y="34"/>
                    <a:pt x="0" y="46"/>
                    <a:pt x="0" y="71"/>
                  </a:cubicBezTo>
                  <a:lnTo>
                    <a:pt x="0" y="93"/>
                  </a:lnTo>
                  <a:cubicBezTo>
                    <a:pt x="11" y="104"/>
                    <a:pt x="11" y="104"/>
                    <a:pt x="23" y="104"/>
                  </a:cubicBezTo>
                  <a:cubicBezTo>
                    <a:pt x="34" y="115"/>
                    <a:pt x="34" y="115"/>
                    <a:pt x="48" y="115"/>
                  </a:cubicBezTo>
                  <a:lnTo>
                    <a:pt x="59" y="115"/>
                  </a:lnTo>
                  <a:cubicBezTo>
                    <a:pt x="81" y="104"/>
                    <a:pt x="93" y="104"/>
                    <a:pt x="93" y="104"/>
                  </a:cubicBezTo>
                  <a:lnTo>
                    <a:pt x="151" y="104"/>
                  </a:lnTo>
                  <a:cubicBezTo>
                    <a:pt x="151" y="104"/>
                    <a:pt x="162" y="104"/>
                    <a:pt x="174" y="93"/>
                  </a:cubicBezTo>
                  <a:cubicBezTo>
                    <a:pt x="174" y="93"/>
                    <a:pt x="188" y="82"/>
                    <a:pt x="188" y="71"/>
                  </a:cubicBezTo>
                  <a:cubicBezTo>
                    <a:pt x="174" y="46"/>
                    <a:pt x="174" y="34"/>
                    <a:pt x="162" y="23"/>
                  </a:cubicBezTo>
                  <a:cubicBezTo>
                    <a:pt x="151" y="12"/>
                    <a:pt x="140" y="12"/>
                    <a:pt x="12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265;p17">
              <a:extLst>
                <a:ext uri="{FF2B5EF4-FFF2-40B4-BE49-F238E27FC236}">
                  <a16:creationId xmlns:a16="http://schemas.microsoft.com/office/drawing/2014/main" xmlns="" id="{BABCDE3F-A629-7AF0-9D1D-A0AA470C1573}"/>
                </a:ext>
              </a:extLst>
            </p:cNvPr>
            <p:cNvSpPr/>
            <p:nvPr/>
          </p:nvSpPr>
          <p:spPr>
            <a:xfrm>
              <a:off x="3495992" y="3337534"/>
              <a:ext cx="10605" cy="10606"/>
            </a:xfrm>
            <a:custGeom>
              <a:avLst/>
              <a:gdLst/>
              <a:ahLst/>
              <a:cxnLst/>
              <a:rect l="l" t="t" r="r" b="b"/>
              <a:pathLst>
                <a:path w="46" h="46" extrusionOk="0">
                  <a:moveTo>
                    <a:pt x="12" y="1"/>
                  </a:moveTo>
                  <a:cubicBezTo>
                    <a:pt x="1" y="12"/>
                    <a:pt x="1" y="34"/>
                    <a:pt x="12" y="45"/>
                  </a:cubicBezTo>
                  <a:lnTo>
                    <a:pt x="34" y="45"/>
                  </a:lnTo>
                  <a:cubicBezTo>
                    <a:pt x="46" y="45"/>
                    <a:pt x="46" y="34"/>
                    <a:pt x="46" y="23"/>
                  </a:cubicBezTo>
                  <a:lnTo>
                    <a:pt x="4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266;p17">
              <a:extLst>
                <a:ext uri="{FF2B5EF4-FFF2-40B4-BE49-F238E27FC236}">
                  <a16:creationId xmlns:a16="http://schemas.microsoft.com/office/drawing/2014/main" xmlns="" id="{DFAEF2A0-74E1-257E-6246-05645FD48D98}"/>
                </a:ext>
              </a:extLst>
            </p:cNvPr>
            <p:cNvSpPr/>
            <p:nvPr/>
          </p:nvSpPr>
          <p:spPr>
            <a:xfrm>
              <a:off x="3490228" y="3331770"/>
              <a:ext cx="22133" cy="22133"/>
            </a:xfrm>
            <a:custGeom>
              <a:avLst/>
              <a:gdLst/>
              <a:ahLst/>
              <a:cxnLst/>
              <a:rect l="l" t="t" r="r" b="b"/>
              <a:pathLst>
                <a:path w="96" h="96" extrusionOk="0">
                  <a:moveTo>
                    <a:pt x="26" y="0"/>
                  </a:moveTo>
                  <a:cubicBezTo>
                    <a:pt x="26" y="0"/>
                    <a:pt x="20" y="8"/>
                    <a:pt x="17" y="16"/>
                  </a:cubicBezTo>
                  <a:lnTo>
                    <a:pt x="17" y="16"/>
                  </a:lnTo>
                  <a:lnTo>
                    <a:pt x="15" y="14"/>
                  </a:lnTo>
                  <a:cubicBezTo>
                    <a:pt x="15" y="26"/>
                    <a:pt x="1" y="37"/>
                    <a:pt x="1" y="48"/>
                  </a:cubicBezTo>
                  <a:cubicBezTo>
                    <a:pt x="1" y="59"/>
                    <a:pt x="15" y="84"/>
                    <a:pt x="26" y="84"/>
                  </a:cubicBezTo>
                  <a:lnTo>
                    <a:pt x="26" y="96"/>
                  </a:lnTo>
                  <a:lnTo>
                    <a:pt x="71" y="96"/>
                  </a:lnTo>
                  <a:cubicBezTo>
                    <a:pt x="85" y="96"/>
                    <a:pt x="85" y="84"/>
                    <a:pt x="96" y="70"/>
                  </a:cubicBezTo>
                  <a:lnTo>
                    <a:pt x="96" y="48"/>
                  </a:lnTo>
                  <a:cubicBezTo>
                    <a:pt x="96" y="37"/>
                    <a:pt x="96" y="26"/>
                    <a:pt x="85" y="14"/>
                  </a:cubicBezTo>
                  <a:cubicBezTo>
                    <a:pt x="71" y="0"/>
                    <a:pt x="59" y="0"/>
                    <a:pt x="4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" name="Google Shape;267;p17">
              <a:extLst>
                <a:ext uri="{FF2B5EF4-FFF2-40B4-BE49-F238E27FC236}">
                  <a16:creationId xmlns:a16="http://schemas.microsoft.com/office/drawing/2014/main" xmlns="" id="{CAC184F9-434D-95A6-680F-9686DD6F0FA7}"/>
                </a:ext>
              </a:extLst>
            </p:cNvPr>
            <p:cNvSpPr/>
            <p:nvPr/>
          </p:nvSpPr>
          <p:spPr>
            <a:xfrm>
              <a:off x="3312934" y="3371425"/>
              <a:ext cx="70548" cy="84383"/>
            </a:xfrm>
            <a:custGeom>
              <a:avLst/>
              <a:gdLst/>
              <a:ahLst/>
              <a:cxnLst/>
              <a:rect l="l" t="t" r="r" b="b"/>
              <a:pathLst>
                <a:path w="306" h="366" extrusionOk="0">
                  <a:moveTo>
                    <a:pt x="110" y="0"/>
                  </a:moveTo>
                  <a:cubicBezTo>
                    <a:pt x="95" y="0"/>
                    <a:pt x="81" y="8"/>
                    <a:pt x="71" y="16"/>
                  </a:cubicBezTo>
                  <a:cubicBezTo>
                    <a:pt x="48" y="27"/>
                    <a:pt x="37" y="38"/>
                    <a:pt x="26" y="52"/>
                  </a:cubicBezTo>
                  <a:cubicBezTo>
                    <a:pt x="15" y="75"/>
                    <a:pt x="1" y="108"/>
                    <a:pt x="1" y="133"/>
                  </a:cubicBezTo>
                  <a:cubicBezTo>
                    <a:pt x="1" y="144"/>
                    <a:pt x="1" y="156"/>
                    <a:pt x="15" y="167"/>
                  </a:cubicBezTo>
                  <a:cubicBezTo>
                    <a:pt x="26" y="192"/>
                    <a:pt x="48" y="192"/>
                    <a:pt x="71" y="203"/>
                  </a:cubicBezTo>
                  <a:cubicBezTo>
                    <a:pt x="96" y="214"/>
                    <a:pt x="107" y="237"/>
                    <a:pt x="118" y="262"/>
                  </a:cubicBezTo>
                  <a:cubicBezTo>
                    <a:pt x="129" y="284"/>
                    <a:pt x="129" y="307"/>
                    <a:pt x="155" y="332"/>
                  </a:cubicBezTo>
                  <a:cubicBezTo>
                    <a:pt x="166" y="343"/>
                    <a:pt x="188" y="365"/>
                    <a:pt x="210" y="365"/>
                  </a:cubicBezTo>
                  <a:cubicBezTo>
                    <a:pt x="224" y="354"/>
                    <a:pt x="224" y="354"/>
                    <a:pt x="236" y="354"/>
                  </a:cubicBezTo>
                  <a:cubicBezTo>
                    <a:pt x="247" y="343"/>
                    <a:pt x="258" y="343"/>
                    <a:pt x="269" y="332"/>
                  </a:cubicBezTo>
                  <a:cubicBezTo>
                    <a:pt x="294" y="307"/>
                    <a:pt x="294" y="284"/>
                    <a:pt x="294" y="262"/>
                  </a:cubicBezTo>
                  <a:cubicBezTo>
                    <a:pt x="294" y="237"/>
                    <a:pt x="280" y="214"/>
                    <a:pt x="294" y="192"/>
                  </a:cubicBezTo>
                  <a:cubicBezTo>
                    <a:pt x="294" y="178"/>
                    <a:pt x="306" y="167"/>
                    <a:pt x="306" y="167"/>
                  </a:cubicBezTo>
                  <a:cubicBezTo>
                    <a:pt x="306" y="144"/>
                    <a:pt x="294" y="133"/>
                    <a:pt x="269" y="122"/>
                  </a:cubicBezTo>
                  <a:cubicBezTo>
                    <a:pt x="258" y="108"/>
                    <a:pt x="236" y="108"/>
                    <a:pt x="210" y="108"/>
                  </a:cubicBezTo>
                  <a:cubicBezTo>
                    <a:pt x="188" y="97"/>
                    <a:pt x="177" y="63"/>
                    <a:pt x="166" y="38"/>
                  </a:cubicBezTo>
                  <a:lnTo>
                    <a:pt x="166" y="16"/>
                  </a:lnTo>
                  <a:cubicBezTo>
                    <a:pt x="155" y="5"/>
                    <a:pt x="141" y="5"/>
                    <a:pt x="129" y="5"/>
                  </a:cubicBezTo>
                  <a:cubicBezTo>
                    <a:pt x="123" y="1"/>
                    <a:pt x="116" y="0"/>
                    <a:pt x="11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" name="Google Shape;268;p17">
              <a:extLst>
                <a:ext uri="{FF2B5EF4-FFF2-40B4-BE49-F238E27FC236}">
                  <a16:creationId xmlns:a16="http://schemas.microsoft.com/office/drawing/2014/main" xmlns="" id="{AE9AA346-5320-450F-6C45-9ACF5ED5569E}"/>
                </a:ext>
              </a:extLst>
            </p:cNvPr>
            <p:cNvSpPr/>
            <p:nvPr/>
          </p:nvSpPr>
          <p:spPr>
            <a:xfrm>
              <a:off x="3307862" y="3364047"/>
              <a:ext cx="80693" cy="96833"/>
            </a:xfrm>
            <a:custGeom>
              <a:avLst/>
              <a:gdLst/>
              <a:ahLst/>
              <a:cxnLst/>
              <a:rect l="l" t="t" r="r" b="b"/>
              <a:pathLst>
                <a:path w="350" h="420" extrusionOk="0">
                  <a:moveTo>
                    <a:pt x="140" y="48"/>
                  </a:moveTo>
                  <a:lnTo>
                    <a:pt x="151" y="59"/>
                  </a:lnTo>
                  <a:lnTo>
                    <a:pt x="163" y="59"/>
                  </a:lnTo>
                  <a:lnTo>
                    <a:pt x="163" y="70"/>
                  </a:lnTo>
                  <a:cubicBezTo>
                    <a:pt x="177" y="107"/>
                    <a:pt x="199" y="140"/>
                    <a:pt x="232" y="154"/>
                  </a:cubicBezTo>
                  <a:cubicBezTo>
                    <a:pt x="246" y="165"/>
                    <a:pt x="269" y="165"/>
                    <a:pt x="280" y="176"/>
                  </a:cubicBezTo>
                  <a:cubicBezTo>
                    <a:pt x="291" y="176"/>
                    <a:pt x="291" y="176"/>
                    <a:pt x="291" y="188"/>
                  </a:cubicBezTo>
                  <a:lnTo>
                    <a:pt x="302" y="199"/>
                  </a:lnTo>
                  <a:lnTo>
                    <a:pt x="291" y="210"/>
                  </a:lnTo>
                  <a:lnTo>
                    <a:pt x="291" y="258"/>
                  </a:lnTo>
                  <a:lnTo>
                    <a:pt x="291" y="294"/>
                  </a:lnTo>
                  <a:lnTo>
                    <a:pt x="291" y="305"/>
                  </a:lnTo>
                  <a:cubicBezTo>
                    <a:pt x="291" y="316"/>
                    <a:pt x="280" y="339"/>
                    <a:pt x="280" y="350"/>
                  </a:cubicBezTo>
                  <a:cubicBezTo>
                    <a:pt x="269" y="350"/>
                    <a:pt x="258" y="364"/>
                    <a:pt x="246" y="364"/>
                  </a:cubicBezTo>
                  <a:cubicBezTo>
                    <a:pt x="232" y="364"/>
                    <a:pt x="232" y="375"/>
                    <a:pt x="232" y="375"/>
                  </a:cubicBezTo>
                  <a:lnTo>
                    <a:pt x="221" y="375"/>
                  </a:lnTo>
                  <a:lnTo>
                    <a:pt x="210" y="364"/>
                  </a:lnTo>
                  <a:cubicBezTo>
                    <a:pt x="199" y="364"/>
                    <a:pt x="199" y="350"/>
                    <a:pt x="188" y="339"/>
                  </a:cubicBezTo>
                  <a:cubicBezTo>
                    <a:pt x="177" y="327"/>
                    <a:pt x="177" y="305"/>
                    <a:pt x="163" y="280"/>
                  </a:cubicBezTo>
                  <a:cubicBezTo>
                    <a:pt x="151" y="258"/>
                    <a:pt x="140" y="224"/>
                    <a:pt x="107" y="210"/>
                  </a:cubicBezTo>
                  <a:cubicBezTo>
                    <a:pt x="93" y="199"/>
                    <a:pt x="81" y="199"/>
                    <a:pt x="70" y="199"/>
                  </a:cubicBezTo>
                  <a:cubicBezTo>
                    <a:pt x="59" y="188"/>
                    <a:pt x="59" y="188"/>
                    <a:pt x="48" y="188"/>
                  </a:cubicBezTo>
                  <a:lnTo>
                    <a:pt x="48" y="165"/>
                  </a:lnTo>
                  <a:cubicBezTo>
                    <a:pt x="48" y="140"/>
                    <a:pt x="59" y="118"/>
                    <a:pt x="70" y="95"/>
                  </a:cubicBezTo>
                  <a:cubicBezTo>
                    <a:pt x="81" y="84"/>
                    <a:pt x="93" y="70"/>
                    <a:pt x="107" y="59"/>
                  </a:cubicBezTo>
                  <a:cubicBezTo>
                    <a:pt x="107" y="59"/>
                    <a:pt x="118" y="48"/>
                    <a:pt x="140" y="48"/>
                  </a:cubicBezTo>
                  <a:close/>
                  <a:moveTo>
                    <a:pt x="140" y="0"/>
                  </a:moveTo>
                  <a:cubicBezTo>
                    <a:pt x="118" y="0"/>
                    <a:pt x="93" y="14"/>
                    <a:pt x="70" y="25"/>
                  </a:cubicBezTo>
                  <a:cubicBezTo>
                    <a:pt x="59" y="37"/>
                    <a:pt x="48" y="59"/>
                    <a:pt x="37" y="70"/>
                  </a:cubicBezTo>
                  <a:cubicBezTo>
                    <a:pt x="12" y="95"/>
                    <a:pt x="0" y="129"/>
                    <a:pt x="0" y="165"/>
                  </a:cubicBezTo>
                  <a:cubicBezTo>
                    <a:pt x="0" y="188"/>
                    <a:pt x="0" y="199"/>
                    <a:pt x="12" y="210"/>
                  </a:cubicBezTo>
                  <a:cubicBezTo>
                    <a:pt x="23" y="235"/>
                    <a:pt x="48" y="235"/>
                    <a:pt x="59" y="246"/>
                  </a:cubicBezTo>
                  <a:lnTo>
                    <a:pt x="81" y="246"/>
                  </a:lnTo>
                  <a:cubicBezTo>
                    <a:pt x="107" y="258"/>
                    <a:pt x="118" y="280"/>
                    <a:pt x="118" y="294"/>
                  </a:cubicBezTo>
                  <a:cubicBezTo>
                    <a:pt x="129" y="316"/>
                    <a:pt x="140" y="339"/>
                    <a:pt x="151" y="375"/>
                  </a:cubicBezTo>
                  <a:cubicBezTo>
                    <a:pt x="163" y="386"/>
                    <a:pt x="163" y="397"/>
                    <a:pt x="188" y="397"/>
                  </a:cubicBezTo>
                  <a:cubicBezTo>
                    <a:pt x="199" y="409"/>
                    <a:pt x="210" y="420"/>
                    <a:pt x="221" y="420"/>
                  </a:cubicBezTo>
                  <a:lnTo>
                    <a:pt x="232" y="420"/>
                  </a:lnTo>
                  <a:cubicBezTo>
                    <a:pt x="246" y="409"/>
                    <a:pt x="258" y="409"/>
                    <a:pt x="269" y="409"/>
                  </a:cubicBezTo>
                  <a:cubicBezTo>
                    <a:pt x="280" y="397"/>
                    <a:pt x="302" y="397"/>
                    <a:pt x="316" y="375"/>
                  </a:cubicBezTo>
                  <a:cubicBezTo>
                    <a:pt x="328" y="350"/>
                    <a:pt x="339" y="327"/>
                    <a:pt x="339" y="305"/>
                  </a:cubicBezTo>
                  <a:lnTo>
                    <a:pt x="339" y="294"/>
                  </a:lnTo>
                  <a:lnTo>
                    <a:pt x="339" y="258"/>
                  </a:lnTo>
                  <a:lnTo>
                    <a:pt x="339" y="224"/>
                  </a:lnTo>
                  <a:cubicBezTo>
                    <a:pt x="339" y="224"/>
                    <a:pt x="350" y="210"/>
                    <a:pt x="350" y="199"/>
                  </a:cubicBezTo>
                  <a:cubicBezTo>
                    <a:pt x="350" y="176"/>
                    <a:pt x="339" y="165"/>
                    <a:pt x="328" y="154"/>
                  </a:cubicBezTo>
                  <a:cubicBezTo>
                    <a:pt x="328" y="140"/>
                    <a:pt x="316" y="140"/>
                    <a:pt x="302" y="129"/>
                  </a:cubicBezTo>
                  <a:cubicBezTo>
                    <a:pt x="280" y="118"/>
                    <a:pt x="258" y="118"/>
                    <a:pt x="246" y="118"/>
                  </a:cubicBezTo>
                  <a:cubicBezTo>
                    <a:pt x="232" y="107"/>
                    <a:pt x="210" y="84"/>
                    <a:pt x="210" y="70"/>
                  </a:cubicBezTo>
                  <a:cubicBezTo>
                    <a:pt x="210" y="59"/>
                    <a:pt x="210" y="48"/>
                    <a:pt x="199" y="37"/>
                  </a:cubicBezTo>
                  <a:cubicBezTo>
                    <a:pt x="199" y="25"/>
                    <a:pt x="188" y="25"/>
                    <a:pt x="188" y="14"/>
                  </a:cubicBezTo>
                  <a:lnTo>
                    <a:pt x="163" y="14"/>
                  </a:lnTo>
                  <a:cubicBezTo>
                    <a:pt x="151" y="14"/>
                    <a:pt x="140" y="0"/>
                    <a:pt x="14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" name="Google Shape;269;p17">
              <a:extLst>
                <a:ext uri="{FF2B5EF4-FFF2-40B4-BE49-F238E27FC236}">
                  <a16:creationId xmlns:a16="http://schemas.microsoft.com/office/drawing/2014/main" xmlns="" id="{DEBE07C7-4153-6DB1-BECD-2CCC379A00B9}"/>
                </a:ext>
              </a:extLst>
            </p:cNvPr>
            <p:cNvSpPr/>
            <p:nvPr/>
          </p:nvSpPr>
          <p:spPr>
            <a:xfrm>
              <a:off x="3232471" y="3410619"/>
              <a:ext cx="54410" cy="53489"/>
            </a:xfrm>
            <a:custGeom>
              <a:avLst/>
              <a:gdLst/>
              <a:ahLst/>
              <a:cxnLst/>
              <a:rect l="l" t="t" r="r" b="b"/>
              <a:pathLst>
                <a:path w="236" h="232" extrusionOk="0">
                  <a:moveTo>
                    <a:pt x="181" y="1"/>
                  </a:moveTo>
                  <a:cubicBezTo>
                    <a:pt x="172" y="1"/>
                    <a:pt x="163" y="4"/>
                    <a:pt x="154" y="8"/>
                  </a:cubicBezTo>
                  <a:cubicBezTo>
                    <a:pt x="129" y="22"/>
                    <a:pt x="106" y="33"/>
                    <a:pt x="84" y="44"/>
                  </a:cubicBezTo>
                  <a:cubicBezTo>
                    <a:pt x="59" y="67"/>
                    <a:pt x="37" y="92"/>
                    <a:pt x="25" y="125"/>
                  </a:cubicBezTo>
                  <a:lnTo>
                    <a:pt x="25" y="173"/>
                  </a:lnTo>
                  <a:cubicBezTo>
                    <a:pt x="14" y="195"/>
                    <a:pt x="0" y="207"/>
                    <a:pt x="0" y="218"/>
                  </a:cubicBezTo>
                  <a:cubicBezTo>
                    <a:pt x="15" y="228"/>
                    <a:pt x="31" y="232"/>
                    <a:pt x="47" y="232"/>
                  </a:cubicBezTo>
                  <a:cubicBezTo>
                    <a:pt x="72" y="232"/>
                    <a:pt x="97" y="222"/>
                    <a:pt x="118" y="207"/>
                  </a:cubicBezTo>
                  <a:cubicBezTo>
                    <a:pt x="140" y="184"/>
                    <a:pt x="176" y="148"/>
                    <a:pt x="199" y="114"/>
                  </a:cubicBezTo>
                  <a:cubicBezTo>
                    <a:pt x="199" y="114"/>
                    <a:pt x="210" y="103"/>
                    <a:pt x="210" y="92"/>
                  </a:cubicBezTo>
                  <a:cubicBezTo>
                    <a:pt x="224" y="78"/>
                    <a:pt x="235" y="67"/>
                    <a:pt x="235" y="44"/>
                  </a:cubicBezTo>
                  <a:lnTo>
                    <a:pt x="235" y="33"/>
                  </a:lnTo>
                  <a:cubicBezTo>
                    <a:pt x="235" y="22"/>
                    <a:pt x="224" y="22"/>
                    <a:pt x="224" y="22"/>
                  </a:cubicBezTo>
                  <a:cubicBezTo>
                    <a:pt x="209" y="7"/>
                    <a:pt x="195" y="1"/>
                    <a:pt x="18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" name="Google Shape;270;p17">
              <a:extLst>
                <a:ext uri="{FF2B5EF4-FFF2-40B4-BE49-F238E27FC236}">
                  <a16:creationId xmlns:a16="http://schemas.microsoft.com/office/drawing/2014/main" xmlns="" id="{27C8D06A-89B1-CEE3-4CBA-8C326EEE7CE9}"/>
                </a:ext>
              </a:extLst>
            </p:cNvPr>
            <p:cNvSpPr/>
            <p:nvPr/>
          </p:nvSpPr>
          <p:spPr>
            <a:xfrm>
              <a:off x="3227169" y="3407161"/>
              <a:ext cx="64785" cy="62250"/>
            </a:xfrm>
            <a:custGeom>
              <a:avLst/>
              <a:gdLst/>
              <a:ahLst/>
              <a:cxnLst/>
              <a:rect l="l" t="t" r="r" b="b"/>
              <a:pathLst>
                <a:path w="281" h="270" extrusionOk="0">
                  <a:moveTo>
                    <a:pt x="233" y="48"/>
                  </a:moveTo>
                  <a:lnTo>
                    <a:pt x="233" y="59"/>
                  </a:lnTo>
                  <a:cubicBezTo>
                    <a:pt x="233" y="71"/>
                    <a:pt x="233" y="82"/>
                    <a:pt x="222" y="93"/>
                  </a:cubicBezTo>
                  <a:lnTo>
                    <a:pt x="199" y="118"/>
                  </a:lnTo>
                  <a:cubicBezTo>
                    <a:pt x="177" y="152"/>
                    <a:pt x="152" y="188"/>
                    <a:pt x="118" y="199"/>
                  </a:cubicBezTo>
                  <a:cubicBezTo>
                    <a:pt x="107" y="210"/>
                    <a:pt x="82" y="222"/>
                    <a:pt x="60" y="222"/>
                  </a:cubicBezTo>
                  <a:cubicBezTo>
                    <a:pt x="56" y="222"/>
                    <a:pt x="52" y="222"/>
                    <a:pt x="49" y="221"/>
                  </a:cubicBezTo>
                  <a:lnTo>
                    <a:pt x="49" y="221"/>
                  </a:lnTo>
                  <a:cubicBezTo>
                    <a:pt x="51" y="219"/>
                    <a:pt x="60" y="209"/>
                    <a:pt x="60" y="199"/>
                  </a:cubicBezTo>
                  <a:cubicBezTo>
                    <a:pt x="71" y="177"/>
                    <a:pt x="71" y="163"/>
                    <a:pt x="71" y="152"/>
                  </a:cubicBezTo>
                  <a:cubicBezTo>
                    <a:pt x="82" y="129"/>
                    <a:pt x="107" y="107"/>
                    <a:pt x="129" y="82"/>
                  </a:cubicBezTo>
                  <a:cubicBezTo>
                    <a:pt x="141" y="71"/>
                    <a:pt x="163" y="59"/>
                    <a:pt x="188" y="48"/>
                  </a:cubicBezTo>
                  <a:close/>
                  <a:moveTo>
                    <a:pt x="163" y="1"/>
                  </a:moveTo>
                  <a:cubicBezTo>
                    <a:pt x="141" y="12"/>
                    <a:pt x="118" y="23"/>
                    <a:pt x="93" y="48"/>
                  </a:cubicBezTo>
                  <a:cubicBezTo>
                    <a:pt x="71" y="71"/>
                    <a:pt x="37" y="93"/>
                    <a:pt x="23" y="140"/>
                  </a:cubicBezTo>
                  <a:lnTo>
                    <a:pt x="23" y="188"/>
                  </a:lnTo>
                  <a:cubicBezTo>
                    <a:pt x="23" y="188"/>
                    <a:pt x="12" y="188"/>
                    <a:pt x="12" y="199"/>
                  </a:cubicBezTo>
                  <a:cubicBezTo>
                    <a:pt x="1" y="210"/>
                    <a:pt x="1" y="222"/>
                    <a:pt x="1" y="233"/>
                  </a:cubicBezTo>
                  <a:lnTo>
                    <a:pt x="1" y="247"/>
                  </a:lnTo>
                  <a:lnTo>
                    <a:pt x="12" y="258"/>
                  </a:lnTo>
                  <a:cubicBezTo>
                    <a:pt x="23" y="269"/>
                    <a:pt x="48" y="269"/>
                    <a:pt x="60" y="269"/>
                  </a:cubicBezTo>
                  <a:cubicBezTo>
                    <a:pt x="93" y="269"/>
                    <a:pt x="118" y="258"/>
                    <a:pt x="152" y="247"/>
                  </a:cubicBezTo>
                  <a:cubicBezTo>
                    <a:pt x="188" y="210"/>
                    <a:pt x="211" y="177"/>
                    <a:pt x="233" y="152"/>
                  </a:cubicBezTo>
                  <a:cubicBezTo>
                    <a:pt x="247" y="140"/>
                    <a:pt x="247" y="129"/>
                    <a:pt x="258" y="129"/>
                  </a:cubicBezTo>
                  <a:cubicBezTo>
                    <a:pt x="269" y="107"/>
                    <a:pt x="280" y="82"/>
                    <a:pt x="280" y="59"/>
                  </a:cubicBezTo>
                  <a:lnTo>
                    <a:pt x="280" y="37"/>
                  </a:lnTo>
                  <a:cubicBezTo>
                    <a:pt x="269" y="23"/>
                    <a:pt x="269" y="12"/>
                    <a:pt x="258" y="12"/>
                  </a:cubicBezTo>
                  <a:cubicBezTo>
                    <a:pt x="247" y="1"/>
                    <a:pt x="222" y="1"/>
                    <a:pt x="21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" name="Google Shape;271;p17">
              <a:extLst>
                <a:ext uri="{FF2B5EF4-FFF2-40B4-BE49-F238E27FC236}">
                  <a16:creationId xmlns:a16="http://schemas.microsoft.com/office/drawing/2014/main" xmlns="" id="{A616F4FA-4357-9C0A-4D81-B263DEF526E5}"/>
                </a:ext>
              </a:extLst>
            </p:cNvPr>
            <p:cNvSpPr/>
            <p:nvPr/>
          </p:nvSpPr>
          <p:spPr>
            <a:xfrm>
              <a:off x="3208494" y="3458805"/>
              <a:ext cx="16369" cy="14294"/>
            </a:xfrm>
            <a:custGeom>
              <a:avLst/>
              <a:gdLst/>
              <a:ahLst/>
              <a:cxnLst/>
              <a:rect l="l" t="t" r="r" b="b"/>
              <a:pathLst>
                <a:path w="71" h="62" extrusionOk="0">
                  <a:moveTo>
                    <a:pt x="43" y="0"/>
                  </a:moveTo>
                  <a:cubicBezTo>
                    <a:pt x="35" y="0"/>
                    <a:pt x="29" y="3"/>
                    <a:pt x="23" y="9"/>
                  </a:cubicBezTo>
                  <a:cubicBezTo>
                    <a:pt x="12" y="23"/>
                    <a:pt x="1" y="34"/>
                    <a:pt x="1" y="45"/>
                  </a:cubicBezTo>
                  <a:lnTo>
                    <a:pt x="1" y="56"/>
                  </a:lnTo>
                  <a:cubicBezTo>
                    <a:pt x="8" y="56"/>
                    <a:pt x="11" y="61"/>
                    <a:pt x="15" y="61"/>
                  </a:cubicBezTo>
                  <a:cubicBezTo>
                    <a:pt x="17" y="61"/>
                    <a:pt x="19" y="60"/>
                    <a:pt x="23" y="56"/>
                  </a:cubicBezTo>
                  <a:cubicBezTo>
                    <a:pt x="34" y="56"/>
                    <a:pt x="48" y="56"/>
                    <a:pt x="48" y="45"/>
                  </a:cubicBezTo>
                  <a:lnTo>
                    <a:pt x="59" y="34"/>
                  </a:lnTo>
                  <a:cubicBezTo>
                    <a:pt x="71" y="23"/>
                    <a:pt x="71" y="9"/>
                    <a:pt x="71" y="9"/>
                  </a:cubicBezTo>
                  <a:cubicBezTo>
                    <a:pt x="59" y="3"/>
                    <a:pt x="50" y="0"/>
                    <a:pt x="4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" name="Google Shape;272;p17">
              <a:extLst>
                <a:ext uri="{FF2B5EF4-FFF2-40B4-BE49-F238E27FC236}">
                  <a16:creationId xmlns:a16="http://schemas.microsoft.com/office/drawing/2014/main" xmlns="" id="{2C9FB23D-966C-A516-2A02-38B4919A04CC}"/>
                </a:ext>
              </a:extLst>
            </p:cNvPr>
            <p:cNvSpPr/>
            <p:nvPr/>
          </p:nvSpPr>
          <p:spPr>
            <a:xfrm>
              <a:off x="3203422" y="3453041"/>
              <a:ext cx="26513" cy="23978"/>
            </a:xfrm>
            <a:custGeom>
              <a:avLst/>
              <a:gdLst/>
              <a:ahLst/>
              <a:cxnLst/>
              <a:rect l="l" t="t" r="r" b="b"/>
              <a:pathLst>
                <a:path w="115" h="104" extrusionOk="0">
                  <a:moveTo>
                    <a:pt x="70" y="0"/>
                  </a:moveTo>
                  <a:cubicBezTo>
                    <a:pt x="56" y="0"/>
                    <a:pt x="45" y="11"/>
                    <a:pt x="23" y="11"/>
                  </a:cubicBezTo>
                  <a:cubicBezTo>
                    <a:pt x="12" y="23"/>
                    <a:pt x="0" y="48"/>
                    <a:pt x="0" y="70"/>
                  </a:cubicBezTo>
                  <a:lnTo>
                    <a:pt x="0" y="81"/>
                  </a:lnTo>
                  <a:lnTo>
                    <a:pt x="0" y="92"/>
                  </a:lnTo>
                  <a:lnTo>
                    <a:pt x="12" y="104"/>
                  </a:lnTo>
                  <a:lnTo>
                    <a:pt x="45" y="104"/>
                  </a:lnTo>
                  <a:cubicBezTo>
                    <a:pt x="56" y="104"/>
                    <a:pt x="70" y="104"/>
                    <a:pt x="81" y="92"/>
                  </a:cubicBezTo>
                  <a:cubicBezTo>
                    <a:pt x="81" y="92"/>
                    <a:pt x="81" y="81"/>
                    <a:pt x="93" y="81"/>
                  </a:cubicBezTo>
                  <a:cubicBezTo>
                    <a:pt x="93" y="81"/>
                    <a:pt x="93" y="70"/>
                    <a:pt x="104" y="70"/>
                  </a:cubicBezTo>
                  <a:cubicBezTo>
                    <a:pt x="104" y="59"/>
                    <a:pt x="115" y="59"/>
                    <a:pt x="115" y="34"/>
                  </a:cubicBezTo>
                  <a:lnTo>
                    <a:pt x="115" y="23"/>
                  </a:lnTo>
                  <a:lnTo>
                    <a:pt x="104" y="11"/>
                  </a:lnTo>
                  <a:lnTo>
                    <a:pt x="93" y="11"/>
                  </a:lnTo>
                  <a:cubicBezTo>
                    <a:pt x="93" y="11"/>
                    <a:pt x="81" y="0"/>
                    <a:pt x="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273;p17">
              <a:extLst>
                <a:ext uri="{FF2B5EF4-FFF2-40B4-BE49-F238E27FC236}">
                  <a16:creationId xmlns:a16="http://schemas.microsoft.com/office/drawing/2014/main" xmlns="" id="{E0A7B87D-B36B-4F7A-6A86-B953EEADF372}"/>
                </a:ext>
              </a:extLst>
            </p:cNvPr>
            <p:cNvSpPr/>
            <p:nvPr/>
          </p:nvSpPr>
          <p:spPr>
            <a:xfrm>
              <a:off x="3135640" y="3436902"/>
              <a:ext cx="56946" cy="48417"/>
            </a:xfrm>
            <a:custGeom>
              <a:avLst/>
              <a:gdLst/>
              <a:ahLst/>
              <a:cxnLst/>
              <a:rect l="l" t="t" r="r" b="b"/>
              <a:pathLst>
                <a:path w="247" h="210" extrusionOk="0">
                  <a:moveTo>
                    <a:pt x="48" y="0"/>
                  </a:moveTo>
                  <a:cubicBezTo>
                    <a:pt x="26" y="0"/>
                    <a:pt x="1" y="23"/>
                    <a:pt x="15" y="48"/>
                  </a:cubicBezTo>
                  <a:cubicBezTo>
                    <a:pt x="15" y="70"/>
                    <a:pt x="37" y="93"/>
                    <a:pt x="48" y="104"/>
                  </a:cubicBezTo>
                  <a:cubicBezTo>
                    <a:pt x="59" y="104"/>
                    <a:pt x="85" y="118"/>
                    <a:pt x="96" y="129"/>
                  </a:cubicBezTo>
                  <a:cubicBezTo>
                    <a:pt x="96" y="140"/>
                    <a:pt x="96" y="140"/>
                    <a:pt x="107" y="151"/>
                  </a:cubicBezTo>
                  <a:cubicBezTo>
                    <a:pt x="118" y="174"/>
                    <a:pt x="129" y="174"/>
                    <a:pt x="155" y="188"/>
                  </a:cubicBezTo>
                  <a:cubicBezTo>
                    <a:pt x="177" y="199"/>
                    <a:pt x="199" y="210"/>
                    <a:pt x="224" y="210"/>
                  </a:cubicBezTo>
                  <a:cubicBezTo>
                    <a:pt x="236" y="210"/>
                    <a:pt x="247" y="199"/>
                    <a:pt x="247" y="199"/>
                  </a:cubicBezTo>
                  <a:lnTo>
                    <a:pt x="247" y="174"/>
                  </a:lnTo>
                  <a:cubicBezTo>
                    <a:pt x="247" y="151"/>
                    <a:pt x="247" y="140"/>
                    <a:pt x="236" y="118"/>
                  </a:cubicBezTo>
                  <a:cubicBezTo>
                    <a:pt x="210" y="93"/>
                    <a:pt x="166" y="93"/>
                    <a:pt x="141" y="70"/>
                  </a:cubicBezTo>
                  <a:cubicBezTo>
                    <a:pt x="118" y="59"/>
                    <a:pt x="107" y="48"/>
                    <a:pt x="96" y="34"/>
                  </a:cubicBezTo>
                  <a:cubicBezTo>
                    <a:pt x="85" y="11"/>
                    <a:pt x="59" y="0"/>
                    <a:pt x="4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6" name="Google Shape;274;p17">
              <a:extLst>
                <a:ext uri="{FF2B5EF4-FFF2-40B4-BE49-F238E27FC236}">
                  <a16:creationId xmlns:a16="http://schemas.microsoft.com/office/drawing/2014/main" xmlns="" id="{60C091B7-9208-75D8-6C01-CF6CE7C89E2B}"/>
                </a:ext>
              </a:extLst>
            </p:cNvPr>
            <p:cNvSpPr/>
            <p:nvPr/>
          </p:nvSpPr>
          <p:spPr>
            <a:xfrm>
              <a:off x="3133104" y="3431600"/>
              <a:ext cx="64785" cy="59022"/>
            </a:xfrm>
            <a:custGeom>
              <a:avLst/>
              <a:gdLst/>
              <a:ahLst/>
              <a:cxnLst/>
              <a:rect l="l" t="t" r="r" b="b"/>
              <a:pathLst>
                <a:path w="281" h="256" extrusionOk="0">
                  <a:moveTo>
                    <a:pt x="70" y="46"/>
                  </a:moveTo>
                  <a:cubicBezTo>
                    <a:pt x="82" y="57"/>
                    <a:pt x="82" y="57"/>
                    <a:pt x="96" y="71"/>
                  </a:cubicBezTo>
                  <a:cubicBezTo>
                    <a:pt x="107" y="82"/>
                    <a:pt x="118" y="104"/>
                    <a:pt x="140" y="116"/>
                  </a:cubicBezTo>
                  <a:cubicBezTo>
                    <a:pt x="152" y="127"/>
                    <a:pt x="177" y="127"/>
                    <a:pt x="199" y="141"/>
                  </a:cubicBezTo>
                  <a:cubicBezTo>
                    <a:pt x="210" y="141"/>
                    <a:pt x="221" y="152"/>
                    <a:pt x="235" y="163"/>
                  </a:cubicBezTo>
                  <a:lnTo>
                    <a:pt x="235" y="197"/>
                  </a:lnTo>
                  <a:lnTo>
                    <a:pt x="235" y="211"/>
                  </a:lnTo>
                  <a:lnTo>
                    <a:pt x="221" y="211"/>
                  </a:lnTo>
                  <a:cubicBezTo>
                    <a:pt x="210" y="211"/>
                    <a:pt x="199" y="197"/>
                    <a:pt x="177" y="185"/>
                  </a:cubicBezTo>
                  <a:cubicBezTo>
                    <a:pt x="152" y="185"/>
                    <a:pt x="140" y="174"/>
                    <a:pt x="129" y="163"/>
                  </a:cubicBezTo>
                  <a:cubicBezTo>
                    <a:pt x="129" y="163"/>
                    <a:pt x="129" y="152"/>
                    <a:pt x="118" y="141"/>
                  </a:cubicBezTo>
                  <a:cubicBezTo>
                    <a:pt x="107" y="116"/>
                    <a:pt x="82" y="104"/>
                    <a:pt x="70" y="104"/>
                  </a:cubicBezTo>
                  <a:cubicBezTo>
                    <a:pt x="59" y="93"/>
                    <a:pt x="48" y="82"/>
                    <a:pt x="48" y="71"/>
                  </a:cubicBezTo>
                  <a:lnTo>
                    <a:pt x="48" y="46"/>
                  </a:lnTo>
                  <a:close/>
                  <a:moveTo>
                    <a:pt x="48" y="1"/>
                  </a:moveTo>
                  <a:cubicBezTo>
                    <a:pt x="37" y="1"/>
                    <a:pt x="26" y="12"/>
                    <a:pt x="12" y="23"/>
                  </a:cubicBezTo>
                  <a:cubicBezTo>
                    <a:pt x="1" y="34"/>
                    <a:pt x="1" y="46"/>
                    <a:pt x="1" y="71"/>
                  </a:cubicBezTo>
                  <a:lnTo>
                    <a:pt x="1" y="82"/>
                  </a:lnTo>
                  <a:cubicBezTo>
                    <a:pt x="1" y="104"/>
                    <a:pt x="26" y="127"/>
                    <a:pt x="48" y="141"/>
                  </a:cubicBezTo>
                  <a:cubicBezTo>
                    <a:pt x="70" y="152"/>
                    <a:pt x="82" y="163"/>
                    <a:pt x="82" y="163"/>
                  </a:cubicBezTo>
                  <a:cubicBezTo>
                    <a:pt x="82" y="163"/>
                    <a:pt x="82" y="174"/>
                    <a:pt x="96" y="185"/>
                  </a:cubicBezTo>
                  <a:cubicBezTo>
                    <a:pt x="107" y="211"/>
                    <a:pt x="140" y="222"/>
                    <a:pt x="152" y="233"/>
                  </a:cubicBezTo>
                  <a:cubicBezTo>
                    <a:pt x="177" y="244"/>
                    <a:pt x="199" y="255"/>
                    <a:pt x="221" y="255"/>
                  </a:cubicBezTo>
                  <a:lnTo>
                    <a:pt x="247" y="255"/>
                  </a:lnTo>
                  <a:cubicBezTo>
                    <a:pt x="247" y="255"/>
                    <a:pt x="258" y="255"/>
                    <a:pt x="258" y="244"/>
                  </a:cubicBezTo>
                  <a:cubicBezTo>
                    <a:pt x="269" y="244"/>
                    <a:pt x="269" y="244"/>
                    <a:pt x="280" y="233"/>
                  </a:cubicBezTo>
                  <a:lnTo>
                    <a:pt x="280" y="197"/>
                  </a:lnTo>
                  <a:cubicBezTo>
                    <a:pt x="280" y="174"/>
                    <a:pt x="280" y="152"/>
                    <a:pt x="269" y="127"/>
                  </a:cubicBezTo>
                  <a:cubicBezTo>
                    <a:pt x="247" y="104"/>
                    <a:pt x="235" y="104"/>
                    <a:pt x="210" y="93"/>
                  </a:cubicBezTo>
                  <a:cubicBezTo>
                    <a:pt x="188" y="82"/>
                    <a:pt x="177" y="82"/>
                    <a:pt x="166" y="71"/>
                  </a:cubicBezTo>
                  <a:cubicBezTo>
                    <a:pt x="152" y="71"/>
                    <a:pt x="140" y="57"/>
                    <a:pt x="129" y="34"/>
                  </a:cubicBezTo>
                  <a:cubicBezTo>
                    <a:pt x="118" y="34"/>
                    <a:pt x="107" y="23"/>
                    <a:pt x="96" y="12"/>
                  </a:cubicBezTo>
                  <a:cubicBezTo>
                    <a:pt x="96" y="12"/>
                    <a:pt x="70" y="1"/>
                    <a:pt x="5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7" name="Google Shape;275;p17">
              <a:extLst>
                <a:ext uri="{FF2B5EF4-FFF2-40B4-BE49-F238E27FC236}">
                  <a16:creationId xmlns:a16="http://schemas.microsoft.com/office/drawing/2014/main" xmlns="" id="{09E99172-D25E-7CE5-B488-2E92B23929CD}"/>
                </a:ext>
              </a:extLst>
            </p:cNvPr>
            <p:cNvSpPr/>
            <p:nvPr/>
          </p:nvSpPr>
          <p:spPr>
            <a:xfrm>
              <a:off x="2824396" y="3519902"/>
              <a:ext cx="13602" cy="16369"/>
            </a:xfrm>
            <a:custGeom>
              <a:avLst/>
              <a:gdLst/>
              <a:ahLst/>
              <a:cxnLst/>
              <a:rect l="l" t="t" r="r" b="b"/>
              <a:pathLst>
                <a:path w="59" h="71" extrusionOk="0">
                  <a:moveTo>
                    <a:pt x="0" y="1"/>
                  </a:moveTo>
                  <a:lnTo>
                    <a:pt x="0" y="23"/>
                  </a:lnTo>
                  <a:cubicBezTo>
                    <a:pt x="0" y="37"/>
                    <a:pt x="0" y="49"/>
                    <a:pt x="11" y="60"/>
                  </a:cubicBezTo>
                  <a:cubicBezTo>
                    <a:pt x="23" y="71"/>
                    <a:pt x="37" y="71"/>
                    <a:pt x="48" y="71"/>
                  </a:cubicBezTo>
                  <a:lnTo>
                    <a:pt x="59" y="60"/>
                  </a:lnTo>
                  <a:lnTo>
                    <a:pt x="59" y="49"/>
                  </a:lnTo>
                  <a:lnTo>
                    <a:pt x="59" y="23"/>
                  </a:lnTo>
                  <a:lnTo>
                    <a:pt x="48" y="12"/>
                  </a:lnTo>
                  <a:cubicBezTo>
                    <a:pt x="37" y="1"/>
                    <a:pt x="23" y="1"/>
                    <a:pt x="0" y="1"/>
                  </a:cubicBezTo>
                  <a:close/>
                </a:path>
              </a:pathLst>
            </a:custGeom>
            <a:solidFill>
              <a:srgbClr val="10B9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" name="Google Shape;276;p17">
              <a:extLst>
                <a:ext uri="{FF2B5EF4-FFF2-40B4-BE49-F238E27FC236}">
                  <a16:creationId xmlns:a16="http://schemas.microsoft.com/office/drawing/2014/main" xmlns="" id="{2ED21445-040B-058F-A2A1-2A53D7833A9E}"/>
                </a:ext>
              </a:extLst>
            </p:cNvPr>
            <p:cNvSpPr/>
            <p:nvPr/>
          </p:nvSpPr>
          <p:spPr>
            <a:xfrm>
              <a:off x="2819093" y="3514830"/>
              <a:ext cx="24208" cy="26744"/>
            </a:xfrm>
            <a:custGeom>
              <a:avLst/>
              <a:gdLst/>
              <a:ahLst/>
              <a:cxnLst/>
              <a:rect l="l" t="t" r="r" b="b"/>
              <a:pathLst>
                <a:path w="105" h="116" extrusionOk="0">
                  <a:moveTo>
                    <a:pt x="46" y="49"/>
                  </a:moveTo>
                  <a:lnTo>
                    <a:pt x="46" y="49"/>
                  </a:lnTo>
                  <a:cubicBezTo>
                    <a:pt x="50" y="51"/>
                    <a:pt x="55" y="54"/>
                    <a:pt x="60" y="59"/>
                  </a:cubicBezTo>
                  <a:lnTo>
                    <a:pt x="60" y="70"/>
                  </a:lnTo>
                  <a:lnTo>
                    <a:pt x="60" y="70"/>
                  </a:lnTo>
                  <a:cubicBezTo>
                    <a:pt x="52" y="69"/>
                    <a:pt x="46" y="67"/>
                    <a:pt x="46" y="59"/>
                  </a:cubicBezTo>
                  <a:lnTo>
                    <a:pt x="46" y="49"/>
                  </a:lnTo>
                  <a:close/>
                  <a:moveTo>
                    <a:pt x="12" y="1"/>
                  </a:moveTo>
                  <a:lnTo>
                    <a:pt x="12" y="12"/>
                  </a:lnTo>
                  <a:cubicBezTo>
                    <a:pt x="1" y="23"/>
                    <a:pt x="1" y="34"/>
                    <a:pt x="1" y="45"/>
                  </a:cubicBezTo>
                  <a:cubicBezTo>
                    <a:pt x="1" y="71"/>
                    <a:pt x="1" y="82"/>
                    <a:pt x="23" y="104"/>
                  </a:cubicBezTo>
                  <a:cubicBezTo>
                    <a:pt x="34" y="115"/>
                    <a:pt x="60" y="115"/>
                    <a:pt x="71" y="115"/>
                  </a:cubicBezTo>
                  <a:lnTo>
                    <a:pt x="82" y="104"/>
                  </a:lnTo>
                  <a:lnTo>
                    <a:pt x="93" y="104"/>
                  </a:lnTo>
                  <a:cubicBezTo>
                    <a:pt x="104" y="104"/>
                    <a:pt x="104" y="93"/>
                    <a:pt x="104" y="93"/>
                  </a:cubicBezTo>
                  <a:lnTo>
                    <a:pt x="104" y="71"/>
                  </a:lnTo>
                  <a:cubicBezTo>
                    <a:pt x="104" y="59"/>
                    <a:pt x="104" y="45"/>
                    <a:pt x="93" y="34"/>
                  </a:cubicBezTo>
                  <a:cubicBezTo>
                    <a:pt x="93" y="23"/>
                    <a:pt x="82" y="23"/>
                    <a:pt x="82" y="12"/>
                  </a:cubicBezTo>
                  <a:cubicBezTo>
                    <a:pt x="71" y="12"/>
                    <a:pt x="46" y="1"/>
                    <a:pt x="2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" name="Google Shape;277;p17">
              <a:extLst>
                <a:ext uri="{FF2B5EF4-FFF2-40B4-BE49-F238E27FC236}">
                  <a16:creationId xmlns:a16="http://schemas.microsoft.com/office/drawing/2014/main" xmlns="" id="{AB0D221E-9F88-FB54-4B81-0EB46880778D}"/>
                </a:ext>
              </a:extLst>
            </p:cNvPr>
            <p:cNvSpPr/>
            <p:nvPr/>
          </p:nvSpPr>
          <p:spPr>
            <a:xfrm>
              <a:off x="3291723" y="3659848"/>
              <a:ext cx="18905" cy="24208"/>
            </a:xfrm>
            <a:custGeom>
              <a:avLst/>
              <a:gdLst/>
              <a:ahLst/>
              <a:cxnLst/>
              <a:rect l="l" t="t" r="r" b="b"/>
              <a:pathLst>
                <a:path w="82" h="105" extrusionOk="0">
                  <a:moveTo>
                    <a:pt x="23" y="1"/>
                  </a:moveTo>
                  <a:cubicBezTo>
                    <a:pt x="12" y="1"/>
                    <a:pt x="12" y="12"/>
                    <a:pt x="12" y="23"/>
                  </a:cubicBezTo>
                  <a:cubicBezTo>
                    <a:pt x="0" y="23"/>
                    <a:pt x="0" y="34"/>
                    <a:pt x="12" y="46"/>
                  </a:cubicBezTo>
                  <a:cubicBezTo>
                    <a:pt x="12" y="46"/>
                    <a:pt x="12" y="59"/>
                    <a:pt x="23" y="59"/>
                  </a:cubicBezTo>
                  <a:cubicBezTo>
                    <a:pt x="37" y="82"/>
                    <a:pt x="48" y="93"/>
                    <a:pt x="59" y="104"/>
                  </a:cubicBezTo>
                  <a:lnTo>
                    <a:pt x="70" y="104"/>
                  </a:lnTo>
                  <a:cubicBezTo>
                    <a:pt x="70" y="104"/>
                    <a:pt x="82" y="104"/>
                    <a:pt x="82" y="93"/>
                  </a:cubicBezTo>
                  <a:lnTo>
                    <a:pt x="82" y="71"/>
                  </a:lnTo>
                  <a:cubicBezTo>
                    <a:pt x="82" y="46"/>
                    <a:pt x="70" y="46"/>
                    <a:pt x="70" y="34"/>
                  </a:cubicBezTo>
                  <a:cubicBezTo>
                    <a:pt x="59" y="23"/>
                    <a:pt x="59" y="23"/>
                    <a:pt x="59" y="12"/>
                  </a:cubicBezTo>
                  <a:cubicBezTo>
                    <a:pt x="48" y="12"/>
                    <a:pt x="37" y="1"/>
                    <a:pt x="2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" name="Google Shape;278;p17">
              <a:extLst>
                <a:ext uri="{FF2B5EF4-FFF2-40B4-BE49-F238E27FC236}">
                  <a16:creationId xmlns:a16="http://schemas.microsoft.com/office/drawing/2014/main" xmlns="" id="{44E853AD-10C6-2D6C-BC15-D412F35859B7}"/>
                </a:ext>
              </a:extLst>
            </p:cNvPr>
            <p:cNvSpPr/>
            <p:nvPr/>
          </p:nvSpPr>
          <p:spPr>
            <a:xfrm>
              <a:off x="3286651" y="3654084"/>
              <a:ext cx="29741" cy="35736"/>
            </a:xfrm>
            <a:custGeom>
              <a:avLst/>
              <a:gdLst/>
              <a:ahLst/>
              <a:cxnLst/>
              <a:rect l="l" t="t" r="r" b="b"/>
              <a:pathLst>
                <a:path w="129" h="155" extrusionOk="0">
                  <a:moveTo>
                    <a:pt x="55" y="51"/>
                  </a:moveTo>
                  <a:lnTo>
                    <a:pt x="55" y="51"/>
                  </a:lnTo>
                  <a:cubicBezTo>
                    <a:pt x="57" y="53"/>
                    <a:pt x="59" y="55"/>
                    <a:pt x="59" y="59"/>
                  </a:cubicBezTo>
                  <a:cubicBezTo>
                    <a:pt x="59" y="59"/>
                    <a:pt x="70" y="59"/>
                    <a:pt x="70" y="71"/>
                  </a:cubicBezTo>
                  <a:cubicBezTo>
                    <a:pt x="81" y="84"/>
                    <a:pt x="81" y="84"/>
                    <a:pt x="81" y="96"/>
                  </a:cubicBezTo>
                  <a:lnTo>
                    <a:pt x="81" y="96"/>
                  </a:lnTo>
                  <a:cubicBezTo>
                    <a:pt x="74" y="88"/>
                    <a:pt x="66" y="80"/>
                    <a:pt x="59" y="71"/>
                  </a:cubicBezTo>
                  <a:lnTo>
                    <a:pt x="45" y="59"/>
                  </a:lnTo>
                  <a:lnTo>
                    <a:pt x="55" y="51"/>
                  </a:lnTo>
                  <a:close/>
                  <a:moveTo>
                    <a:pt x="45" y="1"/>
                  </a:moveTo>
                  <a:cubicBezTo>
                    <a:pt x="34" y="1"/>
                    <a:pt x="22" y="15"/>
                    <a:pt x="22" y="15"/>
                  </a:cubicBezTo>
                  <a:cubicBezTo>
                    <a:pt x="11" y="26"/>
                    <a:pt x="11" y="26"/>
                    <a:pt x="11" y="37"/>
                  </a:cubicBezTo>
                  <a:cubicBezTo>
                    <a:pt x="11" y="37"/>
                    <a:pt x="0" y="48"/>
                    <a:pt x="0" y="59"/>
                  </a:cubicBezTo>
                  <a:cubicBezTo>
                    <a:pt x="0" y="59"/>
                    <a:pt x="0" y="71"/>
                    <a:pt x="11" y="71"/>
                  </a:cubicBezTo>
                  <a:cubicBezTo>
                    <a:pt x="11" y="96"/>
                    <a:pt x="22" y="96"/>
                    <a:pt x="22" y="107"/>
                  </a:cubicBezTo>
                  <a:cubicBezTo>
                    <a:pt x="34" y="118"/>
                    <a:pt x="45" y="129"/>
                    <a:pt x="70" y="140"/>
                  </a:cubicBezTo>
                  <a:lnTo>
                    <a:pt x="70" y="154"/>
                  </a:lnTo>
                  <a:lnTo>
                    <a:pt x="92" y="154"/>
                  </a:lnTo>
                  <a:cubicBezTo>
                    <a:pt x="104" y="154"/>
                    <a:pt x="115" y="140"/>
                    <a:pt x="115" y="140"/>
                  </a:cubicBezTo>
                  <a:cubicBezTo>
                    <a:pt x="115" y="140"/>
                    <a:pt x="115" y="129"/>
                    <a:pt x="129" y="129"/>
                  </a:cubicBezTo>
                  <a:lnTo>
                    <a:pt x="129" y="96"/>
                  </a:lnTo>
                  <a:lnTo>
                    <a:pt x="129" y="84"/>
                  </a:lnTo>
                  <a:cubicBezTo>
                    <a:pt x="129" y="71"/>
                    <a:pt x="115" y="48"/>
                    <a:pt x="104" y="37"/>
                  </a:cubicBezTo>
                  <a:cubicBezTo>
                    <a:pt x="104" y="37"/>
                    <a:pt x="92" y="37"/>
                    <a:pt x="92" y="26"/>
                  </a:cubicBezTo>
                  <a:lnTo>
                    <a:pt x="81" y="15"/>
                  </a:lnTo>
                  <a:cubicBezTo>
                    <a:pt x="70" y="1"/>
                    <a:pt x="70" y="1"/>
                    <a:pt x="4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" name="Google Shape;279;p17">
              <a:extLst>
                <a:ext uri="{FF2B5EF4-FFF2-40B4-BE49-F238E27FC236}">
                  <a16:creationId xmlns:a16="http://schemas.microsoft.com/office/drawing/2014/main" xmlns="" id="{736F5B9A-7066-EEB1-2534-18A6B8E43F96}"/>
                </a:ext>
              </a:extLst>
            </p:cNvPr>
            <p:cNvSpPr/>
            <p:nvPr/>
          </p:nvSpPr>
          <p:spPr>
            <a:xfrm>
              <a:off x="3369649" y="3538807"/>
              <a:ext cx="53718" cy="83230"/>
            </a:xfrm>
            <a:custGeom>
              <a:avLst/>
              <a:gdLst/>
              <a:ahLst/>
              <a:cxnLst/>
              <a:rect l="l" t="t" r="r" b="b"/>
              <a:pathLst>
                <a:path w="233" h="361" extrusionOk="0">
                  <a:moveTo>
                    <a:pt x="48" y="0"/>
                  </a:moveTo>
                  <a:cubicBezTo>
                    <a:pt x="23" y="0"/>
                    <a:pt x="12" y="0"/>
                    <a:pt x="12" y="25"/>
                  </a:cubicBezTo>
                  <a:cubicBezTo>
                    <a:pt x="1" y="36"/>
                    <a:pt x="12" y="48"/>
                    <a:pt x="23" y="59"/>
                  </a:cubicBezTo>
                  <a:cubicBezTo>
                    <a:pt x="23" y="70"/>
                    <a:pt x="34" y="70"/>
                    <a:pt x="48" y="70"/>
                  </a:cubicBezTo>
                  <a:cubicBezTo>
                    <a:pt x="60" y="81"/>
                    <a:pt x="82" y="106"/>
                    <a:pt x="82" y="118"/>
                  </a:cubicBezTo>
                  <a:cubicBezTo>
                    <a:pt x="93" y="140"/>
                    <a:pt x="82" y="165"/>
                    <a:pt x="60" y="176"/>
                  </a:cubicBezTo>
                  <a:cubicBezTo>
                    <a:pt x="48" y="176"/>
                    <a:pt x="48" y="176"/>
                    <a:pt x="34" y="187"/>
                  </a:cubicBezTo>
                  <a:cubicBezTo>
                    <a:pt x="23" y="187"/>
                    <a:pt x="23" y="199"/>
                    <a:pt x="23" y="210"/>
                  </a:cubicBezTo>
                  <a:lnTo>
                    <a:pt x="23" y="235"/>
                  </a:lnTo>
                  <a:lnTo>
                    <a:pt x="104" y="235"/>
                  </a:lnTo>
                  <a:lnTo>
                    <a:pt x="104" y="257"/>
                  </a:lnTo>
                  <a:cubicBezTo>
                    <a:pt x="93" y="269"/>
                    <a:pt x="71" y="269"/>
                    <a:pt x="48" y="269"/>
                  </a:cubicBezTo>
                  <a:cubicBezTo>
                    <a:pt x="34" y="269"/>
                    <a:pt x="12" y="269"/>
                    <a:pt x="12" y="280"/>
                  </a:cubicBezTo>
                  <a:cubicBezTo>
                    <a:pt x="1" y="291"/>
                    <a:pt x="1" y="305"/>
                    <a:pt x="12" y="305"/>
                  </a:cubicBezTo>
                  <a:cubicBezTo>
                    <a:pt x="12" y="316"/>
                    <a:pt x="12" y="327"/>
                    <a:pt x="23" y="327"/>
                  </a:cubicBezTo>
                  <a:cubicBezTo>
                    <a:pt x="60" y="350"/>
                    <a:pt x="93" y="361"/>
                    <a:pt x="129" y="361"/>
                  </a:cubicBezTo>
                  <a:cubicBezTo>
                    <a:pt x="163" y="361"/>
                    <a:pt x="188" y="350"/>
                    <a:pt x="211" y="338"/>
                  </a:cubicBezTo>
                  <a:cubicBezTo>
                    <a:pt x="211" y="327"/>
                    <a:pt x="222" y="316"/>
                    <a:pt x="222" y="305"/>
                  </a:cubicBezTo>
                  <a:cubicBezTo>
                    <a:pt x="233" y="280"/>
                    <a:pt x="233" y="257"/>
                    <a:pt x="233" y="235"/>
                  </a:cubicBezTo>
                  <a:lnTo>
                    <a:pt x="233" y="187"/>
                  </a:lnTo>
                  <a:cubicBezTo>
                    <a:pt x="222" y="165"/>
                    <a:pt x="211" y="151"/>
                    <a:pt x="199" y="140"/>
                  </a:cubicBezTo>
                  <a:cubicBezTo>
                    <a:pt x="174" y="129"/>
                    <a:pt x="163" y="106"/>
                    <a:pt x="152" y="81"/>
                  </a:cubicBezTo>
                  <a:cubicBezTo>
                    <a:pt x="152" y="70"/>
                    <a:pt x="152" y="59"/>
                    <a:pt x="141" y="48"/>
                  </a:cubicBezTo>
                  <a:cubicBezTo>
                    <a:pt x="129" y="36"/>
                    <a:pt x="118" y="36"/>
                    <a:pt x="104" y="25"/>
                  </a:cubicBezTo>
                  <a:cubicBezTo>
                    <a:pt x="93" y="25"/>
                    <a:pt x="93" y="11"/>
                    <a:pt x="82" y="11"/>
                  </a:cubicBezTo>
                  <a:cubicBezTo>
                    <a:pt x="71" y="0"/>
                    <a:pt x="60" y="0"/>
                    <a:pt x="4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280;p17">
              <a:extLst>
                <a:ext uri="{FF2B5EF4-FFF2-40B4-BE49-F238E27FC236}">
                  <a16:creationId xmlns:a16="http://schemas.microsoft.com/office/drawing/2014/main" xmlns="" id="{0FDA4C61-B33F-693F-BB3D-0B1E48B5F5C7}"/>
                </a:ext>
              </a:extLst>
            </p:cNvPr>
            <p:cNvSpPr/>
            <p:nvPr/>
          </p:nvSpPr>
          <p:spPr>
            <a:xfrm>
              <a:off x="3364577" y="3533504"/>
              <a:ext cx="64785" cy="94297"/>
            </a:xfrm>
            <a:custGeom>
              <a:avLst/>
              <a:gdLst/>
              <a:ahLst/>
              <a:cxnLst/>
              <a:rect l="l" t="t" r="r" b="b"/>
              <a:pathLst>
                <a:path w="281" h="409" extrusionOk="0">
                  <a:moveTo>
                    <a:pt x="70" y="48"/>
                  </a:moveTo>
                  <a:cubicBezTo>
                    <a:pt x="70" y="48"/>
                    <a:pt x="82" y="48"/>
                    <a:pt x="93" y="59"/>
                  </a:cubicBezTo>
                  <a:cubicBezTo>
                    <a:pt x="104" y="59"/>
                    <a:pt x="104" y="59"/>
                    <a:pt x="115" y="71"/>
                  </a:cubicBezTo>
                  <a:cubicBezTo>
                    <a:pt x="126" y="71"/>
                    <a:pt x="140" y="82"/>
                    <a:pt x="140" y="93"/>
                  </a:cubicBezTo>
                  <a:cubicBezTo>
                    <a:pt x="151" y="93"/>
                    <a:pt x="151" y="104"/>
                    <a:pt x="151" y="118"/>
                  </a:cubicBezTo>
                  <a:cubicBezTo>
                    <a:pt x="163" y="141"/>
                    <a:pt x="185" y="163"/>
                    <a:pt x="196" y="188"/>
                  </a:cubicBezTo>
                  <a:cubicBezTo>
                    <a:pt x="210" y="199"/>
                    <a:pt x="221" y="210"/>
                    <a:pt x="233" y="222"/>
                  </a:cubicBezTo>
                  <a:lnTo>
                    <a:pt x="233" y="244"/>
                  </a:lnTo>
                  <a:lnTo>
                    <a:pt x="233" y="258"/>
                  </a:lnTo>
                  <a:cubicBezTo>
                    <a:pt x="233" y="280"/>
                    <a:pt x="233" y="292"/>
                    <a:pt x="221" y="314"/>
                  </a:cubicBezTo>
                  <a:cubicBezTo>
                    <a:pt x="221" y="328"/>
                    <a:pt x="221" y="339"/>
                    <a:pt x="210" y="339"/>
                  </a:cubicBezTo>
                  <a:cubicBezTo>
                    <a:pt x="210" y="350"/>
                    <a:pt x="196" y="350"/>
                    <a:pt x="185" y="350"/>
                  </a:cubicBezTo>
                  <a:cubicBezTo>
                    <a:pt x="174" y="361"/>
                    <a:pt x="163" y="361"/>
                    <a:pt x="151" y="361"/>
                  </a:cubicBezTo>
                  <a:cubicBezTo>
                    <a:pt x="115" y="361"/>
                    <a:pt x="82" y="350"/>
                    <a:pt x="56" y="328"/>
                  </a:cubicBezTo>
                  <a:lnTo>
                    <a:pt x="45" y="328"/>
                  </a:lnTo>
                  <a:lnTo>
                    <a:pt x="45" y="314"/>
                  </a:lnTo>
                  <a:lnTo>
                    <a:pt x="70" y="314"/>
                  </a:lnTo>
                  <a:cubicBezTo>
                    <a:pt x="93" y="314"/>
                    <a:pt x="115" y="314"/>
                    <a:pt x="140" y="303"/>
                  </a:cubicBezTo>
                  <a:lnTo>
                    <a:pt x="151" y="303"/>
                  </a:lnTo>
                  <a:lnTo>
                    <a:pt x="151" y="280"/>
                  </a:lnTo>
                  <a:lnTo>
                    <a:pt x="151" y="258"/>
                  </a:lnTo>
                  <a:lnTo>
                    <a:pt x="151" y="233"/>
                  </a:lnTo>
                  <a:lnTo>
                    <a:pt x="70" y="233"/>
                  </a:lnTo>
                  <a:lnTo>
                    <a:pt x="70" y="222"/>
                  </a:lnTo>
                  <a:lnTo>
                    <a:pt x="93" y="222"/>
                  </a:lnTo>
                  <a:cubicBezTo>
                    <a:pt x="104" y="210"/>
                    <a:pt x="115" y="210"/>
                    <a:pt x="115" y="199"/>
                  </a:cubicBezTo>
                  <a:cubicBezTo>
                    <a:pt x="126" y="188"/>
                    <a:pt x="126" y="174"/>
                    <a:pt x="126" y="152"/>
                  </a:cubicBezTo>
                  <a:lnTo>
                    <a:pt x="126" y="141"/>
                  </a:lnTo>
                  <a:cubicBezTo>
                    <a:pt x="115" y="104"/>
                    <a:pt x="104" y="93"/>
                    <a:pt x="82" y="82"/>
                  </a:cubicBezTo>
                  <a:cubicBezTo>
                    <a:pt x="70" y="71"/>
                    <a:pt x="56" y="71"/>
                    <a:pt x="56" y="71"/>
                  </a:cubicBezTo>
                  <a:lnTo>
                    <a:pt x="56" y="59"/>
                  </a:lnTo>
                  <a:lnTo>
                    <a:pt x="56" y="48"/>
                  </a:lnTo>
                  <a:close/>
                  <a:moveTo>
                    <a:pt x="70" y="1"/>
                  </a:moveTo>
                  <a:cubicBezTo>
                    <a:pt x="45" y="1"/>
                    <a:pt x="23" y="12"/>
                    <a:pt x="12" y="34"/>
                  </a:cubicBezTo>
                  <a:lnTo>
                    <a:pt x="12" y="59"/>
                  </a:lnTo>
                  <a:cubicBezTo>
                    <a:pt x="12" y="71"/>
                    <a:pt x="12" y="82"/>
                    <a:pt x="23" y="93"/>
                  </a:cubicBezTo>
                  <a:cubicBezTo>
                    <a:pt x="34" y="104"/>
                    <a:pt x="45" y="118"/>
                    <a:pt x="56" y="118"/>
                  </a:cubicBezTo>
                  <a:cubicBezTo>
                    <a:pt x="70" y="129"/>
                    <a:pt x="82" y="141"/>
                    <a:pt x="82" y="152"/>
                  </a:cubicBezTo>
                  <a:lnTo>
                    <a:pt x="82" y="174"/>
                  </a:lnTo>
                  <a:lnTo>
                    <a:pt x="70" y="174"/>
                  </a:lnTo>
                  <a:cubicBezTo>
                    <a:pt x="70" y="174"/>
                    <a:pt x="56" y="174"/>
                    <a:pt x="56" y="188"/>
                  </a:cubicBezTo>
                  <a:cubicBezTo>
                    <a:pt x="34" y="199"/>
                    <a:pt x="23" y="210"/>
                    <a:pt x="23" y="233"/>
                  </a:cubicBezTo>
                  <a:cubicBezTo>
                    <a:pt x="23" y="244"/>
                    <a:pt x="23" y="258"/>
                    <a:pt x="34" y="269"/>
                  </a:cubicBezTo>
                  <a:cubicBezTo>
                    <a:pt x="35" y="270"/>
                    <a:pt x="36" y="271"/>
                    <a:pt x="36" y="271"/>
                  </a:cubicBezTo>
                  <a:lnTo>
                    <a:pt x="36" y="271"/>
                  </a:lnTo>
                  <a:cubicBezTo>
                    <a:pt x="28" y="275"/>
                    <a:pt x="20" y="283"/>
                    <a:pt x="12" y="292"/>
                  </a:cubicBezTo>
                  <a:cubicBezTo>
                    <a:pt x="0" y="303"/>
                    <a:pt x="0" y="314"/>
                    <a:pt x="0" y="314"/>
                  </a:cubicBezTo>
                  <a:cubicBezTo>
                    <a:pt x="0" y="328"/>
                    <a:pt x="0" y="339"/>
                    <a:pt x="12" y="339"/>
                  </a:cubicBezTo>
                  <a:cubicBezTo>
                    <a:pt x="12" y="350"/>
                    <a:pt x="23" y="361"/>
                    <a:pt x="34" y="373"/>
                  </a:cubicBezTo>
                  <a:cubicBezTo>
                    <a:pt x="70" y="398"/>
                    <a:pt x="115" y="409"/>
                    <a:pt x="151" y="409"/>
                  </a:cubicBezTo>
                  <a:cubicBezTo>
                    <a:pt x="174" y="409"/>
                    <a:pt x="185" y="409"/>
                    <a:pt x="196" y="398"/>
                  </a:cubicBezTo>
                  <a:cubicBezTo>
                    <a:pt x="221" y="398"/>
                    <a:pt x="233" y="384"/>
                    <a:pt x="244" y="373"/>
                  </a:cubicBezTo>
                  <a:cubicBezTo>
                    <a:pt x="255" y="361"/>
                    <a:pt x="266" y="339"/>
                    <a:pt x="266" y="328"/>
                  </a:cubicBezTo>
                  <a:cubicBezTo>
                    <a:pt x="280" y="303"/>
                    <a:pt x="280" y="280"/>
                    <a:pt x="280" y="269"/>
                  </a:cubicBezTo>
                  <a:lnTo>
                    <a:pt x="280" y="244"/>
                  </a:lnTo>
                  <a:cubicBezTo>
                    <a:pt x="280" y="222"/>
                    <a:pt x="280" y="210"/>
                    <a:pt x="266" y="199"/>
                  </a:cubicBezTo>
                  <a:cubicBezTo>
                    <a:pt x="255" y="174"/>
                    <a:pt x="244" y="163"/>
                    <a:pt x="233" y="152"/>
                  </a:cubicBezTo>
                  <a:cubicBezTo>
                    <a:pt x="221" y="141"/>
                    <a:pt x="210" y="118"/>
                    <a:pt x="196" y="104"/>
                  </a:cubicBezTo>
                  <a:cubicBezTo>
                    <a:pt x="196" y="93"/>
                    <a:pt x="196" y="71"/>
                    <a:pt x="185" y="59"/>
                  </a:cubicBezTo>
                  <a:cubicBezTo>
                    <a:pt x="174" y="48"/>
                    <a:pt x="151" y="34"/>
                    <a:pt x="140" y="23"/>
                  </a:cubicBezTo>
                  <a:cubicBezTo>
                    <a:pt x="126" y="23"/>
                    <a:pt x="126" y="12"/>
                    <a:pt x="115" y="12"/>
                  </a:cubicBezTo>
                  <a:cubicBezTo>
                    <a:pt x="104" y="12"/>
                    <a:pt x="93" y="1"/>
                    <a:pt x="7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281;p17">
              <a:extLst>
                <a:ext uri="{FF2B5EF4-FFF2-40B4-BE49-F238E27FC236}">
                  <a16:creationId xmlns:a16="http://schemas.microsoft.com/office/drawing/2014/main" xmlns="" id="{5262F40C-D7FA-4B1E-F83E-5A364F20D2BB}"/>
                </a:ext>
              </a:extLst>
            </p:cNvPr>
            <p:cNvSpPr/>
            <p:nvPr/>
          </p:nvSpPr>
          <p:spPr>
            <a:xfrm>
              <a:off x="3353511" y="3554715"/>
              <a:ext cx="13833" cy="19136"/>
            </a:xfrm>
            <a:custGeom>
              <a:avLst/>
              <a:gdLst/>
              <a:ahLst/>
              <a:cxnLst/>
              <a:rect l="l" t="t" r="r" b="b"/>
              <a:pathLst>
                <a:path w="60" h="83" extrusionOk="0">
                  <a:moveTo>
                    <a:pt x="12" y="1"/>
                  </a:moveTo>
                  <a:cubicBezTo>
                    <a:pt x="1" y="26"/>
                    <a:pt x="1" y="49"/>
                    <a:pt x="1" y="60"/>
                  </a:cubicBezTo>
                  <a:lnTo>
                    <a:pt x="12" y="71"/>
                  </a:lnTo>
                  <a:cubicBezTo>
                    <a:pt x="12" y="82"/>
                    <a:pt x="23" y="82"/>
                    <a:pt x="34" y="82"/>
                  </a:cubicBezTo>
                  <a:lnTo>
                    <a:pt x="60" y="82"/>
                  </a:lnTo>
                  <a:lnTo>
                    <a:pt x="60" y="71"/>
                  </a:lnTo>
                  <a:cubicBezTo>
                    <a:pt x="60" y="60"/>
                    <a:pt x="60" y="37"/>
                    <a:pt x="48" y="26"/>
                  </a:cubicBezTo>
                  <a:cubicBezTo>
                    <a:pt x="48" y="12"/>
                    <a:pt x="34" y="12"/>
                    <a:pt x="3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82;p17">
              <a:extLst>
                <a:ext uri="{FF2B5EF4-FFF2-40B4-BE49-F238E27FC236}">
                  <a16:creationId xmlns:a16="http://schemas.microsoft.com/office/drawing/2014/main" xmlns="" id="{6E75A47F-AD01-AE21-FD24-1D4436CFE3AF}"/>
                </a:ext>
              </a:extLst>
            </p:cNvPr>
            <p:cNvSpPr/>
            <p:nvPr/>
          </p:nvSpPr>
          <p:spPr>
            <a:xfrm>
              <a:off x="3348439" y="3549643"/>
              <a:ext cx="23977" cy="29972"/>
            </a:xfrm>
            <a:custGeom>
              <a:avLst/>
              <a:gdLst/>
              <a:ahLst/>
              <a:cxnLst/>
              <a:rect l="l" t="t" r="r" b="b"/>
              <a:pathLst>
                <a:path w="104" h="130" extrusionOk="0">
                  <a:moveTo>
                    <a:pt x="45" y="59"/>
                  </a:moveTo>
                  <a:cubicBezTo>
                    <a:pt x="56" y="59"/>
                    <a:pt x="56" y="71"/>
                    <a:pt x="56" y="82"/>
                  </a:cubicBezTo>
                  <a:lnTo>
                    <a:pt x="45" y="71"/>
                  </a:lnTo>
                  <a:lnTo>
                    <a:pt x="45" y="59"/>
                  </a:lnTo>
                  <a:close/>
                  <a:moveTo>
                    <a:pt x="23" y="1"/>
                  </a:moveTo>
                  <a:lnTo>
                    <a:pt x="12" y="12"/>
                  </a:lnTo>
                  <a:cubicBezTo>
                    <a:pt x="1" y="23"/>
                    <a:pt x="1" y="48"/>
                    <a:pt x="1" y="59"/>
                  </a:cubicBezTo>
                  <a:cubicBezTo>
                    <a:pt x="1" y="71"/>
                    <a:pt x="1" y="82"/>
                    <a:pt x="12" y="93"/>
                  </a:cubicBezTo>
                  <a:lnTo>
                    <a:pt x="12" y="104"/>
                  </a:lnTo>
                  <a:cubicBezTo>
                    <a:pt x="23" y="118"/>
                    <a:pt x="34" y="129"/>
                    <a:pt x="45" y="129"/>
                  </a:cubicBezTo>
                  <a:lnTo>
                    <a:pt x="82" y="129"/>
                  </a:lnTo>
                  <a:cubicBezTo>
                    <a:pt x="93" y="129"/>
                    <a:pt x="93" y="118"/>
                    <a:pt x="93" y="104"/>
                  </a:cubicBezTo>
                  <a:lnTo>
                    <a:pt x="104" y="93"/>
                  </a:lnTo>
                  <a:lnTo>
                    <a:pt x="104" y="82"/>
                  </a:lnTo>
                  <a:cubicBezTo>
                    <a:pt x="104" y="71"/>
                    <a:pt x="104" y="59"/>
                    <a:pt x="93" y="34"/>
                  </a:cubicBezTo>
                  <a:cubicBezTo>
                    <a:pt x="93" y="23"/>
                    <a:pt x="82" y="12"/>
                    <a:pt x="7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283;p17">
              <a:extLst>
                <a:ext uri="{FF2B5EF4-FFF2-40B4-BE49-F238E27FC236}">
                  <a16:creationId xmlns:a16="http://schemas.microsoft.com/office/drawing/2014/main" xmlns="" id="{1DDC4D5E-CA67-5938-A4B7-A3E5AF2F452F}"/>
                </a:ext>
              </a:extLst>
            </p:cNvPr>
            <p:cNvSpPr/>
            <p:nvPr/>
          </p:nvSpPr>
          <p:spPr>
            <a:xfrm>
              <a:off x="3522505" y="3579154"/>
              <a:ext cx="64785" cy="37811"/>
            </a:xfrm>
            <a:custGeom>
              <a:avLst/>
              <a:gdLst/>
              <a:ahLst/>
              <a:cxnLst/>
              <a:rect l="l" t="t" r="r" b="b"/>
              <a:pathLst>
                <a:path w="281" h="164" extrusionOk="0">
                  <a:moveTo>
                    <a:pt x="110" y="0"/>
                  </a:moveTo>
                  <a:cubicBezTo>
                    <a:pt x="98" y="0"/>
                    <a:pt x="84" y="4"/>
                    <a:pt x="70" y="12"/>
                  </a:cubicBezTo>
                  <a:cubicBezTo>
                    <a:pt x="59" y="24"/>
                    <a:pt x="48" y="35"/>
                    <a:pt x="26" y="60"/>
                  </a:cubicBezTo>
                  <a:lnTo>
                    <a:pt x="14" y="71"/>
                  </a:lnTo>
                  <a:cubicBezTo>
                    <a:pt x="0" y="82"/>
                    <a:pt x="0" y="105"/>
                    <a:pt x="14" y="116"/>
                  </a:cubicBezTo>
                  <a:cubicBezTo>
                    <a:pt x="26" y="130"/>
                    <a:pt x="26" y="130"/>
                    <a:pt x="37" y="141"/>
                  </a:cubicBezTo>
                  <a:cubicBezTo>
                    <a:pt x="59" y="152"/>
                    <a:pt x="96" y="163"/>
                    <a:pt x="118" y="163"/>
                  </a:cubicBezTo>
                  <a:lnTo>
                    <a:pt x="129" y="163"/>
                  </a:lnTo>
                  <a:cubicBezTo>
                    <a:pt x="140" y="163"/>
                    <a:pt x="140" y="152"/>
                    <a:pt x="140" y="152"/>
                  </a:cubicBezTo>
                  <a:lnTo>
                    <a:pt x="224" y="152"/>
                  </a:lnTo>
                  <a:cubicBezTo>
                    <a:pt x="235" y="152"/>
                    <a:pt x="258" y="152"/>
                    <a:pt x="269" y="141"/>
                  </a:cubicBezTo>
                  <a:cubicBezTo>
                    <a:pt x="280" y="130"/>
                    <a:pt x="280" y="116"/>
                    <a:pt x="269" y="94"/>
                  </a:cubicBezTo>
                  <a:cubicBezTo>
                    <a:pt x="269" y="94"/>
                    <a:pt x="258" y="82"/>
                    <a:pt x="247" y="82"/>
                  </a:cubicBezTo>
                  <a:cubicBezTo>
                    <a:pt x="224" y="71"/>
                    <a:pt x="188" y="60"/>
                    <a:pt x="177" y="35"/>
                  </a:cubicBezTo>
                  <a:cubicBezTo>
                    <a:pt x="165" y="35"/>
                    <a:pt x="165" y="24"/>
                    <a:pt x="154" y="24"/>
                  </a:cubicBezTo>
                  <a:cubicBezTo>
                    <a:pt x="146" y="10"/>
                    <a:pt x="130" y="0"/>
                    <a:pt x="11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84;p17">
              <a:extLst>
                <a:ext uri="{FF2B5EF4-FFF2-40B4-BE49-F238E27FC236}">
                  <a16:creationId xmlns:a16="http://schemas.microsoft.com/office/drawing/2014/main" xmlns="" id="{9DE199F0-7FA7-E936-31E5-B1F2228EBE95}"/>
                </a:ext>
              </a:extLst>
            </p:cNvPr>
            <p:cNvSpPr/>
            <p:nvPr/>
          </p:nvSpPr>
          <p:spPr>
            <a:xfrm>
              <a:off x="3519969" y="3573621"/>
              <a:ext cx="73084" cy="48417"/>
            </a:xfrm>
            <a:custGeom>
              <a:avLst/>
              <a:gdLst/>
              <a:ahLst/>
              <a:cxnLst/>
              <a:rect l="l" t="t" r="r" b="b"/>
              <a:pathLst>
                <a:path w="317" h="210" extrusionOk="0">
                  <a:moveTo>
                    <a:pt x="118" y="48"/>
                  </a:moveTo>
                  <a:cubicBezTo>
                    <a:pt x="129" y="48"/>
                    <a:pt x="140" y="48"/>
                    <a:pt x="151" y="59"/>
                  </a:cubicBezTo>
                  <a:lnTo>
                    <a:pt x="165" y="70"/>
                  </a:lnTo>
                  <a:cubicBezTo>
                    <a:pt x="176" y="95"/>
                    <a:pt x="199" y="95"/>
                    <a:pt x="210" y="106"/>
                  </a:cubicBezTo>
                  <a:cubicBezTo>
                    <a:pt x="221" y="118"/>
                    <a:pt x="235" y="118"/>
                    <a:pt x="246" y="118"/>
                  </a:cubicBezTo>
                  <a:lnTo>
                    <a:pt x="258" y="129"/>
                  </a:lnTo>
                  <a:lnTo>
                    <a:pt x="269" y="140"/>
                  </a:lnTo>
                  <a:lnTo>
                    <a:pt x="258" y="154"/>
                  </a:lnTo>
                  <a:lnTo>
                    <a:pt x="140" y="154"/>
                  </a:lnTo>
                  <a:lnTo>
                    <a:pt x="140" y="165"/>
                  </a:lnTo>
                  <a:lnTo>
                    <a:pt x="129" y="165"/>
                  </a:lnTo>
                  <a:cubicBezTo>
                    <a:pt x="107" y="165"/>
                    <a:pt x="81" y="165"/>
                    <a:pt x="59" y="140"/>
                  </a:cubicBezTo>
                  <a:lnTo>
                    <a:pt x="48" y="129"/>
                  </a:lnTo>
                  <a:lnTo>
                    <a:pt x="48" y="118"/>
                  </a:lnTo>
                  <a:lnTo>
                    <a:pt x="48" y="106"/>
                  </a:lnTo>
                  <a:lnTo>
                    <a:pt x="59" y="95"/>
                  </a:lnTo>
                  <a:cubicBezTo>
                    <a:pt x="70" y="84"/>
                    <a:pt x="81" y="70"/>
                    <a:pt x="107" y="48"/>
                  </a:cubicBezTo>
                  <a:close/>
                  <a:moveTo>
                    <a:pt x="118" y="0"/>
                  </a:moveTo>
                  <a:cubicBezTo>
                    <a:pt x="107" y="0"/>
                    <a:pt x="81" y="0"/>
                    <a:pt x="70" y="14"/>
                  </a:cubicBezTo>
                  <a:cubicBezTo>
                    <a:pt x="59" y="36"/>
                    <a:pt x="37" y="48"/>
                    <a:pt x="25" y="59"/>
                  </a:cubicBezTo>
                  <a:cubicBezTo>
                    <a:pt x="25" y="70"/>
                    <a:pt x="11" y="70"/>
                    <a:pt x="0" y="84"/>
                  </a:cubicBezTo>
                  <a:lnTo>
                    <a:pt x="0" y="118"/>
                  </a:lnTo>
                  <a:lnTo>
                    <a:pt x="0" y="154"/>
                  </a:lnTo>
                  <a:cubicBezTo>
                    <a:pt x="11" y="165"/>
                    <a:pt x="25" y="176"/>
                    <a:pt x="37" y="187"/>
                  </a:cubicBezTo>
                  <a:cubicBezTo>
                    <a:pt x="59" y="199"/>
                    <a:pt x="95" y="210"/>
                    <a:pt x="129" y="210"/>
                  </a:cubicBezTo>
                  <a:lnTo>
                    <a:pt x="151" y="210"/>
                  </a:lnTo>
                  <a:cubicBezTo>
                    <a:pt x="165" y="199"/>
                    <a:pt x="165" y="199"/>
                    <a:pt x="176" y="199"/>
                  </a:cubicBezTo>
                  <a:lnTo>
                    <a:pt x="235" y="199"/>
                  </a:lnTo>
                  <a:cubicBezTo>
                    <a:pt x="258" y="199"/>
                    <a:pt x="280" y="199"/>
                    <a:pt x="291" y="176"/>
                  </a:cubicBezTo>
                  <a:cubicBezTo>
                    <a:pt x="305" y="165"/>
                    <a:pt x="316" y="154"/>
                    <a:pt x="316" y="140"/>
                  </a:cubicBezTo>
                  <a:cubicBezTo>
                    <a:pt x="316" y="129"/>
                    <a:pt x="305" y="118"/>
                    <a:pt x="305" y="106"/>
                  </a:cubicBezTo>
                  <a:cubicBezTo>
                    <a:pt x="291" y="95"/>
                    <a:pt x="280" y="84"/>
                    <a:pt x="269" y="84"/>
                  </a:cubicBezTo>
                  <a:cubicBezTo>
                    <a:pt x="258" y="70"/>
                    <a:pt x="246" y="70"/>
                    <a:pt x="235" y="59"/>
                  </a:cubicBezTo>
                  <a:cubicBezTo>
                    <a:pt x="221" y="59"/>
                    <a:pt x="210" y="48"/>
                    <a:pt x="199" y="48"/>
                  </a:cubicBezTo>
                  <a:cubicBezTo>
                    <a:pt x="199" y="36"/>
                    <a:pt x="188" y="36"/>
                    <a:pt x="188" y="25"/>
                  </a:cubicBezTo>
                  <a:cubicBezTo>
                    <a:pt x="165" y="14"/>
                    <a:pt x="151" y="0"/>
                    <a:pt x="11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85;p17">
              <a:extLst>
                <a:ext uri="{FF2B5EF4-FFF2-40B4-BE49-F238E27FC236}">
                  <a16:creationId xmlns:a16="http://schemas.microsoft.com/office/drawing/2014/main" xmlns="" id="{B88C10B9-ED2F-7C0F-0013-FE8A41A42476}"/>
                </a:ext>
              </a:extLst>
            </p:cNvPr>
            <p:cNvSpPr/>
            <p:nvPr/>
          </p:nvSpPr>
          <p:spPr>
            <a:xfrm>
              <a:off x="3554782" y="3625034"/>
              <a:ext cx="11066" cy="10606"/>
            </a:xfrm>
            <a:custGeom>
              <a:avLst/>
              <a:gdLst/>
              <a:ahLst/>
              <a:cxnLst/>
              <a:rect l="l" t="t" r="r" b="b"/>
              <a:pathLst>
                <a:path w="48" h="46" extrusionOk="0">
                  <a:moveTo>
                    <a:pt x="14" y="1"/>
                  </a:moveTo>
                  <a:lnTo>
                    <a:pt x="0" y="12"/>
                  </a:lnTo>
                  <a:cubicBezTo>
                    <a:pt x="0" y="23"/>
                    <a:pt x="0" y="34"/>
                    <a:pt x="14" y="34"/>
                  </a:cubicBezTo>
                  <a:cubicBezTo>
                    <a:pt x="14" y="46"/>
                    <a:pt x="25" y="46"/>
                    <a:pt x="25" y="46"/>
                  </a:cubicBezTo>
                  <a:lnTo>
                    <a:pt x="37" y="46"/>
                  </a:lnTo>
                  <a:cubicBezTo>
                    <a:pt x="48" y="34"/>
                    <a:pt x="48" y="23"/>
                    <a:pt x="48" y="12"/>
                  </a:cubicBezTo>
                  <a:lnTo>
                    <a:pt x="3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86;p17">
              <a:extLst>
                <a:ext uri="{FF2B5EF4-FFF2-40B4-BE49-F238E27FC236}">
                  <a16:creationId xmlns:a16="http://schemas.microsoft.com/office/drawing/2014/main" xmlns="" id="{783B81AF-8154-739E-0FE3-319A2ED82ACC}"/>
                </a:ext>
              </a:extLst>
            </p:cNvPr>
            <p:cNvSpPr/>
            <p:nvPr/>
          </p:nvSpPr>
          <p:spPr>
            <a:xfrm>
              <a:off x="3549479" y="3619270"/>
              <a:ext cx="21672" cy="22133"/>
            </a:xfrm>
            <a:custGeom>
              <a:avLst/>
              <a:gdLst/>
              <a:ahLst/>
              <a:cxnLst/>
              <a:rect l="l" t="t" r="r" b="b"/>
              <a:pathLst>
                <a:path w="94" h="96" extrusionOk="0">
                  <a:moveTo>
                    <a:pt x="37" y="1"/>
                  </a:moveTo>
                  <a:cubicBezTo>
                    <a:pt x="23" y="1"/>
                    <a:pt x="12" y="12"/>
                    <a:pt x="12" y="12"/>
                  </a:cubicBezTo>
                  <a:cubicBezTo>
                    <a:pt x="1" y="26"/>
                    <a:pt x="1" y="37"/>
                    <a:pt x="1" y="37"/>
                  </a:cubicBezTo>
                  <a:lnTo>
                    <a:pt x="1" y="48"/>
                  </a:lnTo>
                  <a:cubicBezTo>
                    <a:pt x="1" y="59"/>
                    <a:pt x="1" y="71"/>
                    <a:pt x="12" y="82"/>
                  </a:cubicBezTo>
                  <a:cubicBezTo>
                    <a:pt x="23" y="96"/>
                    <a:pt x="37" y="96"/>
                    <a:pt x="48" y="96"/>
                  </a:cubicBezTo>
                  <a:lnTo>
                    <a:pt x="71" y="96"/>
                  </a:lnTo>
                  <a:lnTo>
                    <a:pt x="82" y="82"/>
                  </a:lnTo>
                  <a:cubicBezTo>
                    <a:pt x="93" y="59"/>
                    <a:pt x="93" y="48"/>
                    <a:pt x="93" y="37"/>
                  </a:cubicBezTo>
                  <a:lnTo>
                    <a:pt x="93" y="26"/>
                  </a:lnTo>
                  <a:lnTo>
                    <a:pt x="71" y="12"/>
                  </a:lnTo>
                  <a:lnTo>
                    <a:pt x="60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9" name="Google Shape;287;p17">
              <a:extLst>
                <a:ext uri="{FF2B5EF4-FFF2-40B4-BE49-F238E27FC236}">
                  <a16:creationId xmlns:a16="http://schemas.microsoft.com/office/drawing/2014/main" xmlns="" id="{36278C6B-B4C5-AE2A-F520-C3EAFDF75063}"/>
                </a:ext>
              </a:extLst>
            </p:cNvPr>
            <p:cNvSpPr/>
            <p:nvPr/>
          </p:nvSpPr>
          <p:spPr>
            <a:xfrm>
              <a:off x="3568385" y="3643709"/>
              <a:ext cx="16139" cy="13833"/>
            </a:xfrm>
            <a:custGeom>
              <a:avLst/>
              <a:gdLst/>
              <a:ahLst/>
              <a:cxnLst/>
              <a:rect l="l" t="t" r="r" b="b"/>
              <a:pathLst>
                <a:path w="70" h="60" extrusionOk="0">
                  <a:moveTo>
                    <a:pt x="11" y="1"/>
                  </a:moveTo>
                  <a:lnTo>
                    <a:pt x="0" y="12"/>
                  </a:lnTo>
                  <a:lnTo>
                    <a:pt x="0" y="34"/>
                  </a:lnTo>
                  <a:lnTo>
                    <a:pt x="11" y="46"/>
                  </a:lnTo>
                  <a:cubicBezTo>
                    <a:pt x="25" y="46"/>
                    <a:pt x="25" y="46"/>
                    <a:pt x="36" y="60"/>
                  </a:cubicBezTo>
                  <a:lnTo>
                    <a:pt x="59" y="60"/>
                  </a:lnTo>
                  <a:lnTo>
                    <a:pt x="59" y="46"/>
                  </a:lnTo>
                  <a:lnTo>
                    <a:pt x="70" y="46"/>
                  </a:lnTo>
                  <a:lnTo>
                    <a:pt x="70" y="34"/>
                  </a:lnTo>
                  <a:lnTo>
                    <a:pt x="70" y="12"/>
                  </a:lnTo>
                  <a:lnTo>
                    <a:pt x="59" y="12"/>
                  </a:lnTo>
                  <a:cubicBezTo>
                    <a:pt x="48" y="1"/>
                    <a:pt x="36" y="1"/>
                    <a:pt x="2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0" name="Google Shape;288;p17">
              <a:extLst>
                <a:ext uri="{FF2B5EF4-FFF2-40B4-BE49-F238E27FC236}">
                  <a16:creationId xmlns:a16="http://schemas.microsoft.com/office/drawing/2014/main" xmlns="" id="{DEA335BB-E6E2-D923-6251-440367D9049A}"/>
                </a:ext>
              </a:extLst>
            </p:cNvPr>
            <p:cNvSpPr/>
            <p:nvPr/>
          </p:nvSpPr>
          <p:spPr>
            <a:xfrm>
              <a:off x="3563082" y="3637945"/>
              <a:ext cx="27435" cy="24669"/>
            </a:xfrm>
            <a:custGeom>
              <a:avLst/>
              <a:gdLst/>
              <a:ahLst/>
              <a:cxnLst/>
              <a:rect l="l" t="t" r="r" b="b"/>
              <a:pathLst>
                <a:path w="119" h="107" extrusionOk="0">
                  <a:moveTo>
                    <a:pt x="71" y="48"/>
                  </a:moveTo>
                  <a:lnTo>
                    <a:pt x="71" y="59"/>
                  </a:lnTo>
                  <a:lnTo>
                    <a:pt x="59" y="59"/>
                  </a:lnTo>
                  <a:cubicBezTo>
                    <a:pt x="59" y="59"/>
                    <a:pt x="59" y="48"/>
                    <a:pt x="48" y="48"/>
                  </a:cubicBezTo>
                  <a:close/>
                  <a:moveTo>
                    <a:pt x="23" y="1"/>
                  </a:moveTo>
                  <a:lnTo>
                    <a:pt x="12" y="26"/>
                  </a:lnTo>
                  <a:lnTo>
                    <a:pt x="1" y="26"/>
                  </a:lnTo>
                  <a:lnTo>
                    <a:pt x="1" y="48"/>
                  </a:lnTo>
                  <a:lnTo>
                    <a:pt x="1" y="59"/>
                  </a:lnTo>
                  <a:cubicBezTo>
                    <a:pt x="12" y="71"/>
                    <a:pt x="23" y="85"/>
                    <a:pt x="23" y="85"/>
                  </a:cubicBezTo>
                  <a:cubicBezTo>
                    <a:pt x="34" y="96"/>
                    <a:pt x="34" y="96"/>
                    <a:pt x="48" y="107"/>
                  </a:cubicBezTo>
                  <a:lnTo>
                    <a:pt x="82" y="107"/>
                  </a:lnTo>
                  <a:lnTo>
                    <a:pt x="93" y="96"/>
                  </a:lnTo>
                  <a:lnTo>
                    <a:pt x="104" y="96"/>
                  </a:lnTo>
                  <a:lnTo>
                    <a:pt x="104" y="85"/>
                  </a:lnTo>
                  <a:lnTo>
                    <a:pt x="118" y="85"/>
                  </a:lnTo>
                  <a:lnTo>
                    <a:pt x="118" y="59"/>
                  </a:lnTo>
                  <a:lnTo>
                    <a:pt x="118" y="48"/>
                  </a:lnTo>
                  <a:cubicBezTo>
                    <a:pt x="118" y="48"/>
                    <a:pt x="118" y="37"/>
                    <a:pt x="104" y="26"/>
                  </a:cubicBezTo>
                  <a:lnTo>
                    <a:pt x="93" y="15"/>
                  </a:lnTo>
                  <a:cubicBezTo>
                    <a:pt x="93" y="15"/>
                    <a:pt x="82" y="15"/>
                    <a:pt x="7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89;p17">
              <a:extLst>
                <a:ext uri="{FF2B5EF4-FFF2-40B4-BE49-F238E27FC236}">
                  <a16:creationId xmlns:a16="http://schemas.microsoft.com/office/drawing/2014/main" xmlns="" id="{526FCAC2-110A-0D49-1B2F-7A4235641EDC}"/>
                </a:ext>
              </a:extLst>
            </p:cNvPr>
            <p:cNvSpPr/>
            <p:nvPr/>
          </p:nvSpPr>
          <p:spPr>
            <a:xfrm>
              <a:off x="3595359" y="3641173"/>
              <a:ext cx="13833" cy="13142"/>
            </a:xfrm>
            <a:custGeom>
              <a:avLst/>
              <a:gdLst/>
              <a:ahLst/>
              <a:cxnLst/>
              <a:rect l="l" t="t" r="r" b="b"/>
              <a:pathLst>
                <a:path w="60" h="57" extrusionOk="0">
                  <a:moveTo>
                    <a:pt x="12" y="1"/>
                  </a:moveTo>
                  <a:lnTo>
                    <a:pt x="12" y="12"/>
                  </a:lnTo>
                  <a:cubicBezTo>
                    <a:pt x="0" y="12"/>
                    <a:pt x="0" y="23"/>
                    <a:pt x="0" y="23"/>
                  </a:cubicBezTo>
                  <a:lnTo>
                    <a:pt x="0" y="34"/>
                  </a:lnTo>
                  <a:lnTo>
                    <a:pt x="0" y="45"/>
                  </a:lnTo>
                  <a:lnTo>
                    <a:pt x="12" y="57"/>
                  </a:lnTo>
                  <a:lnTo>
                    <a:pt x="48" y="57"/>
                  </a:lnTo>
                  <a:cubicBezTo>
                    <a:pt x="59" y="45"/>
                    <a:pt x="59" y="34"/>
                    <a:pt x="59" y="34"/>
                  </a:cubicBezTo>
                  <a:cubicBezTo>
                    <a:pt x="59" y="23"/>
                    <a:pt x="48" y="23"/>
                    <a:pt x="48" y="12"/>
                  </a:cubicBezTo>
                  <a:cubicBezTo>
                    <a:pt x="48" y="12"/>
                    <a:pt x="48" y="1"/>
                    <a:pt x="3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2" name="Google Shape;290;p17">
              <a:extLst>
                <a:ext uri="{FF2B5EF4-FFF2-40B4-BE49-F238E27FC236}">
                  <a16:creationId xmlns:a16="http://schemas.microsoft.com/office/drawing/2014/main" xmlns="" id="{7F98E76D-B92E-1110-26DD-DEEBBBB09672}"/>
                </a:ext>
              </a:extLst>
            </p:cNvPr>
            <p:cNvSpPr/>
            <p:nvPr/>
          </p:nvSpPr>
          <p:spPr>
            <a:xfrm>
              <a:off x="3590287" y="3635409"/>
              <a:ext cx="23977" cy="24669"/>
            </a:xfrm>
            <a:custGeom>
              <a:avLst/>
              <a:gdLst/>
              <a:ahLst/>
              <a:cxnLst/>
              <a:rect l="l" t="t" r="r" b="b"/>
              <a:pathLst>
                <a:path w="104" h="107" extrusionOk="0">
                  <a:moveTo>
                    <a:pt x="45" y="48"/>
                  </a:moveTo>
                  <a:cubicBezTo>
                    <a:pt x="45" y="48"/>
                    <a:pt x="56" y="48"/>
                    <a:pt x="56" y="59"/>
                  </a:cubicBezTo>
                  <a:lnTo>
                    <a:pt x="45" y="59"/>
                  </a:lnTo>
                  <a:lnTo>
                    <a:pt x="45" y="48"/>
                  </a:lnTo>
                  <a:close/>
                  <a:moveTo>
                    <a:pt x="34" y="1"/>
                  </a:moveTo>
                  <a:lnTo>
                    <a:pt x="22" y="12"/>
                  </a:lnTo>
                  <a:lnTo>
                    <a:pt x="11" y="12"/>
                  </a:lnTo>
                  <a:cubicBezTo>
                    <a:pt x="11" y="26"/>
                    <a:pt x="0" y="37"/>
                    <a:pt x="0" y="48"/>
                  </a:cubicBezTo>
                  <a:lnTo>
                    <a:pt x="0" y="59"/>
                  </a:lnTo>
                  <a:lnTo>
                    <a:pt x="0" y="70"/>
                  </a:lnTo>
                  <a:lnTo>
                    <a:pt x="0" y="82"/>
                  </a:lnTo>
                  <a:lnTo>
                    <a:pt x="0" y="96"/>
                  </a:lnTo>
                  <a:lnTo>
                    <a:pt x="11" y="107"/>
                  </a:lnTo>
                  <a:lnTo>
                    <a:pt x="45" y="107"/>
                  </a:lnTo>
                  <a:cubicBezTo>
                    <a:pt x="56" y="107"/>
                    <a:pt x="70" y="107"/>
                    <a:pt x="92" y="96"/>
                  </a:cubicBezTo>
                  <a:cubicBezTo>
                    <a:pt x="104" y="82"/>
                    <a:pt x="104" y="70"/>
                    <a:pt x="104" y="59"/>
                  </a:cubicBezTo>
                  <a:lnTo>
                    <a:pt x="104" y="48"/>
                  </a:lnTo>
                  <a:cubicBezTo>
                    <a:pt x="104" y="48"/>
                    <a:pt x="104" y="37"/>
                    <a:pt x="92" y="26"/>
                  </a:cubicBezTo>
                  <a:cubicBezTo>
                    <a:pt x="92" y="26"/>
                    <a:pt x="81" y="12"/>
                    <a:pt x="7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3" name="Google Shape;291;p17">
              <a:extLst>
                <a:ext uri="{FF2B5EF4-FFF2-40B4-BE49-F238E27FC236}">
                  <a16:creationId xmlns:a16="http://schemas.microsoft.com/office/drawing/2014/main" xmlns="" id="{C3A07106-26DA-A604-5B2E-8CF52EE8372A}"/>
                </a:ext>
              </a:extLst>
            </p:cNvPr>
            <p:cNvSpPr/>
            <p:nvPr/>
          </p:nvSpPr>
          <p:spPr>
            <a:xfrm>
              <a:off x="3522505" y="3287273"/>
              <a:ext cx="158849" cy="101444"/>
            </a:xfrm>
            <a:custGeom>
              <a:avLst/>
              <a:gdLst/>
              <a:ahLst/>
              <a:cxnLst/>
              <a:rect l="l" t="t" r="r" b="b"/>
              <a:pathLst>
                <a:path w="689" h="440" extrusionOk="0">
                  <a:moveTo>
                    <a:pt x="486" y="1"/>
                  </a:moveTo>
                  <a:cubicBezTo>
                    <a:pt x="471" y="1"/>
                    <a:pt x="456" y="3"/>
                    <a:pt x="445" y="9"/>
                  </a:cubicBezTo>
                  <a:cubicBezTo>
                    <a:pt x="434" y="20"/>
                    <a:pt x="409" y="31"/>
                    <a:pt x="409" y="54"/>
                  </a:cubicBezTo>
                  <a:cubicBezTo>
                    <a:pt x="398" y="79"/>
                    <a:pt x="409" y="90"/>
                    <a:pt x="386" y="112"/>
                  </a:cubicBezTo>
                  <a:cubicBezTo>
                    <a:pt x="383" y="116"/>
                    <a:pt x="377" y="117"/>
                    <a:pt x="371" y="117"/>
                  </a:cubicBezTo>
                  <a:cubicBezTo>
                    <a:pt x="359" y="117"/>
                    <a:pt x="343" y="112"/>
                    <a:pt x="328" y="112"/>
                  </a:cubicBezTo>
                  <a:cubicBezTo>
                    <a:pt x="305" y="124"/>
                    <a:pt x="294" y="138"/>
                    <a:pt x="280" y="149"/>
                  </a:cubicBezTo>
                  <a:cubicBezTo>
                    <a:pt x="269" y="160"/>
                    <a:pt x="269" y="182"/>
                    <a:pt x="258" y="193"/>
                  </a:cubicBezTo>
                  <a:cubicBezTo>
                    <a:pt x="247" y="207"/>
                    <a:pt x="210" y="219"/>
                    <a:pt x="210" y="241"/>
                  </a:cubicBezTo>
                  <a:cubicBezTo>
                    <a:pt x="199" y="252"/>
                    <a:pt x="199" y="263"/>
                    <a:pt x="199" y="263"/>
                  </a:cubicBezTo>
                  <a:cubicBezTo>
                    <a:pt x="199" y="291"/>
                    <a:pt x="180" y="304"/>
                    <a:pt x="160" y="304"/>
                  </a:cubicBezTo>
                  <a:cubicBezTo>
                    <a:pt x="153" y="304"/>
                    <a:pt x="147" y="302"/>
                    <a:pt x="140" y="300"/>
                  </a:cubicBezTo>
                  <a:lnTo>
                    <a:pt x="129" y="300"/>
                  </a:lnTo>
                  <a:cubicBezTo>
                    <a:pt x="125" y="296"/>
                    <a:pt x="122" y="295"/>
                    <a:pt x="118" y="295"/>
                  </a:cubicBezTo>
                  <a:cubicBezTo>
                    <a:pt x="110" y="295"/>
                    <a:pt x="103" y="300"/>
                    <a:pt x="96" y="300"/>
                  </a:cubicBezTo>
                  <a:cubicBezTo>
                    <a:pt x="84" y="300"/>
                    <a:pt x="59" y="289"/>
                    <a:pt x="48" y="289"/>
                  </a:cubicBezTo>
                  <a:cubicBezTo>
                    <a:pt x="37" y="289"/>
                    <a:pt x="26" y="300"/>
                    <a:pt x="26" y="311"/>
                  </a:cubicBezTo>
                  <a:cubicBezTo>
                    <a:pt x="14" y="322"/>
                    <a:pt x="0" y="333"/>
                    <a:pt x="0" y="347"/>
                  </a:cubicBezTo>
                  <a:cubicBezTo>
                    <a:pt x="0" y="370"/>
                    <a:pt x="0" y="381"/>
                    <a:pt x="14" y="392"/>
                  </a:cubicBezTo>
                  <a:cubicBezTo>
                    <a:pt x="37" y="403"/>
                    <a:pt x="59" y="392"/>
                    <a:pt x="59" y="417"/>
                  </a:cubicBezTo>
                  <a:cubicBezTo>
                    <a:pt x="70" y="417"/>
                    <a:pt x="70" y="428"/>
                    <a:pt x="70" y="428"/>
                  </a:cubicBezTo>
                  <a:cubicBezTo>
                    <a:pt x="84" y="440"/>
                    <a:pt x="96" y="440"/>
                    <a:pt x="107" y="440"/>
                  </a:cubicBezTo>
                  <a:cubicBezTo>
                    <a:pt x="118" y="440"/>
                    <a:pt x="129" y="440"/>
                    <a:pt x="140" y="428"/>
                  </a:cubicBezTo>
                  <a:cubicBezTo>
                    <a:pt x="165" y="417"/>
                    <a:pt x="177" y="392"/>
                    <a:pt x="188" y="381"/>
                  </a:cubicBezTo>
                  <a:cubicBezTo>
                    <a:pt x="210" y="370"/>
                    <a:pt x="247" y="370"/>
                    <a:pt x="269" y="370"/>
                  </a:cubicBezTo>
                  <a:cubicBezTo>
                    <a:pt x="294" y="358"/>
                    <a:pt x="316" y="347"/>
                    <a:pt x="328" y="322"/>
                  </a:cubicBezTo>
                  <a:cubicBezTo>
                    <a:pt x="350" y="300"/>
                    <a:pt x="364" y="277"/>
                    <a:pt x="375" y="252"/>
                  </a:cubicBezTo>
                  <a:cubicBezTo>
                    <a:pt x="398" y="219"/>
                    <a:pt x="434" y="182"/>
                    <a:pt x="479" y="160"/>
                  </a:cubicBezTo>
                  <a:cubicBezTo>
                    <a:pt x="505" y="144"/>
                    <a:pt x="536" y="132"/>
                    <a:pt x="569" y="132"/>
                  </a:cubicBezTo>
                  <a:cubicBezTo>
                    <a:pt x="581" y="132"/>
                    <a:pt x="594" y="134"/>
                    <a:pt x="607" y="138"/>
                  </a:cubicBezTo>
                  <a:lnTo>
                    <a:pt x="655" y="138"/>
                  </a:lnTo>
                  <a:cubicBezTo>
                    <a:pt x="677" y="138"/>
                    <a:pt x="688" y="124"/>
                    <a:pt x="688" y="112"/>
                  </a:cubicBezTo>
                  <a:cubicBezTo>
                    <a:pt x="688" y="90"/>
                    <a:pt x="666" y="79"/>
                    <a:pt x="655" y="79"/>
                  </a:cubicBezTo>
                  <a:cubicBezTo>
                    <a:pt x="649" y="73"/>
                    <a:pt x="640" y="73"/>
                    <a:pt x="631" y="73"/>
                  </a:cubicBezTo>
                  <a:cubicBezTo>
                    <a:pt x="622" y="73"/>
                    <a:pt x="613" y="73"/>
                    <a:pt x="607" y="68"/>
                  </a:cubicBezTo>
                  <a:cubicBezTo>
                    <a:pt x="574" y="54"/>
                    <a:pt x="560" y="20"/>
                    <a:pt x="526" y="9"/>
                  </a:cubicBezTo>
                  <a:cubicBezTo>
                    <a:pt x="515" y="3"/>
                    <a:pt x="500" y="1"/>
                    <a:pt x="48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92;p17">
              <a:extLst>
                <a:ext uri="{FF2B5EF4-FFF2-40B4-BE49-F238E27FC236}">
                  <a16:creationId xmlns:a16="http://schemas.microsoft.com/office/drawing/2014/main" xmlns="" id="{B4E8C048-7B54-3695-5D2D-30BDA89D2883}"/>
                </a:ext>
              </a:extLst>
            </p:cNvPr>
            <p:cNvSpPr/>
            <p:nvPr/>
          </p:nvSpPr>
          <p:spPr>
            <a:xfrm>
              <a:off x="3517433" y="3280818"/>
              <a:ext cx="169685" cy="112972"/>
            </a:xfrm>
            <a:custGeom>
              <a:avLst/>
              <a:gdLst/>
              <a:ahLst/>
              <a:cxnLst/>
              <a:rect l="l" t="t" r="r" b="b"/>
              <a:pathLst>
                <a:path w="736" h="490" extrusionOk="0">
                  <a:moveTo>
                    <a:pt x="537" y="48"/>
                  </a:moveTo>
                  <a:cubicBezTo>
                    <a:pt x="548" y="59"/>
                    <a:pt x="559" y="70"/>
                    <a:pt x="571" y="82"/>
                  </a:cubicBezTo>
                  <a:cubicBezTo>
                    <a:pt x="582" y="96"/>
                    <a:pt x="596" y="107"/>
                    <a:pt x="618" y="118"/>
                  </a:cubicBezTo>
                  <a:cubicBezTo>
                    <a:pt x="629" y="124"/>
                    <a:pt x="641" y="124"/>
                    <a:pt x="652" y="124"/>
                  </a:cubicBezTo>
                  <a:cubicBezTo>
                    <a:pt x="662" y="124"/>
                    <a:pt x="671" y="124"/>
                    <a:pt x="677" y="129"/>
                  </a:cubicBezTo>
                  <a:lnTo>
                    <a:pt x="688" y="129"/>
                  </a:lnTo>
                  <a:lnTo>
                    <a:pt x="688" y="140"/>
                  </a:lnTo>
                  <a:lnTo>
                    <a:pt x="607" y="140"/>
                  </a:lnTo>
                  <a:cubicBezTo>
                    <a:pt x="571" y="140"/>
                    <a:pt x="526" y="152"/>
                    <a:pt x="489" y="177"/>
                  </a:cubicBezTo>
                  <a:cubicBezTo>
                    <a:pt x="442" y="199"/>
                    <a:pt x="408" y="235"/>
                    <a:pt x="386" y="269"/>
                  </a:cubicBezTo>
                  <a:cubicBezTo>
                    <a:pt x="361" y="291"/>
                    <a:pt x="350" y="317"/>
                    <a:pt x="338" y="339"/>
                  </a:cubicBezTo>
                  <a:cubicBezTo>
                    <a:pt x="327" y="350"/>
                    <a:pt x="302" y="361"/>
                    <a:pt x="291" y="375"/>
                  </a:cubicBezTo>
                  <a:lnTo>
                    <a:pt x="246" y="375"/>
                  </a:lnTo>
                  <a:cubicBezTo>
                    <a:pt x="232" y="375"/>
                    <a:pt x="210" y="386"/>
                    <a:pt x="199" y="398"/>
                  </a:cubicBezTo>
                  <a:cubicBezTo>
                    <a:pt x="187" y="398"/>
                    <a:pt x="176" y="409"/>
                    <a:pt x="176" y="420"/>
                  </a:cubicBezTo>
                  <a:cubicBezTo>
                    <a:pt x="162" y="431"/>
                    <a:pt x="162" y="431"/>
                    <a:pt x="151" y="445"/>
                  </a:cubicBezTo>
                  <a:lnTo>
                    <a:pt x="118" y="445"/>
                  </a:lnTo>
                  <a:cubicBezTo>
                    <a:pt x="118" y="445"/>
                    <a:pt x="118" y="431"/>
                    <a:pt x="106" y="431"/>
                  </a:cubicBezTo>
                  <a:cubicBezTo>
                    <a:pt x="92" y="409"/>
                    <a:pt x="81" y="409"/>
                    <a:pt x="70" y="409"/>
                  </a:cubicBezTo>
                  <a:lnTo>
                    <a:pt x="59" y="398"/>
                  </a:lnTo>
                  <a:cubicBezTo>
                    <a:pt x="48" y="398"/>
                    <a:pt x="48" y="386"/>
                    <a:pt x="48" y="386"/>
                  </a:cubicBezTo>
                  <a:cubicBezTo>
                    <a:pt x="48" y="375"/>
                    <a:pt x="59" y="361"/>
                    <a:pt x="59" y="350"/>
                  </a:cubicBezTo>
                  <a:lnTo>
                    <a:pt x="70" y="339"/>
                  </a:lnTo>
                  <a:cubicBezTo>
                    <a:pt x="70" y="339"/>
                    <a:pt x="81" y="339"/>
                    <a:pt x="81" y="350"/>
                  </a:cubicBezTo>
                  <a:lnTo>
                    <a:pt x="140" y="350"/>
                  </a:lnTo>
                  <a:lnTo>
                    <a:pt x="140" y="339"/>
                  </a:lnTo>
                  <a:lnTo>
                    <a:pt x="151" y="350"/>
                  </a:lnTo>
                  <a:lnTo>
                    <a:pt x="176" y="350"/>
                  </a:lnTo>
                  <a:cubicBezTo>
                    <a:pt x="199" y="350"/>
                    <a:pt x="210" y="350"/>
                    <a:pt x="221" y="339"/>
                  </a:cubicBezTo>
                  <a:cubicBezTo>
                    <a:pt x="232" y="328"/>
                    <a:pt x="246" y="317"/>
                    <a:pt x="246" y="305"/>
                  </a:cubicBezTo>
                  <a:cubicBezTo>
                    <a:pt x="246" y="291"/>
                    <a:pt x="246" y="280"/>
                    <a:pt x="257" y="269"/>
                  </a:cubicBezTo>
                  <a:cubicBezTo>
                    <a:pt x="257" y="269"/>
                    <a:pt x="257" y="258"/>
                    <a:pt x="269" y="258"/>
                  </a:cubicBezTo>
                  <a:cubicBezTo>
                    <a:pt x="280" y="247"/>
                    <a:pt x="291" y="247"/>
                    <a:pt x="302" y="235"/>
                  </a:cubicBezTo>
                  <a:cubicBezTo>
                    <a:pt x="316" y="221"/>
                    <a:pt x="316" y="210"/>
                    <a:pt x="316" y="199"/>
                  </a:cubicBezTo>
                  <a:cubicBezTo>
                    <a:pt x="316" y="199"/>
                    <a:pt x="316" y="188"/>
                    <a:pt x="327" y="188"/>
                  </a:cubicBezTo>
                  <a:cubicBezTo>
                    <a:pt x="327" y="177"/>
                    <a:pt x="338" y="177"/>
                    <a:pt x="350" y="166"/>
                  </a:cubicBezTo>
                  <a:lnTo>
                    <a:pt x="408" y="166"/>
                  </a:lnTo>
                  <a:cubicBezTo>
                    <a:pt x="408" y="166"/>
                    <a:pt x="420" y="166"/>
                    <a:pt x="431" y="152"/>
                  </a:cubicBezTo>
                  <a:cubicBezTo>
                    <a:pt x="442" y="140"/>
                    <a:pt x="442" y="129"/>
                    <a:pt x="442" y="118"/>
                  </a:cubicBezTo>
                  <a:cubicBezTo>
                    <a:pt x="442" y="107"/>
                    <a:pt x="442" y="96"/>
                    <a:pt x="456" y="96"/>
                  </a:cubicBezTo>
                  <a:cubicBezTo>
                    <a:pt x="456" y="82"/>
                    <a:pt x="467" y="70"/>
                    <a:pt x="478" y="59"/>
                  </a:cubicBezTo>
                  <a:cubicBezTo>
                    <a:pt x="489" y="59"/>
                    <a:pt x="512" y="48"/>
                    <a:pt x="526" y="48"/>
                  </a:cubicBezTo>
                  <a:close/>
                  <a:moveTo>
                    <a:pt x="526" y="1"/>
                  </a:moveTo>
                  <a:cubicBezTo>
                    <a:pt x="501" y="1"/>
                    <a:pt x="478" y="12"/>
                    <a:pt x="456" y="26"/>
                  </a:cubicBezTo>
                  <a:cubicBezTo>
                    <a:pt x="442" y="37"/>
                    <a:pt x="420" y="48"/>
                    <a:pt x="408" y="70"/>
                  </a:cubicBezTo>
                  <a:cubicBezTo>
                    <a:pt x="397" y="96"/>
                    <a:pt x="397" y="96"/>
                    <a:pt x="397" y="107"/>
                  </a:cubicBezTo>
                  <a:lnTo>
                    <a:pt x="397" y="118"/>
                  </a:lnTo>
                  <a:lnTo>
                    <a:pt x="338" y="118"/>
                  </a:lnTo>
                  <a:cubicBezTo>
                    <a:pt x="316" y="129"/>
                    <a:pt x="291" y="140"/>
                    <a:pt x="280" y="166"/>
                  </a:cubicBezTo>
                  <a:cubicBezTo>
                    <a:pt x="280" y="177"/>
                    <a:pt x="269" y="188"/>
                    <a:pt x="269" y="188"/>
                  </a:cubicBezTo>
                  <a:lnTo>
                    <a:pt x="269" y="199"/>
                  </a:lnTo>
                  <a:cubicBezTo>
                    <a:pt x="257" y="210"/>
                    <a:pt x="257" y="210"/>
                    <a:pt x="246" y="221"/>
                  </a:cubicBezTo>
                  <a:cubicBezTo>
                    <a:pt x="232" y="221"/>
                    <a:pt x="221" y="235"/>
                    <a:pt x="221" y="235"/>
                  </a:cubicBezTo>
                  <a:cubicBezTo>
                    <a:pt x="210" y="247"/>
                    <a:pt x="210" y="258"/>
                    <a:pt x="210" y="269"/>
                  </a:cubicBezTo>
                  <a:cubicBezTo>
                    <a:pt x="199" y="280"/>
                    <a:pt x="199" y="291"/>
                    <a:pt x="199" y="291"/>
                  </a:cubicBezTo>
                  <a:lnTo>
                    <a:pt x="199" y="305"/>
                  </a:lnTo>
                  <a:lnTo>
                    <a:pt x="151" y="305"/>
                  </a:lnTo>
                  <a:lnTo>
                    <a:pt x="140" y="291"/>
                  </a:lnTo>
                  <a:cubicBezTo>
                    <a:pt x="129" y="305"/>
                    <a:pt x="129" y="305"/>
                    <a:pt x="118" y="305"/>
                  </a:cubicBezTo>
                  <a:lnTo>
                    <a:pt x="106" y="305"/>
                  </a:lnTo>
                  <a:cubicBezTo>
                    <a:pt x="92" y="305"/>
                    <a:pt x="81" y="291"/>
                    <a:pt x="70" y="291"/>
                  </a:cubicBezTo>
                  <a:cubicBezTo>
                    <a:pt x="59" y="291"/>
                    <a:pt x="48" y="305"/>
                    <a:pt x="36" y="305"/>
                  </a:cubicBezTo>
                  <a:cubicBezTo>
                    <a:pt x="36" y="317"/>
                    <a:pt x="22" y="317"/>
                    <a:pt x="22" y="328"/>
                  </a:cubicBezTo>
                  <a:cubicBezTo>
                    <a:pt x="11" y="339"/>
                    <a:pt x="0" y="350"/>
                    <a:pt x="0" y="375"/>
                  </a:cubicBezTo>
                  <a:lnTo>
                    <a:pt x="0" y="386"/>
                  </a:lnTo>
                  <a:cubicBezTo>
                    <a:pt x="0" y="398"/>
                    <a:pt x="11" y="420"/>
                    <a:pt x="22" y="431"/>
                  </a:cubicBezTo>
                  <a:cubicBezTo>
                    <a:pt x="36" y="445"/>
                    <a:pt x="48" y="445"/>
                    <a:pt x="59" y="445"/>
                  </a:cubicBezTo>
                  <a:lnTo>
                    <a:pt x="70" y="456"/>
                  </a:lnTo>
                  <a:cubicBezTo>
                    <a:pt x="70" y="468"/>
                    <a:pt x="70" y="468"/>
                    <a:pt x="81" y="468"/>
                  </a:cubicBezTo>
                  <a:cubicBezTo>
                    <a:pt x="81" y="479"/>
                    <a:pt x="92" y="490"/>
                    <a:pt x="106" y="490"/>
                  </a:cubicBezTo>
                  <a:lnTo>
                    <a:pt x="129" y="490"/>
                  </a:lnTo>
                  <a:cubicBezTo>
                    <a:pt x="140" y="490"/>
                    <a:pt x="162" y="490"/>
                    <a:pt x="176" y="479"/>
                  </a:cubicBezTo>
                  <a:cubicBezTo>
                    <a:pt x="199" y="468"/>
                    <a:pt x="199" y="456"/>
                    <a:pt x="210" y="456"/>
                  </a:cubicBezTo>
                  <a:cubicBezTo>
                    <a:pt x="210" y="445"/>
                    <a:pt x="221" y="431"/>
                    <a:pt x="221" y="431"/>
                  </a:cubicBezTo>
                  <a:cubicBezTo>
                    <a:pt x="232" y="420"/>
                    <a:pt x="246" y="420"/>
                    <a:pt x="257" y="420"/>
                  </a:cubicBezTo>
                  <a:lnTo>
                    <a:pt x="302" y="420"/>
                  </a:lnTo>
                  <a:cubicBezTo>
                    <a:pt x="327" y="409"/>
                    <a:pt x="350" y="386"/>
                    <a:pt x="372" y="361"/>
                  </a:cubicBezTo>
                  <a:cubicBezTo>
                    <a:pt x="397" y="339"/>
                    <a:pt x="408" y="317"/>
                    <a:pt x="420" y="305"/>
                  </a:cubicBezTo>
                  <a:cubicBezTo>
                    <a:pt x="442" y="269"/>
                    <a:pt x="478" y="235"/>
                    <a:pt x="512" y="210"/>
                  </a:cubicBezTo>
                  <a:cubicBezTo>
                    <a:pt x="548" y="199"/>
                    <a:pt x="582" y="188"/>
                    <a:pt x="607" y="188"/>
                  </a:cubicBezTo>
                  <a:lnTo>
                    <a:pt x="688" y="188"/>
                  </a:lnTo>
                  <a:cubicBezTo>
                    <a:pt x="699" y="188"/>
                    <a:pt x="710" y="177"/>
                    <a:pt x="710" y="177"/>
                  </a:cubicBezTo>
                  <a:cubicBezTo>
                    <a:pt x="722" y="166"/>
                    <a:pt x="736" y="152"/>
                    <a:pt x="736" y="140"/>
                  </a:cubicBezTo>
                  <a:cubicBezTo>
                    <a:pt x="736" y="118"/>
                    <a:pt x="722" y="107"/>
                    <a:pt x="710" y="96"/>
                  </a:cubicBezTo>
                  <a:cubicBezTo>
                    <a:pt x="699" y="96"/>
                    <a:pt x="699" y="82"/>
                    <a:pt x="688" y="82"/>
                  </a:cubicBezTo>
                  <a:cubicBezTo>
                    <a:pt x="677" y="76"/>
                    <a:pt x="665" y="76"/>
                    <a:pt x="656" y="76"/>
                  </a:cubicBezTo>
                  <a:cubicBezTo>
                    <a:pt x="647" y="76"/>
                    <a:pt x="640" y="76"/>
                    <a:pt x="640" y="70"/>
                  </a:cubicBezTo>
                  <a:cubicBezTo>
                    <a:pt x="629" y="70"/>
                    <a:pt x="618" y="59"/>
                    <a:pt x="607" y="48"/>
                  </a:cubicBezTo>
                  <a:cubicBezTo>
                    <a:pt x="596" y="37"/>
                    <a:pt x="582" y="26"/>
                    <a:pt x="559" y="12"/>
                  </a:cubicBezTo>
                  <a:cubicBezTo>
                    <a:pt x="548" y="1"/>
                    <a:pt x="537" y="1"/>
                    <a:pt x="52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5" name="Google Shape;293;p17">
              <a:extLst>
                <a:ext uri="{FF2B5EF4-FFF2-40B4-BE49-F238E27FC236}">
                  <a16:creationId xmlns:a16="http://schemas.microsoft.com/office/drawing/2014/main" xmlns="" id="{AE7DB993-0C33-13CA-2484-7C0F766AAA5D}"/>
                </a:ext>
              </a:extLst>
            </p:cNvPr>
            <p:cNvSpPr/>
            <p:nvPr/>
          </p:nvSpPr>
          <p:spPr>
            <a:xfrm>
              <a:off x="3703027" y="3297648"/>
              <a:ext cx="18905" cy="11528"/>
            </a:xfrm>
            <a:custGeom>
              <a:avLst/>
              <a:gdLst/>
              <a:ahLst/>
              <a:cxnLst/>
              <a:rect l="l" t="t" r="r" b="b"/>
              <a:pathLst>
                <a:path w="82" h="50" extrusionOk="0">
                  <a:moveTo>
                    <a:pt x="40" y="0"/>
                  </a:moveTo>
                  <a:cubicBezTo>
                    <a:pt x="26" y="0"/>
                    <a:pt x="12" y="3"/>
                    <a:pt x="0" y="9"/>
                  </a:cubicBezTo>
                  <a:lnTo>
                    <a:pt x="0" y="34"/>
                  </a:lnTo>
                  <a:cubicBezTo>
                    <a:pt x="8" y="42"/>
                    <a:pt x="22" y="50"/>
                    <a:pt x="33" y="50"/>
                  </a:cubicBezTo>
                  <a:cubicBezTo>
                    <a:pt x="38" y="50"/>
                    <a:pt x="42" y="48"/>
                    <a:pt x="45" y="45"/>
                  </a:cubicBezTo>
                  <a:cubicBezTo>
                    <a:pt x="56" y="45"/>
                    <a:pt x="56" y="45"/>
                    <a:pt x="70" y="34"/>
                  </a:cubicBezTo>
                  <a:cubicBezTo>
                    <a:pt x="82" y="34"/>
                    <a:pt x="82" y="23"/>
                    <a:pt x="82" y="9"/>
                  </a:cubicBezTo>
                  <a:cubicBezTo>
                    <a:pt x="69" y="3"/>
                    <a:pt x="54" y="0"/>
                    <a:pt x="4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6" name="Google Shape;294;p17">
              <a:extLst>
                <a:ext uri="{FF2B5EF4-FFF2-40B4-BE49-F238E27FC236}">
                  <a16:creationId xmlns:a16="http://schemas.microsoft.com/office/drawing/2014/main" xmlns="" id="{94BCE1E7-8DCF-24AD-0827-EABE7D9E56C5}"/>
                </a:ext>
              </a:extLst>
            </p:cNvPr>
            <p:cNvSpPr/>
            <p:nvPr/>
          </p:nvSpPr>
          <p:spPr>
            <a:xfrm>
              <a:off x="3697263" y="3291884"/>
              <a:ext cx="29741" cy="21442"/>
            </a:xfrm>
            <a:custGeom>
              <a:avLst/>
              <a:gdLst/>
              <a:ahLst/>
              <a:cxnLst/>
              <a:rect l="l" t="t" r="r" b="b"/>
              <a:pathLst>
                <a:path w="129" h="93" extrusionOk="0">
                  <a:moveTo>
                    <a:pt x="59" y="0"/>
                  </a:moveTo>
                  <a:cubicBezTo>
                    <a:pt x="48" y="0"/>
                    <a:pt x="25" y="11"/>
                    <a:pt x="11" y="22"/>
                  </a:cubicBezTo>
                  <a:lnTo>
                    <a:pt x="0" y="34"/>
                  </a:lnTo>
                  <a:lnTo>
                    <a:pt x="0" y="59"/>
                  </a:lnTo>
                  <a:lnTo>
                    <a:pt x="0" y="70"/>
                  </a:lnTo>
                  <a:lnTo>
                    <a:pt x="11" y="70"/>
                  </a:lnTo>
                  <a:cubicBezTo>
                    <a:pt x="25" y="92"/>
                    <a:pt x="37" y="92"/>
                    <a:pt x="59" y="92"/>
                  </a:cubicBezTo>
                  <a:lnTo>
                    <a:pt x="70" y="92"/>
                  </a:lnTo>
                  <a:cubicBezTo>
                    <a:pt x="81" y="92"/>
                    <a:pt x="95" y="92"/>
                    <a:pt x="107" y="81"/>
                  </a:cubicBezTo>
                  <a:lnTo>
                    <a:pt x="118" y="70"/>
                  </a:lnTo>
                  <a:cubicBezTo>
                    <a:pt x="129" y="59"/>
                    <a:pt x="129" y="59"/>
                    <a:pt x="129" y="48"/>
                  </a:cubicBezTo>
                  <a:lnTo>
                    <a:pt x="129" y="34"/>
                  </a:lnTo>
                  <a:lnTo>
                    <a:pt x="118" y="22"/>
                  </a:lnTo>
                  <a:cubicBezTo>
                    <a:pt x="95" y="11"/>
                    <a:pt x="81" y="0"/>
                    <a:pt x="5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95;p17">
              <a:extLst>
                <a:ext uri="{FF2B5EF4-FFF2-40B4-BE49-F238E27FC236}">
                  <a16:creationId xmlns:a16="http://schemas.microsoft.com/office/drawing/2014/main" xmlns="" id="{EF511630-B1A9-C550-8531-111132AE5A02}"/>
                </a:ext>
              </a:extLst>
            </p:cNvPr>
            <p:cNvSpPr/>
            <p:nvPr/>
          </p:nvSpPr>
          <p:spPr>
            <a:xfrm>
              <a:off x="3753978" y="3254304"/>
              <a:ext cx="23977" cy="19136"/>
            </a:xfrm>
            <a:custGeom>
              <a:avLst/>
              <a:gdLst/>
              <a:ahLst/>
              <a:cxnLst/>
              <a:rect l="l" t="t" r="r" b="b"/>
              <a:pathLst>
                <a:path w="104" h="83" extrusionOk="0">
                  <a:moveTo>
                    <a:pt x="70" y="1"/>
                  </a:moveTo>
                  <a:cubicBezTo>
                    <a:pt x="59" y="1"/>
                    <a:pt x="45" y="12"/>
                    <a:pt x="34" y="12"/>
                  </a:cubicBezTo>
                  <a:lnTo>
                    <a:pt x="23" y="23"/>
                  </a:lnTo>
                  <a:cubicBezTo>
                    <a:pt x="12" y="23"/>
                    <a:pt x="0" y="34"/>
                    <a:pt x="0" y="34"/>
                  </a:cubicBezTo>
                  <a:lnTo>
                    <a:pt x="0" y="46"/>
                  </a:lnTo>
                  <a:lnTo>
                    <a:pt x="0" y="71"/>
                  </a:lnTo>
                  <a:lnTo>
                    <a:pt x="12" y="82"/>
                  </a:lnTo>
                  <a:lnTo>
                    <a:pt x="23" y="82"/>
                  </a:lnTo>
                  <a:cubicBezTo>
                    <a:pt x="45" y="82"/>
                    <a:pt x="59" y="82"/>
                    <a:pt x="70" y="71"/>
                  </a:cubicBezTo>
                  <a:cubicBezTo>
                    <a:pt x="81" y="57"/>
                    <a:pt x="81" y="46"/>
                    <a:pt x="81" y="46"/>
                  </a:cubicBezTo>
                  <a:cubicBezTo>
                    <a:pt x="93" y="34"/>
                    <a:pt x="104" y="34"/>
                    <a:pt x="104" y="23"/>
                  </a:cubicBezTo>
                  <a:cubicBezTo>
                    <a:pt x="104" y="23"/>
                    <a:pt x="104" y="12"/>
                    <a:pt x="93" y="12"/>
                  </a:cubicBezTo>
                  <a:cubicBezTo>
                    <a:pt x="81" y="12"/>
                    <a:pt x="81" y="12"/>
                    <a:pt x="7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296;p17">
              <a:extLst>
                <a:ext uri="{FF2B5EF4-FFF2-40B4-BE49-F238E27FC236}">
                  <a16:creationId xmlns:a16="http://schemas.microsoft.com/office/drawing/2014/main" xmlns="" id="{86B3A739-33BB-02F8-3823-59C6A3F217A1}"/>
                </a:ext>
              </a:extLst>
            </p:cNvPr>
            <p:cNvSpPr/>
            <p:nvPr/>
          </p:nvSpPr>
          <p:spPr>
            <a:xfrm>
              <a:off x="3748215" y="3248540"/>
              <a:ext cx="35505" cy="29972"/>
            </a:xfrm>
            <a:custGeom>
              <a:avLst/>
              <a:gdLst/>
              <a:ahLst/>
              <a:cxnLst/>
              <a:rect l="l" t="t" r="r" b="b"/>
              <a:pathLst>
                <a:path w="154" h="130" extrusionOk="0">
                  <a:moveTo>
                    <a:pt x="95" y="48"/>
                  </a:moveTo>
                  <a:lnTo>
                    <a:pt x="95" y="59"/>
                  </a:lnTo>
                  <a:cubicBezTo>
                    <a:pt x="84" y="59"/>
                    <a:pt x="84" y="71"/>
                    <a:pt x="84" y="71"/>
                  </a:cubicBezTo>
                  <a:lnTo>
                    <a:pt x="70" y="82"/>
                  </a:lnTo>
                  <a:lnTo>
                    <a:pt x="48" y="82"/>
                  </a:lnTo>
                  <a:lnTo>
                    <a:pt x="48" y="71"/>
                  </a:lnTo>
                  <a:cubicBezTo>
                    <a:pt x="59" y="71"/>
                    <a:pt x="70" y="59"/>
                    <a:pt x="70" y="59"/>
                  </a:cubicBezTo>
                  <a:cubicBezTo>
                    <a:pt x="84" y="48"/>
                    <a:pt x="95" y="48"/>
                    <a:pt x="95" y="48"/>
                  </a:cubicBezTo>
                  <a:close/>
                  <a:moveTo>
                    <a:pt x="95" y="1"/>
                  </a:moveTo>
                  <a:cubicBezTo>
                    <a:pt x="70" y="1"/>
                    <a:pt x="59" y="12"/>
                    <a:pt x="48" y="12"/>
                  </a:cubicBezTo>
                  <a:cubicBezTo>
                    <a:pt x="48" y="26"/>
                    <a:pt x="37" y="26"/>
                    <a:pt x="37" y="26"/>
                  </a:cubicBezTo>
                  <a:cubicBezTo>
                    <a:pt x="25" y="37"/>
                    <a:pt x="14" y="37"/>
                    <a:pt x="0" y="48"/>
                  </a:cubicBezTo>
                  <a:lnTo>
                    <a:pt x="0" y="59"/>
                  </a:lnTo>
                  <a:lnTo>
                    <a:pt x="0" y="71"/>
                  </a:lnTo>
                  <a:lnTo>
                    <a:pt x="0" y="82"/>
                  </a:lnTo>
                  <a:lnTo>
                    <a:pt x="0" y="96"/>
                  </a:lnTo>
                  <a:lnTo>
                    <a:pt x="0" y="107"/>
                  </a:lnTo>
                  <a:lnTo>
                    <a:pt x="0" y="118"/>
                  </a:lnTo>
                  <a:lnTo>
                    <a:pt x="25" y="129"/>
                  </a:lnTo>
                  <a:lnTo>
                    <a:pt x="59" y="129"/>
                  </a:lnTo>
                  <a:cubicBezTo>
                    <a:pt x="70" y="129"/>
                    <a:pt x="70" y="129"/>
                    <a:pt x="84" y="118"/>
                  </a:cubicBezTo>
                  <a:cubicBezTo>
                    <a:pt x="95" y="118"/>
                    <a:pt x="106" y="118"/>
                    <a:pt x="106" y="107"/>
                  </a:cubicBezTo>
                  <a:cubicBezTo>
                    <a:pt x="118" y="107"/>
                    <a:pt x="118" y="96"/>
                    <a:pt x="118" y="96"/>
                  </a:cubicBezTo>
                  <a:lnTo>
                    <a:pt x="129" y="82"/>
                  </a:lnTo>
                  <a:cubicBezTo>
                    <a:pt x="129" y="82"/>
                    <a:pt x="140" y="82"/>
                    <a:pt x="140" y="71"/>
                  </a:cubicBezTo>
                  <a:cubicBezTo>
                    <a:pt x="140" y="71"/>
                    <a:pt x="154" y="59"/>
                    <a:pt x="154" y="48"/>
                  </a:cubicBezTo>
                  <a:lnTo>
                    <a:pt x="154" y="37"/>
                  </a:lnTo>
                  <a:cubicBezTo>
                    <a:pt x="140" y="26"/>
                    <a:pt x="140" y="26"/>
                    <a:pt x="129" y="26"/>
                  </a:cubicBezTo>
                  <a:cubicBezTo>
                    <a:pt x="129" y="12"/>
                    <a:pt x="118" y="12"/>
                    <a:pt x="118" y="12"/>
                  </a:cubicBezTo>
                  <a:cubicBezTo>
                    <a:pt x="118" y="12"/>
                    <a:pt x="106" y="12"/>
                    <a:pt x="10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97;p17">
              <a:extLst>
                <a:ext uri="{FF2B5EF4-FFF2-40B4-BE49-F238E27FC236}">
                  <a16:creationId xmlns:a16="http://schemas.microsoft.com/office/drawing/2014/main" xmlns="" id="{A3F9B082-7F87-A7E2-D68A-DB44A7282C11}"/>
                </a:ext>
              </a:extLst>
            </p:cNvPr>
            <p:cNvSpPr/>
            <p:nvPr/>
          </p:nvSpPr>
          <p:spPr>
            <a:xfrm>
              <a:off x="3796400" y="3248540"/>
              <a:ext cx="11297" cy="11297"/>
            </a:xfrm>
            <a:custGeom>
              <a:avLst/>
              <a:gdLst/>
              <a:ahLst/>
              <a:cxnLst/>
              <a:rect l="l" t="t" r="r" b="b"/>
              <a:pathLst>
                <a:path w="49" h="49" extrusionOk="0">
                  <a:moveTo>
                    <a:pt x="26" y="1"/>
                  </a:moveTo>
                  <a:cubicBezTo>
                    <a:pt x="15" y="1"/>
                    <a:pt x="15" y="1"/>
                    <a:pt x="1" y="12"/>
                  </a:cubicBezTo>
                  <a:lnTo>
                    <a:pt x="1" y="26"/>
                  </a:lnTo>
                  <a:lnTo>
                    <a:pt x="1" y="37"/>
                  </a:lnTo>
                  <a:cubicBezTo>
                    <a:pt x="1" y="48"/>
                    <a:pt x="15" y="48"/>
                    <a:pt x="26" y="48"/>
                  </a:cubicBezTo>
                  <a:lnTo>
                    <a:pt x="48" y="48"/>
                  </a:lnTo>
                  <a:lnTo>
                    <a:pt x="48" y="37"/>
                  </a:lnTo>
                  <a:lnTo>
                    <a:pt x="48" y="26"/>
                  </a:lnTo>
                  <a:cubicBezTo>
                    <a:pt x="48" y="12"/>
                    <a:pt x="26" y="12"/>
                    <a:pt x="2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98;p17">
              <a:extLst>
                <a:ext uri="{FF2B5EF4-FFF2-40B4-BE49-F238E27FC236}">
                  <a16:creationId xmlns:a16="http://schemas.microsoft.com/office/drawing/2014/main" xmlns="" id="{45176903-843E-5F1B-0450-58D0FEC9EBCD}"/>
                </a:ext>
              </a:extLst>
            </p:cNvPr>
            <p:cNvSpPr/>
            <p:nvPr/>
          </p:nvSpPr>
          <p:spPr>
            <a:xfrm>
              <a:off x="3791328" y="3243468"/>
              <a:ext cx="21441" cy="21442"/>
            </a:xfrm>
            <a:custGeom>
              <a:avLst/>
              <a:gdLst/>
              <a:ahLst/>
              <a:cxnLst/>
              <a:rect l="l" t="t" r="r" b="b"/>
              <a:pathLst>
                <a:path w="93" h="93" extrusionOk="0">
                  <a:moveTo>
                    <a:pt x="37" y="0"/>
                  </a:moveTo>
                  <a:cubicBezTo>
                    <a:pt x="37" y="0"/>
                    <a:pt x="23" y="0"/>
                    <a:pt x="12" y="12"/>
                  </a:cubicBezTo>
                  <a:cubicBezTo>
                    <a:pt x="12" y="12"/>
                    <a:pt x="1" y="23"/>
                    <a:pt x="1" y="34"/>
                  </a:cubicBezTo>
                  <a:lnTo>
                    <a:pt x="1" y="48"/>
                  </a:lnTo>
                  <a:lnTo>
                    <a:pt x="1" y="70"/>
                  </a:lnTo>
                  <a:cubicBezTo>
                    <a:pt x="12" y="81"/>
                    <a:pt x="23" y="93"/>
                    <a:pt x="23" y="93"/>
                  </a:cubicBezTo>
                  <a:lnTo>
                    <a:pt x="59" y="93"/>
                  </a:lnTo>
                  <a:cubicBezTo>
                    <a:pt x="59" y="93"/>
                    <a:pt x="70" y="93"/>
                    <a:pt x="82" y="81"/>
                  </a:cubicBezTo>
                  <a:lnTo>
                    <a:pt x="93" y="70"/>
                  </a:lnTo>
                  <a:lnTo>
                    <a:pt x="93" y="48"/>
                  </a:lnTo>
                  <a:lnTo>
                    <a:pt x="93" y="23"/>
                  </a:lnTo>
                  <a:cubicBezTo>
                    <a:pt x="82" y="23"/>
                    <a:pt x="82" y="12"/>
                    <a:pt x="82" y="12"/>
                  </a:cubicBezTo>
                  <a:lnTo>
                    <a:pt x="59" y="12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99;p17">
              <a:extLst>
                <a:ext uri="{FF2B5EF4-FFF2-40B4-BE49-F238E27FC236}">
                  <a16:creationId xmlns:a16="http://schemas.microsoft.com/office/drawing/2014/main" xmlns="" id="{7DC50F83-9693-9B57-7212-7B0DF87DB98B}"/>
                </a:ext>
              </a:extLst>
            </p:cNvPr>
            <p:cNvSpPr/>
            <p:nvPr/>
          </p:nvSpPr>
          <p:spPr>
            <a:xfrm>
              <a:off x="3815766" y="3238396"/>
              <a:ext cx="42882" cy="21442"/>
            </a:xfrm>
            <a:custGeom>
              <a:avLst/>
              <a:gdLst/>
              <a:ahLst/>
              <a:cxnLst/>
              <a:rect l="l" t="t" r="r" b="b"/>
              <a:pathLst>
                <a:path w="186" h="93" extrusionOk="0">
                  <a:moveTo>
                    <a:pt x="104" y="0"/>
                  </a:moveTo>
                  <a:cubicBezTo>
                    <a:pt x="82" y="0"/>
                    <a:pt x="71" y="0"/>
                    <a:pt x="57" y="11"/>
                  </a:cubicBezTo>
                  <a:lnTo>
                    <a:pt x="46" y="22"/>
                  </a:lnTo>
                  <a:cubicBezTo>
                    <a:pt x="34" y="34"/>
                    <a:pt x="23" y="34"/>
                    <a:pt x="12" y="45"/>
                  </a:cubicBezTo>
                  <a:cubicBezTo>
                    <a:pt x="1" y="56"/>
                    <a:pt x="12" y="70"/>
                    <a:pt x="23" y="81"/>
                  </a:cubicBezTo>
                  <a:cubicBezTo>
                    <a:pt x="23" y="81"/>
                    <a:pt x="46" y="92"/>
                    <a:pt x="57" y="92"/>
                  </a:cubicBezTo>
                  <a:cubicBezTo>
                    <a:pt x="93" y="92"/>
                    <a:pt x="127" y="81"/>
                    <a:pt x="174" y="81"/>
                  </a:cubicBezTo>
                  <a:lnTo>
                    <a:pt x="185" y="81"/>
                  </a:lnTo>
                  <a:lnTo>
                    <a:pt x="185" y="70"/>
                  </a:lnTo>
                  <a:cubicBezTo>
                    <a:pt x="185" y="56"/>
                    <a:pt x="174" y="34"/>
                    <a:pt x="163" y="22"/>
                  </a:cubicBezTo>
                  <a:cubicBezTo>
                    <a:pt x="152" y="22"/>
                    <a:pt x="127" y="22"/>
                    <a:pt x="127" y="11"/>
                  </a:cubicBezTo>
                  <a:lnTo>
                    <a:pt x="11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300;p17">
              <a:extLst>
                <a:ext uri="{FF2B5EF4-FFF2-40B4-BE49-F238E27FC236}">
                  <a16:creationId xmlns:a16="http://schemas.microsoft.com/office/drawing/2014/main" xmlns="" id="{848DFFF3-50A4-2969-E6CB-C2931185E90E}"/>
                </a:ext>
              </a:extLst>
            </p:cNvPr>
            <p:cNvSpPr/>
            <p:nvPr/>
          </p:nvSpPr>
          <p:spPr>
            <a:xfrm>
              <a:off x="3812538" y="3232401"/>
              <a:ext cx="51874" cy="32508"/>
            </a:xfrm>
            <a:custGeom>
              <a:avLst/>
              <a:gdLst/>
              <a:ahLst/>
              <a:cxnLst/>
              <a:rect l="l" t="t" r="r" b="b"/>
              <a:pathLst>
                <a:path w="225" h="141" extrusionOk="0">
                  <a:moveTo>
                    <a:pt x="118" y="48"/>
                  </a:moveTo>
                  <a:cubicBezTo>
                    <a:pt x="129" y="60"/>
                    <a:pt x="141" y="60"/>
                    <a:pt x="141" y="71"/>
                  </a:cubicBezTo>
                  <a:lnTo>
                    <a:pt x="166" y="71"/>
                  </a:lnTo>
                  <a:cubicBezTo>
                    <a:pt x="166" y="71"/>
                    <a:pt x="170" y="75"/>
                    <a:pt x="173" y="82"/>
                  </a:cubicBezTo>
                  <a:lnTo>
                    <a:pt x="166" y="82"/>
                  </a:lnTo>
                  <a:cubicBezTo>
                    <a:pt x="129" y="82"/>
                    <a:pt x="107" y="96"/>
                    <a:pt x="71" y="96"/>
                  </a:cubicBezTo>
                  <a:cubicBezTo>
                    <a:pt x="60" y="96"/>
                    <a:pt x="48" y="82"/>
                    <a:pt x="48" y="82"/>
                  </a:cubicBezTo>
                  <a:lnTo>
                    <a:pt x="60" y="82"/>
                  </a:lnTo>
                  <a:cubicBezTo>
                    <a:pt x="60" y="71"/>
                    <a:pt x="71" y="71"/>
                    <a:pt x="85" y="60"/>
                  </a:cubicBezTo>
                  <a:lnTo>
                    <a:pt x="96" y="48"/>
                  </a:lnTo>
                  <a:close/>
                  <a:moveTo>
                    <a:pt x="71" y="1"/>
                  </a:moveTo>
                  <a:cubicBezTo>
                    <a:pt x="60" y="1"/>
                    <a:pt x="60" y="12"/>
                    <a:pt x="48" y="26"/>
                  </a:cubicBezTo>
                  <a:lnTo>
                    <a:pt x="37" y="37"/>
                  </a:lnTo>
                  <a:cubicBezTo>
                    <a:pt x="26" y="37"/>
                    <a:pt x="15" y="48"/>
                    <a:pt x="1" y="60"/>
                  </a:cubicBezTo>
                  <a:lnTo>
                    <a:pt x="1" y="82"/>
                  </a:lnTo>
                  <a:cubicBezTo>
                    <a:pt x="1" y="96"/>
                    <a:pt x="1" y="107"/>
                    <a:pt x="15" y="118"/>
                  </a:cubicBezTo>
                  <a:cubicBezTo>
                    <a:pt x="37" y="141"/>
                    <a:pt x="48" y="141"/>
                    <a:pt x="71" y="141"/>
                  </a:cubicBezTo>
                  <a:cubicBezTo>
                    <a:pt x="107" y="141"/>
                    <a:pt x="141" y="129"/>
                    <a:pt x="166" y="129"/>
                  </a:cubicBezTo>
                  <a:lnTo>
                    <a:pt x="211" y="129"/>
                  </a:lnTo>
                  <a:lnTo>
                    <a:pt x="225" y="107"/>
                  </a:lnTo>
                  <a:lnTo>
                    <a:pt x="225" y="96"/>
                  </a:lnTo>
                  <a:cubicBezTo>
                    <a:pt x="225" y="60"/>
                    <a:pt x="211" y="37"/>
                    <a:pt x="177" y="26"/>
                  </a:cubicBezTo>
                  <a:lnTo>
                    <a:pt x="155" y="26"/>
                  </a:lnTo>
                  <a:lnTo>
                    <a:pt x="155" y="12"/>
                  </a:lnTo>
                  <a:lnTo>
                    <a:pt x="141" y="12"/>
                  </a:lnTo>
                  <a:cubicBezTo>
                    <a:pt x="129" y="1"/>
                    <a:pt x="118" y="1"/>
                    <a:pt x="11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301;p17">
              <a:extLst>
                <a:ext uri="{FF2B5EF4-FFF2-40B4-BE49-F238E27FC236}">
                  <a16:creationId xmlns:a16="http://schemas.microsoft.com/office/drawing/2014/main" xmlns="" id="{1B956D53-CE7D-165E-25A5-8B0AB84D34ED}"/>
                </a:ext>
              </a:extLst>
            </p:cNvPr>
            <p:cNvSpPr/>
            <p:nvPr/>
          </p:nvSpPr>
          <p:spPr>
            <a:xfrm>
              <a:off x="3501294" y="3453041"/>
              <a:ext cx="13602" cy="14756"/>
            </a:xfrm>
            <a:custGeom>
              <a:avLst/>
              <a:gdLst/>
              <a:ahLst/>
              <a:cxnLst/>
              <a:rect l="l" t="t" r="r" b="b"/>
              <a:pathLst>
                <a:path w="59" h="64" extrusionOk="0">
                  <a:moveTo>
                    <a:pt x="0" y="0"/>
                  </a:moveTo>
                  <a:lnTo>
                    <a:pt x="0" y="11"/>
                  </a:lnTo>
                  <a:cubicBezTo>
                    <a:pt x="0" y="23"/>
                    <a:pt x="11" y="48"/>
                    <a:pt x="23" y="59"/>
                  </a:cubicBezTo>
                  <a:cubicBezTo>
                    <a:pt x="32" y="59"/>
                    <a:pt x="35" y="64"/>
                    <a:pt x="39" y="64"/>
                  </a:cubicBezTo>
                  <a:cubicBezTo>
                    <a:pt x="42" y="64"/>
                    <a:pt x="44" y="63"/>
                    <a:pt x="48" y="59"/>
                  </a:cubicBezTo>
                  <a:cubicBezTo>
                    <a:pt x="59" y="59"/>
                    <a:pt x="59" y="34"/>
                    <a:pt x="59" y="23"/>
                  </a:cubicBezTo>
                  <a:cubicBezTo>
                    <a:pt x="48" y="11"/>
                    <a:pt x="37" y="0"/>
                    <a:pt x="2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302;p17">
              <a:extLst>
                <a:ext uri="{FF2B5EF4-FFF2-40B4-BE49-F238E27FC236}">
                  <a16:creationId xmlns:a16="http://schemas.microsoft.com/office/drawing/2014/main" xmlns="" id="{97B229DB-24A0-7F23-4380-0ADAAD527A07}"/>
                </a:ext>
              </a:extLst>
            </p:cNvPr>
            <p:cNvSpPr/>
            <p:nvPr/>
          </p:nvSpPr>
          <p:spPr>
            <a:xfrm>
              <a:off x="3495992" y="3447738"/>
              <a:ext cx="24208" cy="24208"/>
            </a:xfrm>
            <a:custGeom>
              <a:avLst/>
              <a:gdLst/>
              <a:ahLst/>
              <a:cxnLst/>
              <a:rect l="l" t="t" r="r" b="b"/>
              <a:pathLst>
                <a:path w="105" h="105" extrusionOk="0">
                  <a:moveTo>
                    <a:pt x="23" y="1"/>
                  </a:moveTo>
                  <a:lnTo>
                    <a:pt x="12" y="12"/>
                  </a:lnTo>
                  <a:lnTo>
                    <a:pt x="1" y="23"/>
                  </a:lnTo>
                  <a:lnTo>
                    <a:pt x="1" y="34"/>
                  </a:lnTo>
                  <a:cubicBezTo>
                    <a:pt x="1" y="57"/>
                    <a:pt x="12" y="82"/>
                    <a:pt x="34" y="104"/>
                  </a:cubicBezTo>
                  <a:lnTo>
                    <a:pt x="93" y="104"/>
                  </a:lnTo>
                  <a:cubicBezTo>
                    <a:pt x="93" y="93"/>
                    <a:pt x="104" y="82"/>
                    <a:pt x="104" y="57"/>
                  </a:cubicBezTo>
                  <a:cubicBezTo>
                    <a:pt x="104" y="57"/>
                    <a:pt x="104" y="46"/>
                    <a:pt x="93" y="46"/>
                  </a:cubicBezTo>
                  <a:cubicBezTo>
                    <a:pt x="93" y="23"/>
                    <a:pt x="71" y="12"/>
                    <a:pt x="6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303;p17">
              <a:extLst>
                <a:ext uri="{FF2B5EF4-FFF2-40B4-BE49-F238E27FC236}">
                  <a16:creationId xmlns:a16="http://schemas.microsoft.com/office/drawing/2014/main" xmlns="" id="{58E96371-CE1F-3586-396E-86B93A2D9779}"/>
                </a:ext>
              </a:extLst>
            </p:cNvPr>
            <p:cNvSpPr/>
            <p:nvPr/>
          </p:nvSpPr>
          <p:spPr>
            <a:xfrm>
              <a:off x="3697263" y="3485088"/>
              <a:ext cx="18905" cy="27436"/>
            </a:xfrm>
            <a:custGeom>
              <a:avLst/>
              <a:gdLst/>
              <a:ahLst/>
              <a:cxnLst/>
              <a:rect l="l" t="t" r="r" b="b"/>
              <a:pathLst>
                <a:path w="82" h="119" extrusionOk="0">
                  <a:moveTo>
                    <a:pt x="25" y="1"/>
                  </a:moveTo>
                  <a:lnTo>
                    <a:pt x="11" y="12"/>
                  </a:lnTo>
                  <a:cubicBezTo>
                    <a:pt x="11" y="12"/>
                    <a:pt x="0" y="23"/>
                    <a:pt x="0" y="35"/>
                  </a:cubicBezTo>
                  <a:lnTo>
                    <a:pt x="11" y="49"/>
                  </a:lnTo>
                  <a:cubicBezTo>
                    <a:pt x="25" y="60"/>
                    <a:pt x="25" y="71"/>
                    <a:pt x="25" y="93"/>
                  </a:cubicBezTo>
                  <a:cubicBezTo>
                    <a:pt x="25" y="93"/>
                    <a:pt x="25" y="104"/>
                    <a:pt x="37" y="118"/>
                  </a:cubicBezTo>
                  <a:lnTo>
                    <a:pt x="59" y="118"/>
                  </a:lnTo>
                  <a:cubicBezTo>
                    <a:pt x="59" y="118"/>
                    <a:pt x="70" y="104"/>
                    <a:pt x="70" y="93"/>
                  </a:cubicBezTo>
                  <a:cubicBezTo>
                    <a:pt x="81" y="82"/>
                    <a:pt x="70" y="49"/>
                    <a:pt x="70" y="35"/>
                  </a:cubicBezTo>
                  <a:cubicBezTo>
                    <a:pt x="59" y="23"/>
                    <a:pt x="59" y="12"/>
                    <a:pt x="59" y="12"/>
                  </a:cubicBezTo>
                  <a:cubicBezTo>
                    <a:pt x="48" y="1"/>
                    <a:pt x="37" y="1"/>
                    <a:pt x="2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304;p17">
              <a:extLst>
                <a:ext uri="{FF2B5EF4-FFF2-40B4-BE49-F238E27FC236}">
                  <a16:creationId xmlns:a16="http://schemas.microsoft.com/office/drawing/2014/main" xmlns="" id="{F2A40ECE-9D50-6E4C-25C8-92CB580638F2}"/>
                </a:ext>
              </a:extLst>
            </p:cNvPr>
            <p:cNvSpPr/>
            <p:nvPr/>
          </p:nvSpPr>
          <p:spPr>
            <a:xfrm>
              <a:off x="3691960" y="3480016"/>
              <a:ext cx="27435" cy="37580"/>
            </a:xfrm>
            <a:custGeom>
              <a:avLst/>
              <a:gdLst/>
              <a:ahLst/>
              <a:cxnLst/>
              <a:rect l="l" t="t" r="r" b="b"/>
              <a:pathLst>
                <a:path w="119" h="163" extrusionOk="0">
                  <a:moveTo>
                    <a:pt x="60" y="45"/>
                  </a:moveTo>
                  <a:lnTo>
                    <a:pt x="71" y="57"/>
                  </a:lnTo>
                  <a:lnTo>
                    <a:pt x="71" y="93"/>
                  </a:lnTo>
                  <a:lnTo>
                    <a:pt x="71" y="104"/>
                  </a:lnTo>
                  <a:cubicBezTo>
                    <a:pt x="71" y="93"/>
                    <a:pt x="71" y="71"/>
                    <a:pt x="60" y="45"/>
                  </a:cubicBezTo>
                  <a:close/>
                  <a:moveTo>
                    <a:pt x="48" y="1"/>
                  </a:moveTo>
                  <a:cubicBezTo>
                    <a:pt x="34" y="1"/>
                    <a:pt x="23" y="12"/>
                    <a:pt x="23" y="12"/>
                  </a:cubicBezTo>
                  <a:lnTo>
                    <a:pt x="12" y="23"/>
                  </a:lnTo>
                  <a:cubicBezTo>
                    <a:pt x="12" y="34"/>
                    <a:pt x="1" y="34"/>
                    <a:pt x="1" y="45"/>
                  </a:cubicBezTo>
                  <a:lnTo>
                    <a:pt x="1" y="57"/>
                  </a:lnTo>
                  <a:cubicBezTo>
                    <a:pt x="12" y="71"/>
                    <a:pt x="12" y="82"/>
                    <a:pt x="12" y="82"/>
                  </a:cubicBezTo>
                  <a:lnTo>
                    <a:pt x="23" y="82"/>
                  </a:lnTo>
                  <a:lnTo>
                    <a:pt x="23" y="104"/>
                  </a:lnTo>
                  <a:lnTo>
                    <a:pt x="23" y="115"/>
                  </a:lnTo>
                  <a:cubicBezTo>
                    <a:pt x="23" y="126"/>
                    <a:pt x="23" y="140"/>
                    <a:pt x="34" y="152"/>
                  </a:cubicBezTo>
                  <a:cubicBezTo>
                    <a:pt x="48" y="163"/>
                    <a:pt x="60" y="163"/>
                    <a:pt x="71" y="163"/>
                  </a:cubicBezTo>
                  <a:lnTo>
                    <a:pt x="82" y="163"/>
                  </a:lnTo>
                  <a:cubicBezTo>
                    <a:pt x="104" y="152"/>
                    <a:pt x="104" y="140"/>
                    <a:pt x="118" y="126"/>
                  </a:cubicBezTo>
                  <a:lnTo>
                    <a:pt x="118" y="93"/>
                  </a:lnTo>
                  <a:lnTo>
                    <a:pt x="118" y="45"/>
                  </a:lnTo>
                  <a:cubicBezTo>
                    <a:pt x="104" y="34"/>
                    <a:pt x="104" y="23"/>
                    <a:pt x="93" y="12"/>
                  </a:cubicBezTo>
                  <a:cubicBezTo>
                    <a:pt x="82" y="1"/>
                    <a:pt x="71" y="1"/>
                    <a:pt x="6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305;p17">
              <a:extLst>
                <a:ext uri="{FF2B5EF4-FFF2-40B4-BE49-F238E27FC236}">
                  <a16:creationId xmlns:a16="http://schemas.microsoft.com/office/drawing/2014/main" xmlns="" id="{9F610C1B-1B99-BFE8-24D2-3605934780B5}"/>
                </a:ext>
              </a:extLst>
            </p:cNvPr>
            <p:cNvSpPr/>
            <p:nvPr/>
          </p:nvSpPr>
          <p:spPr>
            <a:xfrm>
              <a:off x="3735304" y="3487855"/>
              <a:ext cx="13141" cy="13603"/>
            </a:xfrm>
            <a:custGeom>
              <a:avLst/>
              <a:gdLst/>
              <a:ahLst/>
              <a:cxnLst/>
              <a:rect l="l" t="t" r="r" b="b"/>
              <a:pathLst>
                <a:path w="57" h="59" extrusionOk="0">
                  <a:moveTo>
                    <a:pt x="11" y="0"/>
                  </a:moveTo>
                  <a:lnTo>
                    <a:pt x="0" y="11"/>
                  </a:lnTo>
                  <a:lnTo>
                    <a:pt x="0" y="23"/>
                  </a:lnTo>
                  <a:cubicBezTo>
                    <a:pt x="0" y="37"/>
                    <a:pt x="11" y="37"/>
                    <a:pt x="11" y="48"/>
                  </a:cubicBezTo>
                  <a:lnTo>
                    <a:pt x="23" y="59"/>
                  </a:lnTo>
                  <a:lnTo>
                    <a:pt x="34" y="59"/>
                  </a:lnTo>
                  <a:cubicBezTo>
                    <a:pt x="45" y="59"/>
                    <a:pt x="45" y="48"/>
                    <a:pt x="45" y="37"/>
                  </a:cubicBezTo>
                  <a:cubicBezTo>
                    <a:pt x="56" y="37"/>
                    <a:pt x="56" y="23"/>
                    <a:pt x="56" y="11"/>
                  </a:cubicBezTo>
                  <a:cubicBezTo>
                    <a:pt x="56" y="11"/>
                    <a:pt x="45" y="11"/>
                    <a:pt x="4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8" name="Google Shape;306;p17">
              <a:extLst>
                <a:ext uri="{FF2B5EF4-FFF2-40B4-BE49-F238E27FC236}">
                  <a16:creationId xmlns:a16="http://schemas.microsoft.com/office/drawing/2014/main" xmlns="" id="{511C63A4-1A99-4A2F-A0CE-637858769E9F}"/>
                </a:ext>
              </a:extLst>
            </p:cNvPr>
            <p:cNvSpPr/>
            <p:nvPr/>
          </p:nvSpPr>
          <p:spPr>
            <a:xfrm>
              <a:off x="3729540" y="3482552"/>
              <a:ext cx="24669" cy="24208"/>
            </a:xfrm>
            <a:custGeom>
              <a:avLst/>
              <a:gdLst/>
              <a:ahLst/>
              <a:cxnLst/>
              <a:rect l="l" t="t" r="r" b="b"/>
              <a:pathLst>
                <a:path w="107" h="105" extrusionOk="0">
                  <a:moveTo>
                    <a:pt x="59" y="46"/>
                  </a:moveTo>
                  <a:lnTo>
                    <a:pt x="59" y="60"/>
                  </a:lnTo>
                  <a:lnTo>
                    <a:pt x="48" y="46"/>
                  </a:lnTo>
                  <a:close/>
                  <a:moveTo>
                    <a:pt x="36" y="1"/>
                  </a:moveTo>
                  <a:cubicBezTo>
                    <a:pt x="25" y="1"/>
                    <a:pt x="25" y="1"/>
                    <a:pt x="11" y="12"/>
                  </a:cubicBezTo>
                  <a:lnTo>
                    <a:pt x="11" y="23"/>
                  </a:lnTo>
                  <a:lnTo>
                    <a:pt x="0" y="34"/>
                  </a:lnTo>
                  <a:lnTo>
                    <a:pt x="0" y="46"/>
                  </a:lnTo>
                  <a:cubicBezTo>
                    <a:pt x="0" y="71"/>
                    <a:pt x="11" y="71"/>
                    <a:pt x="25" y="82"/>
                  </a:cubicBezTo>
                  <a:cubicBezTo>
                    <a:pt x="25" y="82"/>
                    <a:pt x="25" y="93"/>
                    <a:pt x="36" y="93"/>
                  </a:cubicBezTo>
                  <a:cubicBezTo>
                    <a:pt x="36" y="104"/>
                    <a:pt x="48" y="104"/>
                    <a:pt x="59" y="104"/>
                  </a:cubicBezTo>
                  <a:lnTo>
                    <a:pt x="70" y="104"/>
                  </a:lnTo>
                  <a:cubicBezTo>
                    <a:pt x="81" y="104"/>
                    <a:pt x="81" y="93"/>
                    <a:pt x="95" y="82"/>
                  </a:cubicBezTo>
                  <a:lnTo>
                    <a:pt x="95" y="71"/>
                  </a:lnTo>
                  <a:cubicBezTo>
                    <a:pt x="95" y="71"/>
                    <a:pt x="106" y="60"/>
                    <a:pt x="106" y="46"/>
                  </a:cubicBezTo>
                  <a:lnTo>
                    <a:pt x="106" y="34"/>
                  </a:lnTo>
                  <a:cubicBezTo>
                    <a:pt x="106" y="23"/>
                    <a:pt x="95" y="12"/>
                    <a:pt x="81" y="12"/>
                  </a:cubicBezTo>
                  <a:cubicBezTo>
                    <a:pt x="70" y="1"/>
                    <a:pt x="70" y="1"/>
                    <a:pt x="5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9" name="Google Shape;307;p17">
              <a:extLst>
                <a:ext uri="{FF2B5EF4-FFF2-40B4-BE49-F238E27FC236}">
                  <a16:creationId xmlns:a16="http://schemas.microsoft.com/office/drawing/2014/main" xmlns="" id="{C761EE5F-F6E2-4215-3501-54FA07E6B9CE}"/>
                </a:ext>
              </a:extLst>
            </p:cNvPr>
            <p:cNvSpPr/>
            <p:nvPr/>
          </p:nvSpPr>
          <p:spPr>
            <a:xfrm>
              <a:off x="3753978" y="3439439"/>
              <a:ext cx="99367" cy="80694"/>
            </a:xfrm>
            <a:custGeom>
              <a:avLst/>
              <a:gdLst/>
              <a:ahLst/>
              <a:cxnLst/>
              <a:rect l="l" t="t" r="r" b="b"/>
              <a:pathLst>
                <a:path w="431" h="350" extrusionOk="0">
                  <a:moveTo>
                    <a:pt x="269" y="0"/>
                  </a:moveTo>
                  <a:cubicBezTo>
                    <a:pt x="244" y="0"/>
                    <a:pt x="221" y="0"/>
                    <a:pt x="210" y="23"/>
                  </a:cubicBezTo>
                  <a:lnTo>
                    <a:pt x="210" y="48"/>
                  </a:lnTo>
                  <a:cubicBezTo>
                    <a:pt x="210" y="59"/>
                    <a:pt x="199" y="70"/>
                    <a:pt x="199" y="70"/>
                  </a:cubicBezTo>
                  <a:cubicBezTo>
                    <a:pt x="194" y="73"/>
                    <a:pt x="189" y="74"/>
                    <a:pt x="185" y="74"/>
                  </a:cubicBezTo>
                  <a:cubicBezTo>
                    <a:pt x="173" y="74"/>
                    <a:pt x="165" y="67"/>
                    <a:pt x="159" y="67"/>
                  </a:cubicBezTo>
                  <a:cubicBezTo>
                    <a:pt x="156" y="67"/>
                    <a:pt x="154" y="68"/>
                    <a:pt x="151" y="70"/>
                  </a:cubicBezTo>
                  <a:cubicBezTo>
                    <a:pt x="140" y="70"/>
                    <a:pt x="129" y="93"/>
                    <a:pt x="140" y="107"/>
                  </a:cubicBezTo>
                  <a:lnTo>
                    <a:pt x="129" y="118"/>
                  </a:lnTo>
                  <a:lnTo>
                    <a:pt x="115" y="118"/>
                  </a:lnTo>
                  <a:cubicBezTo>
                    <a:pt x="104" y="118"/>
                    <a:pt x="81" y="107"/>
                    <a:pt x="59" y="107"/>
                  </a:cubicBezTo>
                  <a:cubicBezTo>
                    <a:pt x="45" y="107"/>
                    <a:pt x="23" y="118"/>
                    <a:pt x="12" y="129"/>
                  </a:cubicBezTo>
                  <a:cubicBezTo>
                    <a:pt x="0" y="151"/>
                    <a:pt x="0" y="177"/>
                    <a:pt x="12" y="199"/>
                  </a:cubicBezTo>
                  <a:cubicBezTo>
                    <a:pt x="12" y="210"/>
                    <a:pt x="23" y="221"/>
                    <a:pt x="23" y="233"/>
                  </a:cubicBezTo>
                  <a:cubicBezTo>
                    <a:pt x="45" y="258"/>
                    <a:pt x="34" y="291"/>
                    <a:pt x="59" y="316"/>
                  </a:cubicBezTo>
                  <a:cubicBezTo>
                    <a:pt x="70" y="328"/>
                    <a:pt x="81" y="339"/>
                    <a:pt x="93" y="339"/>
                  </a:cubicBezTo>
                  <a:lnTo>
                    <a:pt x="151" y="339"/>
                  </a:lnTo>
                  <a:cubicBezTo>
                    <a:pt x="163" y="339"/>
                    <a:pt x="174" y="350"/>
                    <a:pt x="199" y="350"/>
                  </a:cubicBezTo>
                  <a:cubicBezTo>
                    <a:pt x="210" y="328"/>
                    <a:pt x="210" y="302"/>
                    <a:pt x="210" y="280"/>
                  </a:cubicBezTo>
                  <a:cubicBezTo>
                    <a:pt x="210" y="269"/>
                    <a:pt x="199" y="258"/>
                    <a:pt x="199" y="233"/>
                  </a:cubicBezTo>
                  <a:lnTo>
                    <a:pt x="210" y="221"/>
                  </a:lnTo>
                  <a:cubicBezTo>
                    <a:pt x="210" y="210"/>
                    <a:pt x="221" y="210"/>
                    <a:pt x="221" y="199"/>
                  </a:cubicBezTo>
                  <a:lnTo>
                    <a:pt x="244" y="199"/>
                  </a:lnTo>
                  <a:cubicBezTo>
                    <a:pt x="255" y="210"/>
                    <a:pt x="255" y="221"/>
                    <a:pt x="255" y="233"/>
                  </a:cubicBezTo>
                  <a:cubicBezTo>
                    <a:pt x="269" y="247"/>
                    <a:pt x="280" y="247"/>
                    <a:pt x="302" y="258"/>
                  </a:cubicBezTo>
                  <a:lnTo>
                    <a:pt x="314" y="247"/>
                  </a:lnTo>
                  <a:cubicBezTo>
                    <a:pt x="314" y="233"/>
                    <a:pt x="325" y="233"/>
                    <a:pt x="325" y="221"/>
                  </a:cubicBezTo>
                  <a:lnTo>
                    <a:pt x="325" y="199"/>
                  </a:lnTo>
                  <a:cubicBezTo>
                    <a:pt x="339" y="199"/>
                    <a:pt x="361" y="210"/>
                    <a:pt x="372" y="210"/>
                  </a:cubicBezTo>
                  <a:cubicBezTo>
                    <a:pt x="383" y="199"/>
                    <a:pt x="383" y="188"/>
                    <a:pt x="395" y="188"/>
                  </a:cubicBezTo>
                  <a:cubicBezTo>
                    <a:pt x="395" y="188"/>
                    <a:pt x="409" y="188"/>
                    <a:pt x="409" y="177"/>
                  </a:cubicBezTo>
                  <a:cubicBezTo>
                    <a:pt x="420" y="177"/>
                    <a:pt x="431" y="151"/>
                    <a:pt x="420" y="140"/>
                  </a:cubicBezTo>
                  <a:cubicBezTo>
                    <a:pt x="420" y="118"/>
                    <a:pt x="409" y="107"/>
                    <a:pt x="395" y="93"/>
                  </a:cubicBezTo>
                  <a:cubicBezTo>
                    <a:pt x="383" y="93"/>
                    <a:pt x="372" y="93"/>
                    <a:pt x="372" y="82"/>
                  </a:cubicBezTo>
                  <a:lnTo>
                    <a:pt x="361" y="70"/>
                  </a:lnTo>
                  <a:cubicBezTo>
                    <a:pt x="350" y="48"/>
                    <a:pt x="339" y="37"/>
                    <a:pt x="314" y="23"/>
                  </a:cubicBezTo>
                  <a:cubicBezTo>
                    <a:pt x="302" y="12"/>
                    <a:pt x="280" y="0"/>
                    <a:pt x="26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308;p17">
              <a:extLst>
                <a:ext uri="{FF2B5EF4-FFF2-40B4-BE49-F238E27FC236}">
                  <a16:creationId xmlns:a16="http://schemas.microsoft.com/office/drawing/2014/main" xmlns="" id="{A8034537-D61C-C6B6-7ECD-075137C435D7}"/>
                </a:ext>
              </a:extLst>
            </p:cNvPr>
            <p:cNvSpPr/>
            <p:nvPr/>
          </p:nvSpPr>
          <p:spPr>
            <a:xfrm>
              <a:off x="3748215" y="3434366"/>
              <a:ext cx="110433" cy="91069"/>
            </a:xfrm>
            <a:custGeom>
              <a:avLst/>
              <a:gdLst/>
              <a:ahLst/>
              <a:cxnLst/>
              <a:rect l="l" t="t" r="r" b="b"/>
              <a:pathLst>
                <a:path w="479" h="395" extrusionOk="0">
                  <a:moveTo>
                    <a:pt x="280" y="45"/>
                  </a:moveTo>
                  <a:cubicBezTo>
                    <a:pt x="305" y="45"/>
                    <a:pt x="316" y="59"/>
                    <a:pt x="327" y="70"/>
                  </a:cubicBezTo>
                  <a:cubicBezTo>
                    <a:pt x="339" y="81"/>
                    <a:pt x="350" y="92"/>
                    <a:pt x="364" y="104"/>
                  </a:cubicBezTo>
                  <a:cubicBezTo>
                    <a:pt x="364" y="104"/>
                    <a:pt x="375" y="115"/>
                    <a:pt x="386" y="129"/>
                  </a:cubicBezTo>
                  <a:cubicBezTo>
                    <a:pt x="386" y="140"/>
                    <a:pt x="397" y="140"/>
                    <a:pt x="408" y="140"/>
                  </a:cubicBezTo>
                  <a:cubicBezTo>
                    <a:pt x="420" y="151"/>
                    <a:pt x="420" y="162"/>
                    <a:pt x="434" y="162"/>
                  </a:cubicBezTo>
                  <a:lnTo>
                    <a:pt x="434" y="173"/>
                  </a:lnTo>
                  <a:lnTo>
                    <a:pt x="420" y="185"/>
                  </a:lnTo>
                  <a:lnTo>
                    <a:pt x="408" y="185"/>
                  </a:lnTo>
                  <a:lnTo>
                    <a:pt x="397" y="199"/>
                  </a:lnTo>
                  <a:lnTo>
                    <a:pt x="389" y="207"/>
                  </a:lnTo>
                  <a:lnTo>
                    <a:pt x="389" y="207"/>
                  </a:lnTo>
                  <a:cubicBezTo>
                    <a:pt x="387" y="205"/>
                    <a:pt x="386" y="203"/>
                    <a:pt x="386" y="199"/>
                  </a:cubicBezTo>
                  <a:lnTo>
                    <a:pt x="364" y="199"/>
                  </a:lnTo>
                  <a:cubicBezTo>
                    <a:pt x="350" y="199"/>
                    <a:pt x="350" y="199"/>
                    <a:pt x="339" y="210"/>
                  </a:cubicBezTo>
                  <a:lnTo>
                    <a:pt x="327" y="221"/>
                  </a:lnTo>
                  <a:lnTo>
                    <a:pt x="327" y="232"/>
                  </a:lnTo>
                  <a:lnTo>
                    <a:pt x="327" y="243"/>
                  </a:lnTo>
                  <a:cubicBezTo>
                    <a:pt x="327" y="243"/>
                    <a:pt x="327" y="248"/>
                    <a:pt x="324" y="251"/>
                  </a:cubicBezTo>
                  <a:lnTo>
                    <a:pt x="324" y="251"/>
                  </a:lnTo>
                  <a:cubicBezTo>
                    <a:pt x="316" y="243"/>
                    <a:pt x="315" y="243"/>
                    <a:pt x="305" y="243"/>
                  </a:cubicBezTo>
                  <a:lnTo>
                    <a:pt x="305" y="232"/>
                  </a:lnTo>
                  <a:cubicBezTo>
                    <a:pt x="294" y="221"/>
                    <a:pt x="294" y="210"/>
                    <a:pt x="280" y="199"/>
                  </a:cubicBezTo>
                  <a:lnTo>
                    <a:pt x="257" y="199"/>
                  </a:lnTo>
                  <a:cubicBezTo>
                    <a:pt x="246" y="199"/>
                    <a:pt x="246" y="199"/>
                    <a:pt x="235" y="210"/>
                  </a:cubicBezTo>
                  <a:cubicBezTo>
                    <a:pt x="224" y="210"/>
                    <a:pt x="224" y="221"/>
                    <a:pt x="210" y="232"/>
                  </a:cubicBezTo>
                  <a:cubicBezTo>
                    <a:pt x="210" y="232"/>
                    <a:pt x="210" y="243"/>
                    <a:pt x="199" y="255"/>
                  </a:cubicBezTo>
                  <a:lnTo>
                    <a:pt x="199" y="269"/>
                  </a:lnTo>
                  <a:cubicBezTo>
                    <a:pt x="199" y="291"/>
                    <a:pt x="210" y="302"/>
                    <a:pt x="210" y="313"/>
                  </a:cubicBezTo>
                  <a:lnTo>
                    <a:pt x="210" y="324"/>
                  </a:lnTo>
                  <a:cubicBezTo>
                    <a:pt x="210" y="335"/>
                    <a:pt x="210" y="343"/>
                    <a:pt x="205" y="347"/>
                  </a:cubicBezTo>
                  <a:lnTo>
                    <a:pt x="205" y="347"/>
                  </a:lnTo>
                  <a:cubicBezTo>
                    <a:pt x="192" y="344"/>
                    <a:pt x="184" y="338"/>
                    <a:pt x="176" y="338"/>
                  </a:cubicBezTo>
                  <a:lnTo>
                    <a:pt x="129" y="338"/>
                  </a:lnTo>
                  <a:cubicBezTo>
                    <a:pt x="118" y="338"/>
                    <a:pt x="106" y="324"/>
                    <a:pt x="95" y="324"/>
                  </a:cubicBezTo>
                  <a:cubicBezTo>
                    <a:pt x="95" y="313"/>
                    <a:pt x="95" y="302"/>
                    <a:pt x="84" y="291"/>
                  </a:cubicBezTo>
                  <a:cubicBezTo>
                    <a:pt x="84" y="280"/>
                    <a:pt x="84" y="255"/>
                    <a:pt x="70" y="243"/>
                  </a:cubicBezTo>
                  <a:cubicBezTo>
                    <a:pt x="59" y="221"/>
                    <a:pt x="59" y="221"/>
                    <a:pt x="48" y="210"/>
                  </a:cubicBezTo>
                  <a:lnTo>
                    <a:pt x="48" y="185"/>
                  </a:lnTo>
                  <a:cubicBezTo>
                    <a:pt x="48" y="185"/>
                    <a:pt x="48" y="173"/>
                    <a:pt x="59" y="162"/>
                  </a:cubicBezTo>
                  <a:cubicBezTo>
                    <a:pt x="59" y="151"/>
                    <a:pt x="70" y="151"/>
                    <a:pt x="84" y="151"/>
                  </a:cubicBezTo>
                  <a:lnTo>
                    <a:pt x="106" y="151"/>
                  </a:lnTo>
                  <a:cubicBezTo>
                    <a:pt x="118" y="162"/>
                    <a:pt x="129" y="162"/>
                    <a:pt x="140" y="162"/>
                  </a:cubicBezTo>
                  <a:lnTo>
                    <a:pt x="165" y="162"/>
                  </a:lnTo>
                  <a:lnTo>
                    <a:pt x="176" y="151"/>
                  </a:lnTo>
                  <a:lnTo>
                    <a:pt x="176" y="140"/>
                  </a:lnTo>
                  <a:cubicBezTo>
                    <a:pt x="188" y="140"/>
                    <a:pt x="188" y="129"/>
                    <a:pt x="188" y="129"/>
                  </a:cubicBezTo>
                  <a:lnTo>
                    <a:pt x="188" y="115"/>
                  </a:lnTo>
                  <a:lnTo>
                    <a:pt x="224" y="115"/>
                  </a:lnTo>
                  <a:cubicBezTo>
                    <a:pt x="235" y="115"/>
                    <a:pt x="246" y="104"/>
                    <a:pt x="246" y="92"/>
                  </a:cubicBezTo>
                  <a:cubicBezTo>
                    <a:pt x="257" y="92"/>
                    <a:pt x="257" y="81"/>
                    <a:pt x="257" y="81"/>
                  </a:cubicBezTo>
                  <a:lnTo>
                    <a:pt x="257" y="59"/>
                  </a:lnTo>
                  <a:lnTo>
                    <a:pt x="269" y="45"/>
                  </a:lnTo>
                  <a:close/>
                  <a:moveTo>
                    <a:pt x="280" y="0"/>
                  </a:moveTo>
                  <a:cubicBezTo>
                    <a:pt x="269" y="0"/>
                    <a:pt x="257" y="0"/>
                    <a:pt x="246" y="11"/>
                  </a:cubicBezTo>
                  <a:cubicBezTo>
                    <a:pt x="235" y="11"/>
                    <a:pt x="224" y="22"/>
                    <a:pt x="224" y="34"/>
                  </a:cubicBezTo>
                  <a:cubicBezTo>
                    <a:pt x="210" y="45"/>
                    <a:pt x="210" y="59"/>
                    <a:pt x="210" y="70"/>
                  </a:cubicBezTo>
                  <a:lnTo>
                    <a:pt x="165" y="70"/>
                  </a:lnTo>
                  <a:cubicBezTo>
                    <a:pt x="154" y="81"/>
                    <a:pt x="140" y="81"/>
                    <a:pt x="140" y="92"/>
                  </a:cubicBezTo>
                  <a:cubicBezTo>
                    <a:pt x="140" y="104"/>
                    <a:pt x="129" y="115"/>
                    <a:pt x="129" y="115"/>
                  </a:cubicBezTo>
                  <a:lnTo>
                    <a:pt x="118" y="115"/>
                  </a:lnTo>
                  <a:cubicBezTo>
                    <a:pt x="118" y="104"/>
                    <a:pt x="106" y="104"/>
                    <a:pt x="84" y="104"/>
                  </a:cubicBezTo>
                  <a:cubicBezTo>
                    <a:pt x="59" y="104"/>
                    <a:pt x="37" y="115"/>
                    <a:pt x="14" y="140"/>
                  </a:cubicBezTo>
                  <a:cubicBezTo>
                    <a:pt x="0" y="151"/>
                    <a:pt x="0" y="173"/>
                    <a:pt x="0" y="185"/>
                  </a:cubicBezTo>
                  <a:cubicBezTo>
                    <a:pt x="0" y="199"/>
                    <a:pt x="0" y="221"/>
                    <a:pt x="14" y="232"/>
                  </a:cubicBezTo>
                  <a:cubicBezTo>
                    <a:pt x="14" y="243"/>
                    <a:pt x="25" y="255"/>
                    <a:pt x="37" y="269"/>
                  </a:cubicBezTo>
                  <a:lnTo>
                    <a:pt x="37" y="302"/>
                  </a:lnTo>
                  <a:cubicBezTo>
                    <a:pt x="48" y="313"/>
                    <a:pt x="48" y="338"/>
                    <a:pt x="59" y="350"/>
                  </a:cubicBezTo>
                  <a:cubicBezTo>
                    <a:pt x="70" y="372"/>
                    <a:pt x="95" y="383"/>
                    <a:pt x="118" y="383"/>
                  </a:cubicBezTo>
                  <a:lnTo>
                    <a:pt x="165" y="383"/>
                  </a:lnTo>
                  <a:cubicBezTo>
                    <a:pt x="188" y="383"/>
                    <a:pt x="199" y="394"/>
                    <a:pt x="224" y="394"/>
                  </a:cubicBezTo>
                  <a:lnTo>
                    <a:pt x="235" y="394"/>
                  </a:lnTo>
                  <a:lnTo>
                    <a:pt x="235" y="383"/>
                  </a:lnTo>
                  <a:cubicBezTo>
                    <a:pt x="257" y="361"/>
                    <a:pt x="257" y="338"/>
                    <a:pt x="257" y="324"/>
                  </a:cubicBezTo>
                  <a:lnTo>
                    <a:pt x="257" y="302"/>
                  </a:lnTo>
                  <a:cubicBezTo>
                    <a:pt x="257" y="280"/>
                    <a:pt x="246" y="269"/>
                    <a:pt x="246" y="269"/>
                  </a:cubicBezTo>
                  <a:cubicBezTo>
                    <a:pt x="246" y="269"/>
                    <a:pt x="246" y="255"/>
                    <a:pt x="257" y="255"/>
                  </a:cubicBezTo>
                  <a:cubicBezTo>
                    <a:pt x="269" y="280"/>
                    <a:pt x="280" y="280"/>
                    <a:pt x="294" y="291"/>
                  </a:cubicBezTo>
                  <a:cubicBezTo>
                    <a:pt x="305" y="291"/>
                    <a:pt x="305" y="291"/>
                    <a:pt x="316" y="302"/>
                  </a:cubicBezTo>
                  <a:lnTo>
                    <a:pt x="339" y="302"/>
                  </a:lnTo>
                  <a:lnTo>
                    <a:pt x="350" y="291"/>
                  </a:lnTo>
                  <a:lnTo>
                    <a:pt x="350" y="280"/>
                  </a:lnTo>
                  <a:lnTo>
                    <a:pt x="364" y="280"/>
                  </a:lnTo>
                  <a:cubicBezTo>
                    <a:pt x="364" y="269"/>
                    <a:pt x="375" y="255"/>
                    <a:pt x="375" y="243"/>
                  </a:cubicBezTo>
                  <a:cubicBezTo>
                    <a:pt x="375" y="243"/>
                    <a:pt x="386" y="255"/>
                    <a:pt x="397" y="255"/>
                  </a:cubicBezTo>
                  <a:lnTo>
                    <a:pt x="408" y="243"/>
                  </a:lnTo>
                  <a:cubicBezTo>
                    <a:pt x="420" y="243"/>
                    <a:pt x="420" y="243"/>
                    <a:pt x="420" y="232"/>
                  </a:cubicBezTo>
                  <a:lnTo>
                    <a:pt x="434" y="232"/>
                  </a:lnTo>
                  <a:cubicBezTo>
                    <a:pt x="434" y="232"/>
                    <a:pt x="445" y="232"/>
                    <a:pt x="445" y="221"/>
                  </a:cubicBezTo>
                  <a:cubicBezTo>
                    <a:pt x="467" y="210"/>
                    <a:pt x="478" y="185"/>
                    <a:pt x="478" y="173"/>
                  </a:cubicBezTo>
                  <a:cubicBezTo>
                    <a:pt x="478" y="162"/>
                    <a:pt x="478" y="162"/>
                    <a:pt x="467" y="151"/>
                  </a:cubicBezTo>
                  <a:cubicBezTo>
                    <a:pt x="467" y="129"/>
                    <a:pt x="445" y="115"/>
                    <a:pt x="434" y="104"/>
                  </a:cubicBezTo>
                  <a:cubicBezTo>
                    <a:pt x="420" y="92"/>
                    <a:pt x="420" y="92"/>
                    <a:pt x="408" y="92"/>
                  </a:cubicBezTo>
                  <a:cubicBezTo>
                    <a:pt x="408" y="92"/>
                    <a:pt x="408" y="81"/>
                    <a:pt x="397" y="81"/>
                  </a:cubicBezTo>
                  <a:cubicBezTo>
                    <a:pt x="386" y="59"/>
                    <a:pt x="375" y="45"/>
                    <a:pt x="364" y="34"/>
                  </a:cubicBezTo>
                  <a:cubicBezTo>
                    <a:pt x="339" y="11"/>
                    <a:pt x="316" y="0"/>
                    <a:pt x="29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309;p17">
              <a:extLst>
                <a:ext uri="{FF2B5EF4-FFF2-40B4-BE49-F238E27FC236}">
                  <a16:creationId xmlns:a16="http://schemas.microsoft.com/office/drawing/2014/main" xmlns="" id="{3810F467-C52F-5F7C-9D08-A4D64673F014}"/>
                </a:ext>
              </a:extLst>
            </p:cNvPr>
            <p:cNvSpPr/>
            <p:nvPr/>
          </p:nvSpPr>
          <p:spPr>
            <a:xfrm>
              <a:off x="3834441" y="3493849"/>
              <a:ext cx="21672" cy="18675"/>
            </a:xfrm>
            <a:custGeom>
              <a:avLst/>
              <a:gdLst/>
              <a:ahLst/>
              <a:cxnLst/>
              <a:rect l="l" t="t" r="r" b="b"/>
              <a:pathLst>
                <a:path w="94" h="81" extrusionOk="0">
                  <a:moveTo>
                    <a:pt x="19" y="0"/>
                  </a:moveTo>
                  <a:cubicBezTo>
                    <a:pt x="15" y="0"/>
                    <a:pt x="12" y="4"/>
                    <a:pt x="12" y="11"/>
                  </a:cubicBezTo>
                  <a:cubicBezTo>
                    <a:pt x="1" y="11"/>
                    <a:pt x="12" y="22"/>
                    <a:pt x="12" y="33"/>
                  </a:cubicBezTo>
                  <a:cubicBezTo>
                    <a:pt x="12" y="33"/>
                    <a:pt x="23" y="44"/>
                    <a:pt x="34" y="44"/>
                  </a:cubicBezTo>
                  <a:cubicBezTo>
                    <a:pt x="34" y="55"/>
                    <a:pt x="46" y="55"/>
                    <a:pt x="46" y="66"/>
                  </a:cubicBezTo>
                  <a:cubicBezTo>
                    <a:pt x="60" y="66"/>
                    <a:pt x="60" y="80"/>
                    <a:pt x="60" y="80"/>
                  </a:cubicBezTo>
                  <a:lnTo>
                    <a:pt x="82" y="80"/>
                  </a:lnTo>
                  <a:cubicBezTo>
                    <a:pt x="93" y="66"/>
                    <a:pt x="93" y="55"/>
                    <a:pt x="82" y="55"/>
                  </a:cubicBezTo>
                  <a:cubicBezTo>
                    <a:pt x="82" y="44"/>
                    <a:pt x="82" y="44"/>
                    <a:pt x="71" y="33"/>
                  </a:cubicBezTo>
                  <a:cubicBezTo>
                    <a:pt x="71" y="22"/>
                    <a:pt x="60" y="22"/>
                    <a:pt x="60" y="11"/>
                  </a:cubicBezTo>
                  <a:lnTo>
                    <a:pt x="34" y="11"/>
                  </a:lnTo>
                  <a:cubicBezTo>
                    <a:pt x="29" y="4"/>
                    <a:pt x="23" y="0"/>
                    <a:pt x="1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310;p17">
              <a:extLst>
                <a:ext uri="{FF2B5EF4-FFF2-40B4-BE49-F238E27FC236}">
                  <a16:creationId xmlns:a16="http://schemas.microsoft.com/office/drawing/2014/main" xmlns="" id="{04538F7D-8FC1-FAC3-76F8-B36455386DC7}"/>
                </a:ext>
              </a:extLst>
            </p:cNvPr>
            <p:cNvSpPr/>
            <p:nvPr/>
          </p:nvSpPr>
          <p:spPr>
            <a:xfrm>
              <a:off x="3831905" y="3487855"/>
              <a:ext cx="29280" cy="29742"/>
            </a:xfrm>
            <a:custGeom>
              <a:avLst/>
              <a:gdLst/>
              <a:ahLst/>
              <a:cxnLst/>
              <a:rect l="l" t="t" r="r" b="b"/>
              <a:pathLst>
                <a:path w="127" h="129" extrusionOk="0">
                  <a:moveTo>
                    <a:pt x="34" y="0"/>
                  </a:moveTo>
                  <a:cubicBezTo>
                    <a:pt x="23" y="0"/>
                    <a:pt x="12" y="11"/>
                    <a:pt x="12" y="11"/>
                  </a:cubicBezTo>
                  <a:cubicBezTo>
                    <a:pt x="1" y="23"/>
                    <a:pt x="1" y="37"/>
                    <a:pt x="1" y="48"/>
                  </a:cubicBezTo>
                  <a:lnTo>
                    <a:pt x="1" y="70"/>
                  </a:lnTo>
                  <a:cubicBezTo>
                    <a:pt x="12" y="81"/>
                    <a:pt x="23" y="81"/>
                    <a:pt x="34" y="92"/>
                  </a:cubicBezTo>
                  <a:lnTo>
                    <a:pt x="45" y="106"/>
                  </a:lnTo>
                  <a:cubicBezTo>
                    <a:pt x="45" y="106"/>
                    <a:pt x="45" y="118"/>
                    <a:pt x="57" y="118"/>
                  </a:cubicBezTo>
                  <a:cubicBezTo>
                    <a:pt x="71" y="129"/>
                    <a:pt x="82" y="129"/>
                    <a:pt x="82" y="129"/>
                  </a:cubicBezTo>
                  <a:lnTo>
                    <a:pt x="104" y="129"/>
                  </a:lnTo>
                  <a:lnTo>
                    <a:pt x="115" y="118"/>
                  </a:lnTo>
                  <a:cubicBezTo>
                    <a:pt x="115" y="106"/>
                    <a:pt x="127" y="92"/>
                    <a:pt x="127" y="92"/>
                  </a:cubicBezTo>
                  <a:cubicBezTo>
                    <a:pt x="127" y="81"/>
                    <a:pt x="115" y="81"/>
                    <a:pt x="115" y="70"/>
                  </a:cubicBezTo>
                  <a:cubicBezTo>
                    <a:pt x="115" y="59"/>
                    <a:pt x="104" y="59"/>
                    <a:pt x="104" y="48"/>
                  </a:cubicBezTo>
                  <a:cubicBezTo>
                    <a:pt x="93" y="37"/>
                    <a:pt x="93" y="23"/>
                    <a:pt x="82" y="23"/>
                  </a:cubicBezTo>
                  <a:cubicBezTo>
                    <a:pt x="71" y="11"/>
                    <a:pt x="57" y="11"/>
                    <a:pt x="45" y="11"/>
                  </a:cubicBezTo>
                  <a:lnTo>
                    <a:pt x="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311;p17">
              <a:extLst>
                <a:ext uri="{FF2B5EF4-FFF2-40B4-BE49-F238E27FC236}">
                  <a16:creationId xmlns:a16="http://schemas.microsoft.com/office/drawing/2014/main" xmlns="" id="{16B19E26-51AB-F7DE-D892-6F37B94CE28D}"/>
                </a:ext>
              </a:extLst>
            </p:cNvPr>
            <p:cNvSpPr/>
            <p:nvPr/>
          </p:nvSpPr>
          <p:spPr>
            <a:xfrm>
              <a:off x="3898995" y="3554715"/>
              <a:ext cx="23977" cy="11297"/>
            </a:xfrm>
            <a:custGeom>
              <a:avLst/>
              <a:gdLst/>
              <a:ahLst/>
              <a:cxnLst/>
              <a:rect l="l" t="t" r="r" b="b"/>
              <a:pathLst>
                <a:path w="104" h="49" extrusionOk="0">
                  <a:moveTo>
                    <a:pt x="45" y="1"/>
                  </a:moveTo>
                  <a:cubicBezTo>
                    <a:pt x="34" y="1"/>
                    <a:pt x="23" y="1"/>
                    <a:pt x="12" y="12"/>
                  </a:cubicBezTo>
                  <a:cubicBezTo>
                    <a:pt x="12" y="12"/>
                    <a:pt x="0" y="26"/>
                    <a:pt x="0" y="37"/>
                  </a:cubicBezTo>
                  <a:lnTo>
                    <a:pt x="0" y="49"/>
                  </a:lnTo>
                  <a:lnTo>
                    <a:pt x="104" y="49"/>
                  </a:lnTo>
                  <a:lnTo>
                    <a:pt x="104" y="26"/>
                  </a:lnTo>
                  <a:cubicBezTo>
                    <a:pt x="104" y="12"/>
                    <a:pt x="82" y="1"/>
                    <a:pt x="8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312;p17">
              <a:extLst>
                <a:ext uri="{FF2B5EF4-FFF2-40B4-BE49-F238E27FC236}">
                  <a16:creationId xmlns:a16="http://schemas.microsoft.com/office/drawing/2014/main" xmlns="" id="{E6416EBC-A0BF-3E6D-2553-131BB464B843}"/>
                </a:ext>
              </a:extLst>
            </p:cNvPr>
            <p:cNvSpPr/>
            <p:nvPr/>
          </p:nvSpPr>
          <p:spPr>
            <a:xfrm>
              <a:off x="3893231" y="3549643"/>
              <a:ext cx="35735" cy="21442"/>
            </a:xfrm>
            <a:custGeom>
              <a:avLst/>
              <a:gdLst/>
              <a:ahLst/>
              <a:cxnLst/>
              <a:rect l="l" t="t" r="r" b="b"/>
              <a:pathLst>
                <a:path w="155" h="93" extrusionOk="0">
                  <a:moveTo>
                    <a:pt x="70" y="1"/>
                  </a:moveTo>
                  <a:cubicBezTo>
                    <a:pt x="59" y="1"/>
                    <a:pt x="48" y="1"/>
                    <a:pt x="25" y="12"/>
                  </a:cubicBezTo>
                  <a:cubicBezTo>
                    <a:pt x="14" y="23"/>
                    <a:pt x="0" y="34"/>
                    <a:pt x="0" y="59"/>
                  </a:cubicBezTo>
                  <a:lnTo>
                    <a:pt x="0" y="71"/>
                  </a:lnTo>
                  <a:lnTo>
                    <a:pt x="14" y="82"/>
                  </a:lnTo>
                  <a:lnTo>
                    <a:pt x="25" y="93"/>
                  </a:lnTo>
                  <a:lnTo>
                    <a:pt x="140" y="93"/>
                  </a:lnTo>
                  <a:lnTo>
                    <a:pt x="154" y="71"/>
                  </a:lnTo>
                  <a:lnTo>
                    <a:pt x="154" y="48"/>
                  </a:lnTo>
                  <a:lnTo>
                    <a:pt x="154" y="34"/>
                  </a:lnTo>
                  <a:lnTo>
                    <a:pt x="140" y="23"/>
                  </a:lnTo>
                  <a:cubicBezTo>
                    <a:pt x="140" y="12"/>
                    <a:pt x="129" y="12"/>
                    <a:pt x="129" y="12"/>
                  </a:cubicBezTo>
                  <a:lnTo>
                    <a:pt x="118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313;p17">
              <a:extLst>
                <a:ext uri="{FF2B5EF4-FFF2-40B4-BE49-F238E27FC236}">
                  <a16:creationId xmlns:a16="http://schemas.microsoft.com/office/drawing/2014/main" xmlns="" id="{69C8E065-B494-5E57-ED5C-E7668ABB4FE1}"/>
                </a:ext>
              </a:extLst>
            </p:cNvPr>
            <p:cNvSpPr/>
            <p:nvPr/>
          </p:nvSpPr>
          <p:spPr>
            <a:xfrm>
              <a:off x="3931272" y="3591604"/>
              <a:ext cx="23977" cy="21211"/>
            </a:xfrm>
            <a:custGeom>
              <a:avLst/>
              <a:gdLst/>
              <a:ahLst/>
              <a:cxnLst/>
              <a:rect l="l" t="t" r="r" b="b"/>
              <a:pathLst>
                <a:path w="104" h="92" extrusionOk="0">
                  <a:moveTo>
                    <a:pt x="41" y="0"/>
                  </a:moveTo>
                  <a:cubicBezTo>
                    <a:pt x="35" y="0"/>
                    <a:pt x="29" y="2"/>
                    <a:pt x="23" y="6"/>
                  </a:cubicBezTo>
                  <a:lnTo>
                    <a:pt x="11" y="6"/>
                  </a:lnTo>
                  <a:cubicBezTo>
                    <a:pt x="0" y="6"/>
                    <a:pt x="0" y="17"/>
                    <a:pt x="0" y="28"/>
                  </a:cubicBezTo>
                  <a:cubicBezTo>
                    <a:pt x="0" y="40"/>
                    <a:pt x="11" y="51"/>
                    <a:pt x="11" y="51"/>
                  </a:cubicBezTo>
                  <a:cubicBezTo>
                    <a:pt x="23" y="51"/>
                    <a:pt x="23" y="62"/>
                    <a:pt x="34" y="62"/>
                  </a:cubicBezTo>
                  <a:cubicBezTo>
                    <a:pt x="45" y="76"/>
                    <a:pt x="45" y="87"/>
                    <a:pt x="59" y="87"/>
                  </a:cubicBezTo>
                  <a:cubicBezTo>
                    <a:pt x="62" y="90"/>
                    <a:pt x="66" y="92"/>
                    <a:pt x="69" y="92"/>
                  </a:cubicBezTo>
                  <a:cubicBezTo>
                    <a:pt x="77" y="92"/>
                    <a:pt x="85" y="84"/>
                    <a:pt x="93" y="76"/>
                  </a:cubicBezTo>
                  <a:cubicBezTo>
                    <a:pt x="104" y="62"/>
                    <a:pt x="104" y="40"/>
                    <a:pt x="93" y="28"/>
                  </a:cubicBezTo>
                  <a:cubicBezTo>
                    <a:pt x="93" y="17"/>
                    <a:pt x="93" y="17"/>
                    <a:pt x="81" y="17"/>
                  </a:cubicBezTo>
                  <a:cubicBezTo>
                    <a:pt x="66" y="9"/>
                    <a:pt x="54" y="0"/>
                    <a:pt x="4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" name="Google Shape;314;p17">
              <a:extLst>
                <a:ext uri="{FF2B5EF4-FFF2-40B4-BE49-F238E27FC236}">
                  <a16:creationId xmlns:a16="http://schemas.microsoft.com/office/drawing/2014/main" xmlns="" id="{2A679F00-F742-EEC1-376D-7B0467C89BA1}"/>
                </a:ext>
              </a:extLst>
            </p:cNvPr>
            <p:cNvSpPr/>
            <p:nvPr/>
          </p:nvSpPr>
          <p:spPr>
            <a:xfrm>
              <a:off x="3925509" y="3586993"/>
              <a:ext cx="35505" cy="29972"/>
            </a:xfrm>
            <a:custGeom>
              <a:avLst/>
              <a:gdLst/>
              <a:ahLst/>
              <a:cxnLst/>
              <a:rect l="l" t="t" r="r" b="b"/>
              <a:pathLst>
                <a:path w="154" h="130" extrusionOk="0">
                  <a:moveTo>
                    <a:pt x="95" y="48"/>
                  </a:moveTo>
                  <a:cubicBezTo>
                    <a:pt x="95" y="60"/>
                    <a:pt x="106" y="60"/>
                    <a:pt x="106" y="60"/>
                  </a:cubicBezTo>
                  <a:lnTo>
                    <a:pt x="106" y="71"/>
                  </a:lnTo>
                  <a:cubicBezTo>
                    <a:pt x="106" y="71"/>
                    <a:pt x="106" y="82"/>
                    <a:pt x="95" y="82"/>
                  </a:cubicBezTo>
                  <a:cubicBezTo>
                    <a:pt x="84" y="82"/>
                    <a:pt x="84" y="82"/>
                    <a:pt x="70" y="71"/>
                  </a:cubicBezTo>
                  <a:lnTo>
                    <a:pt x="59" y="60"/>
                  </a:lnTo>
                  <a:lnTo>
                    <a:pt x="48" y="48"/>
                  </a:lnTo>
                  <a:close/>
                  <a:moveTo>
                    <a:pt x="25" y="1"/>
                  </a:moveTo>
                  <a:cubicBezTo>
                    <a:pt x="14" y="1"/>
                    <a:pt x="14" y="12"/>
                    <a:pt x="0" y="26"/>
                  </a:cubicBezTo>
                  <a:lnTo>
                    <a:pt x="0" y="48"/>
                  </a:lnTo>
                  <a:cubicBezTo>
                    <a:pt x="0" y="71"/>
                    <a:pt x="14" y="82"/>
                    <a:pt x="25" y="96"/>
                  </a:cubicBezTo>
                  <a:cubicBezTo>
                    <a:pt x="36" y="96"/>
                    <a:pt x="36" y="96"/>
                    <a:pt x="36" y="107"/>
                  </a:cubicBezTo>
                  <a:cubicBezTo>
                    <a:pt x="48" y="107"/>
                    <a:pt x="48" y="107"/>
                    <a:pt x="48" y="118"/>
                  </a:cubicBezTo>
                  <a:cubicBezTo>
                    <a:pt x="59" y="118"/>
                    <a:pt x="70" y="129"/>
                    <a:pt x="84" y="129"/>
                  </a:cubicBezTo>
                  <a:lnTo>
                    <a:pt x="95" y="129"/>
                  </a:lnTo>
                  <a:cubicBezTo>
                    <a:pt x="106" y="129"/>
                    <a:pt x="129" y="118"/>
                    <a:pt x="129" y="118"/>
                  </a:cubicBezTo>
                  <a:cubicBezTo>
                    <a:pt x="140" y="96"/>
                    <a:pt x="154" y="82"/>
                    <a:pt x="154" y="71"/>
                  </a:cubicBezTo>
                  <a:cubicBezTo>
                    <a:pt x="154" y="60"/>
                    <a:pt x="154" y="48"/>
                    <a:pt x="140" y="37"/>
                  </a:cubicBezTo>
                  <a:cubicBezTo>
                    <a:pt x="129" y="26"/>
                    <a:pt x="129" y="12"/>
                    <a:pt x="118" y="12"/>
                  </a:cubicBezTo>
                  <a:cubicBezTo>
                    <a:pt x="95" y="1"/>
                    <a:pt x="70" y="1"/>
                    <a:pt x="5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" name="Google Shape;315;p17">
              <a:extLst>
                <a:ext uri="{FF2B5EF4-FFF2-40B4-BE49-F238E27FC236}">
                  <a16:creationId xmlns:a16="http://schemas.microsoft.com/office/drawing/2014/main" xmlns="" id="{F31FAEA1-51DB-5E54-0EA4-7C5014E0BE0C}"/>
                </a:ext>
              </a:extLst>
            </p:cNvPr>
            <p:cNvSpPr/>
            <p:nvPr/>
          </p:nvSpPr>
          <p:spPr>
            <a:xfrm>
              <a:off x="3960783" y="3616734"/>
              <a:ext cx="16369" cy="16369"/>
            </a:xfrm>
            <a:custGeom>
              <a:avLst/>
              <a:gdLst/>
              <a:ahLst/>
              <a:cxnLst/>
              <a:rect l="l" t="t" r="r" b="b"/>
              <a:pathLst>
                <a:path w="71" h="71" extrusionOk="0">
                  <a:moveTo>
                    <a:pt x="12" y="0"/>
                  </a:moveTo>
                  <a:cubicBezTo>
                    <a:pt x="1" y="12"/>
                    <a:pt x="1" y="23"/>
                    <a:pt x="1" y="37"/>
                  </a:cubicBezTo>
                  <a:cubicBezTo>
                    <a:pt x="1" y="48"/>
                    <a:pt x="12" y="59"/>
                    <a:pt x="23" y="70"/>
                  </a:cubicBezTo>
                  <a:lnTo>
                    <a:pt x="71" y="70"/>
                  </a:lnTo>
                  <a:lnTo>
                    <a:pt x="71" y="23"/>
                  </a:lnTo>
                  <a:lnTo>
                    <a:pt x="71" y="12"/>
                  </a:lnTo>
                  <a:lnTo>
                    <a:pt x="57" y="12"/>
                  </a:lnTo>
                  <a:cubicBezTo>
                    <a:pt x="46" y="0"/>
                    <a:pt x="34" y="0"/>
                    <a:pt x="2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" name="Google Shape;316;p17">
              <a:extLst>
                <a:ext uri="{FF2B5EF4-FFF2-40B4-BE49-F238E27FC236}">
                  <a16:creationId xmlns:a16="http://schemas.microsoft.com/office/drawing/2014/main" xmlns="" id="{C4152318-989D-BEE9-E368-A1E148621D71}"/>
                </a:ext>
              </a:extLst>
            </p:cNvPr>
            <p:cNvSpPr/>
            <p:nvPr/>
          </p:nvSpPr>
          <p:spPr>
            <a:xfrm>
              <a:off x="3955019" y="3611662"/>
              <a:ext cx="27435" cy="26514"/>
            </a:xfrm>
            <a:custGeom>
              <a:avLst/>
              <a:gdLst/>
              <a:ahLst/>
              <a:cxnLst/>
              <a:rect l="l" t="t" r="r" b="b"/>
              <a:pathLst>
                <a:path w="119" h="115" extrusionOk="0">
                  <a:moveTo>
                    <a:pt x="50" y="45"/>
                  </a:moveTo>
                  <a:cubicBezTo>
                    <a:pt x="53" y="45"/>
                    <a:pt x="62" y="48"/>
                    <a:pt x="71" y="59"/>
                  </a:cubicBezTo>
                  <a:lnTo>
                    <a:pt x="71" y="70"/>
                  </a:lnTo>
                  <a:lnTo>
                    <a:pt x="59" y="70"/>
                  </a:lnTo>
                  <a:lnTo>
                    <a:pt x="57" y="74"/>
                  </a:lnTo>
                  <a:lnTo>
                    <a:pt x="57" y="74"/>
                  </a:lnTo>
                  <a:cubicBezTo>
                    <a:pt x="54" y="69"/>
                    <a:pt x="48" y="67"/>
                    <a:pt x="48" y="59"/>
                  </a:cubicBezTo>
                  <a:cubicBezTo>
                    <a:pt x="48" y="52"/>
                    <a:pt x="48" y="48"/>
                    <a:pt x="50" y="45"/>
                  </a:cubicBezTo>
                  <a:close/>
                  <a:moveTo>
                    <a:pt x="26" y="0"/>
                  </a:moveTo>
                  <a:lnTo>
                    <a:pt x="26" y="11"/>
                  </a:lnTo>
                  <a:lnTo>
                    <a:pt x="12" y="11"/>
                  </a:lnTo>
                  <a:cubicBezTo>
                    <a:pt x="12" y="22"/>
                    <a:pt x="1" y="45"/>
                    <a:pt x="1" y="59"/>
                  </a:cubicBezTo>
                  <a:lnTo>
                    <a:pt x="1" y="70"/>
                  </a:lnTo>
                  <a:lnTo>
                    <a:pt x="5" y="68"/>
                  </a:lnTo>
                  <a:lnTo>
                    <a:pt x="5" y="68"/>
                  </a:lnTo>
                  <a:cubicBezTo>
                    <a:pt x="12" y="85"/>
                    <a:pt x="14" y="96"/>
                    <a:pt x="26" y="115"/>
                  </a:cubicBezTo>
                  <a:lnTo>
                    <a:pt x="107" y="115"/>
                  </a:lnTo>
                  <a:lnTo>
                    <a:pt x="107" y="104"/>
                  </a:lnTo>
                  <a:lnTo>
                    <a:pt x="118" y="92"/>
                  </a:lnTo>
                  <a:lnTo>
                    <a:pt x="118" y="45"/>
                  </a:lnTo>
                  <a:lnTo>
                    <a:pt x="118" y="34"/>
                  </a:lnTo>
                  <a:lnTo>
                    <a:pt x="118" y="22"/>
                  </a:lnTo>
                  <a:cubicBezTo>
                    <a:pt x="107" y="11"/>
                    <a:pt x="96" y="11"/>
                    <a:pt x="96" y="11"/>
                  </a:cubicBezTo>
                  <a:cubicBezTo>
                    <a:pt x="82" y="0"/>
                    <a:pt x="59" y="0"/>
                    <a:pt x="4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" name="Google Shape;317;p17">
              <a:extLst>
                <a:ext uri="{FF2B5EF4-FFF2-40B4-BE49-F238E27FC236}">
                  <a16:creationId xmlns:a16="http://schemas.microsoft.com/office/drawing/2014/main" xmlns="" id="{934D84CB-BF79-A90C-0F61-3D7977CE6377}"/>
                </a:ext>
              </a:extLst>
            </p:cNvPr>
            <p:cNvSpPr/>
            <p:nvPr/>
          </p:nvSpPr>
          <p:spPr>
            <a:xfrm>
              <a:off x="3941647" y="3625034"/>
              <a:ext cx="8530" cy="10606"/>
            </a:xfrm>
            <a:custGeom>
              <a:avLst/>
              <a:gdLst/>
              <a:ahLst/>
              <a:cxnLst/>
              <a:rect l="l" t="t" r="r" b="b"/>
              <a:pathLst>
                <a:path w="37" h="46" extrusionOk="0">
                  <a:moveTo>
                    <a:pt x="14" y="1"/>
                  </a:moveTo>
                  <a:cubicBezTo>
                    <a:pt x="0" y="12"/>
                    <a:pt x="0" y="12"/>
                    <a:pt x="0" y="23"/>
                  </a:cubicBezTo>
                  <a:lnTo>
                    <a:pt x="0" y="34"/>
                  </a:lnTo>
                  <a:lnTo>
                    <a:pt x="0" y="46"/>
                  </a:lnTo>
                  <a:lnTo>
                    <a:pt x="14" y="46"/>
                  </a:lnTo>
                  <a:cubicBezTo>
                    <a:pt x="25" y="46"/>
                    <a:pt x="36" y="46"/>
                    <a:pt x="36" y="34"/>
                  </a:cubicBezTo>
                  <a:lnTo>
                    <a:pt x="36" y="12"/>
                  </a:lnTo>
                  <a:lnTo>
                    <a:pt x="2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" name="Google Shape;318;p17">
              <a:extLst>
                <a:ext uri="{FF2B5EF4-FFF2-40B4-BE49-F238E27FC236}">
                  <a16:creationId xmlns:a16="http://schemas.microsoft.com/office/drawing/2014/main" xmlns="" id="{8F2A3E02-B51A-018F-64AF-0B1B5240447A}"/>
                </a:ext>
              </a:extLst>
            </p:cNvPr>
            <p:cNvSpPr/>
            <p:nvPr/>
          </p:nvSpPr>
          <p:spPr>
            <a:xfrm>
              <a:off x="3936345" y="3619270"/>
              <a:ext cx="18905" cy="22133"/>
            </a:xfrm>
            <a:custGeom>
              <a:avLst/>
              <a:gdLst/>
              <a:ahLst/>
              <a:cxnLst/>
              <a:rect l="l" t="t" r="r" b="b"/>
              <a:pathLst>
                <a:path w="82" h="96" extrusionOk="0">
                  <a:moveTo>
                    <a:pt x="23" y="1"/>
                  </a:moveTo>
                  <a:lnTo>
                    <a:pt x="23" y="12"/>
                  </a:lnTo>
                  <a:cubicBezTo>
                    <a:pt x="12" y="12"/>
                    <a:pt x="12" y="26"/>
                    <a:pt x="12" y="26"/>
                  </a:cubicBezTo>
                  <a:lnTo>
                    <a:pt x="1" y="37"/>
                  </a:lnTo>
                  <a:lnTo>
                    <a:pt x="1" y="59"/>
                  </a:lnTo>
                  <a:lnTo>
                    <a:pt x="1" y="71"/>
                  </a:lnTo>
                  <a:lnTo>
                    <a:pt x="12" y="82"/>
                  </a:lnTo>
                  <a:cubicBezTo>
                    <a:pt x="12" y="82"/>
                    <a:pt x="12" y="96"/>
                    <a:pt x="23" y="96"/>
                  </a:cubicBezTo>
                  <a:lnTo>
                    <a:pt x="37" y="96"/>
                  </a:lnTo>
                  <a:cubicBezTo>
                    <a:pt x="59" y="96"/>
                    <a:pt x="71" y="82"/>
                    <a:pt x="82" y="71"/>
                  </a:cubicBezTo>
                  <a:lnTo>
                    <a:pt x="82" y="48"/>
                  </a:lnTo>
                  <a:cubicBezTo>
                    <a:pt x="82" y="37"/>
                    <a:pt x="82" y="26"/>
                    <a:pt x="71" y="12"/>
                  </a:cubicBezTo>
                  <a:lnTo>
                    <a:pt x="59" y="12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1" name="Google Shape;319;p17">
              <a:extLst>
                <a:ext uri="{FF2B5EF4-FFF2-40B4-BE49-F238E27FC236}">
                  <a16:creationId xmlns:a16="http://schemas.microsoft.com/office/drawing/2014/main" xmlns="" id="{85F4C11E-73D9-5EE8-345D-928107FA75FB}"/>
                </a:ext>
              </a:extLst>
            </p:cNvPr>
            <p:cNvSpPr/>
            <p:nvPr/>
          </p:nvSpPr>
          <p:spPr>
            <a:xfrm>
              <a:off x="4019574" y="4067928"/>
              <a:ext cx="38271" cy="29972"/>
            </a:xfrm>
            <a:custGeom>
              <a:avLst/>
              <a:gdLst/>
              <a:ahLst/>
              <a:cxnLst/>
              <a:rect l="l" t="t" r="r" b="b"/>
              <a:pathLst>
                <a:path w="166" h="130" extrusionOk="0">
                  <a:moveTo>
                    <a:pt x="118" y="1"/>
                  </a:moveTo>
                  <a:cubicBezTo>
                    <a:pt x="107" y="12"/>
                    <a:pt x="107" y="12"/>
                    <a:pt x="107" y="23"/>
                  </a:cubicBezTo>
                  <a:cubicBezTo>
                    <a:pt x="95" y="37"/>
                    <a:pt x="70" y="48"/>
                    <a:pt x="59" y="59"/>
                  </a:cubicBezTo>
                  <a:lnTo>
                    <a:pt x="37" y="59"/>
                  </a:lnTo>
                  <a:cubicBezTo>
                    <a:pt x="12" y="71"/>
                    <a:pt x="0" y="93"/>
                    <a:pt x="12" y="107"/>
                  </a:cubicBezTo>
                  <a:lnTo>
                    <a:pt x="12" y="118"/>
                  </a:lnTo>
                  <a:cubicBezTo>
                    <a:pt x="26" y="129"/>
                    <a:pt x="26" y="129"/>
                    <a:pt x="37" y="129"/>
                  </a:cubicBezTo>
                  <a:cubicBezTo>
                    <a:pt x="59" y="129"/>
                    <a:pt x="81" y="118"/>
                    <a:pt x="95" y="107"/>
                  </a:cubicBezTo>
                  <a:cubicBezTo>
                    <a:pt x="107" y="93"/>
                    <a:pt x="107" y="71"/>
                    <a:pt x="118" y="71"/>
                  </a:cubicBezTo>
                  <a:cubicBezTo>
                    <a:pt x="129" y="59"/>
                    <a:pt x="151" y="59"/>
                    <a:pt x="165" y="48"/>
                  </a:cubicBezTo>
                  <a:lnTo>
                    <a:pt x="165" y="12"/>
                  </a:lnTo>
                  <a:lnTo>
                    <a:pt x="165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2" name="Google Shape;320;p17">
              <a:extLst>
                <a:ext uri="{FF2B5EF4-FFF2-40B4-BE49-F238E27FC236}">
                  <a16:creationId xmlns:a16="http://schemas.microsoft.com/office/drawing/2014/main" xmlns="" id="{340C9336-53F6-6CA2-12F1-EA2C479973DD}"/>
                </a:ext>
              </a:extLst>
            </p:cNvPr>
            <p:cNvSpPr/>
            <p:nvPr/>
          </p:nvSpPr>
          <p:spPr>
            <a:xfrm>
              <a:off x="4017037" y="4062856"/>
              <a:ext cx="45879" cy="40117"/>
            </a:xfrm>
            <a:custGeom>
              <a:avLst/>
              <a:gdLst/>
              <a:ahLst/>
              <a:cxnLst/>
              <a:rect l="l" t="t" r="r" b="b"/>
              <a:pathLst>
                <a:path w="199" h="174" extrusionOk="0">
                  <a:moveTo>
                    <a:pt x="151" y="45"/>
                  </a:moveTo>
                  <a:lnTo>
                    <a:pt x="151" y="55"/>
                  </a:lnTo>
                  <a:lnTo>
                    <a:pt x="151" y="55"/>
                  </a:lnTo>
                  <a:cubicBezTo>
                    <a:pt x="148" y="57"/>
                    <a:pt x="144" y="59"/>
                    <a:pt x="140" y="59"/>
                  </a:cubicBezTo>
                  <a:cubicBezTo>
                    <a:pt x="138" y="59"/>
                    <a:pt x="136" y="59"/>
                    <a:pt x="135" y="59"/>
                  </a:cubicBezTo>
                  <a:lnTo>
                    <a:pt x="135" y="59"/>
                  </a:lnTo>
                  <a:cubicBezTo>
                    <a:pt x="137" y="55"/>
                    <a:pt x="138" y="50"/>
                    <a:pt x="140" y="45"/>
                  </a:cubicBezTo>
                  <a:close/>
                  <a:moveTo>
                    <a:pt x="87" y="98"/>
                  </a:moveTo>
                  <a:cubicBezTo>
                    <a:pt x="81" y="104"/>
                    <a:pt x="81" y="106"/>
                    <a:pt x="81" y="115"/>
                  </a:cubicBezTo>
                  <a:lnTo>
                    <a:pt x="70" y="115"/>
                  </a:lnTo>
                  <a:cubicBezTo>
                    <a:pt x="70" y="129"/>
                    <a:pt x="59" y="129"/>
                    <a:pt x="48" y="129"/>
                  </a:cubicBezTo>
                  <a:lnTo>
                    <a:pt x="48" y="104"/>
                  </a:lnTo>
                  <a:lnTo>
                    <a:pt x="70" y="104"/>
                  </a:lnTo>
                  <a:cubicBezTo>
                    <a:pt x="76" y="102"/>
                    <a:pt x="82" y="100"/>
                    <a:pt x="87" y="98"/>
                  </a:cubicBezTo>
                  <a:close/>
                  <a:moveTo>
                    <a:pt x="140" y="0"/>
                  </a:moveTo>
                  <a:cubicBezTo>
                    <a:pt x="129" y="0"/>
                    <a:pt x="118" y="0"/>
                    <a:pt x="106" y="12"/>
                  </a:cubicBezTo>
                  <a:cubicBezTo>
                    <a:pt x="92" y="23"/>
                    <a:pt x="92" y="23"/>
                    <a:pt x="92" y="34"/>
                  </a:cubicBezTo>
                  <a:cubicBezTo>
                    <a:pt x="81" y="45"/>
                    <a:pt x="70" y="59"/>
                    <a:pt x="59" y="59"/>
                  </a:cubicBezTo>
                  <a:cubicBezTo>
                    <a:pt x="59" y="59"/>
                    <a:pt x="48" y="59"/>
                    <a:pt x="37" y="70"/>
                  </a:cubicBezTo>
                  <a:cubicBezTo>
                    <a:pt x="11" y="81"/>
                    <a:pt x="0" y="104"/>
                    <a:pt x="0" y="129"/>
                  </a:cubicBezTo>
                  <a:lnTo>
                    <a:pt x="0" y="140"/>
                  </a:lnTo>
                  <a:lnTo>
                    <a:pt x="0" y="151"/>
                  </a:lnTo>
                  <a:lnTo>
                    <a:pt x="11" y="151"/>
                  </a:lnTo>
                  <a:lnTo>
                    <a:pt x="11" y="163"/>
                  </a:lnTo>
                  <a:cubicBezTo>
                    <a:pt x="23" y="174"/>
                    <a:pt x="37" y="174"/>
                    <a:pt x="37" y="174"/>
                  </a:cubicBezTo>
                  <a:lnTo>
                    <a:pt x="48" y="174"/>
                  </a:lnTo>
                  <a:cubicBezTo>
                    <a:pt x="59" y="174"/>
                    <a:pt x="81" y="174"/>
                    <a:pt x="92" y="163"/>
                  </a:cubicBezTo>
                  <a:cubicBezTo>
                    <a:pt x="106" y="163"/>
                    <a:pt x="118" y="151"/>
                    <a:pt x="129" y="140"/>
                  </a:cubicBezTo>
                  <a:lnTo>
                    <a:pt x="129" y="115"/>
                  </a:lnTo>
                  <a:lnTo>
                    <a:pt x="140" y="104"/>
                  </a:lnTo>
                  <a:lnTo>
                    <a:pt x="151" y="104"/>
                  </a:lnTo>
                  <a:cubicBezTo>
                    <a:pt x="162" y="104"/>
                    <a:pt x="176" y="93"/>
                    <a:pt x="188" y="93"/>
                  </a:cubicBezTo>
                  <a:lnTo>
                    <a:pt x="199" y="81"/>
                  </a:lnTo>
                  <a:lnTo>
                    <a:pt x="199" y="70"/>
                  </a:lnTo>
                  <a:lnTo>
                    <a:pt x="199" y="34"/>
                  </a:lnTo>
                  <a:lnTo>
                    <a:pt x="188" y="23"/>
                  </a:lnTo>
                  <a:lnTo>
                    <a:pt x="188" y="12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3" name="Google Shape;321;p17">
              <a:extLst>
                <a:ext uri="{FF2B5EF4-FFF2-40B4-BE49-F238E27FC236}">
                  <a16:creationId xmlns:a16="http://schemas.microsoft.com/office/drawing/2014/main" xmlns="" id="{8C091119-C004-A831-AB08-55B482025B0A}"/>
                </a:ext>
              </a:extLst>
            </p:cNvPr>
            <p:cNvSpPr/>
            <p:nvPr/>
          </p:nvSpPr>
          <p:spPr>
            <a:xfrm>
              <a:off x="4019574" y="4081530"/>
              <a:ext cx="89223" cy="60405"/>
            </a:xfrm>
            <a:custGeom>
              <a:avLst/>
              <a:gdLst/>
              <a:ahLst/>
              <a:cxnLst/>
              <a:rect l="l" t="t" r="r" b="b"/>
              <a:pathLst>
                <a:path w="387" h="262" extrusionOk="0">
                  <a:moveTo>
                    <a:pt x="350" y="0"/>
                  </a:moveTo>
                  <a:cubicBezTo>
                    <a:pt x="339" y="12"/>
                    <a:pt x="328" y="12"/>
                    <a:pt x="328" y="23"/>
                  </a:cubicBezTo>
                  <a:lnTo>
                    <a:pt x="291" y="23"/>
                  </a:lnTo>
                  <a:cubicBezTo>
                    <a:pt x="269" y="23"/>
                    <a:pt x="258" y="48"/>
                    <a:pt x="235" y="48"/>
                  </a:cubicBezTo>
                  <a:cubicBezTo>
                    <a:pt x="210" y="59"/>
                    <a:pt x="188" y="59"/>
                    <a:pt x="165" y="59"/>
                  </a:cubicBezTo>
                  <a:cubicBezTo>
                    <a:pt x="140" y="59"/>
                    <a:pt x="129" y="82"/>
                    <a:pt x="107" y="93"/>
                  </a:cubicBezTo>
                  <a:cubicBezTo>
                    <a:pt x="95" y="118"/>
                    <a:pt x="81" y="129"/>
                    <a:pt x="59" y="151"/>
                  </a:cubicBezTo>
                  <a:cubicBezTo>
                    <a:pt x="48" y="174"/>
                    <a:pt x="26" y="188"/>
                    <a:pt x="12" y="210"/>
                  </a:cubicBezTo>
                  <a:cubicBezTo>
                    <a:pt x="12" y="221"/>
                    <a:pt x="0" y="233"/>
                    <a:pt x="12" y="233"/>
                  </a:cubicBezTo>
                  <a:lnTo>
                    <a:pt x="70" y="233"/>
                  </a:lnTo>
                  <a:cubicBezTo>
                    <a:pt x="70" y="244"/>
                    <a:pt x="70" y="244"/>
                    <a:pt x="81" y="258"/>
                  </a:cubicBezTo>
                  <a:lnTo>
                    <a:pt x="95" y="258"/>
                  </a:lnTo>
                  <a:cubicBezTo>
                    <a:pt x="106" y="260"/>
                    <a:pt x="118" y="262"/>
                    <a:pt x="131" y="262"/>
                  </a:cubicBezTo>
                  <a:cubicBezTo>
                    <a:pt x="168" y="262"/>
                    <a:pt x="208" y="249"/>
                    <a:pt x="235" y="221"/>
                  </a:cubicBezTo>
                  <a:cubicBezTo>
                    <a:pt x="258" y="199"/>
                    <a:pt x="269" y="163"/>
                    <a:pt x="305" y="129"/>
                  </a:cubicBezTo>
                  <a:cubicBezTo>
                    <a:pt x="316" y="118"/>
                    <a:pt x="339" y="93"/>
                    <a:pt x="350" y="82"/>
                  </a:cubicBezTo>
                  <a:cubicBezTo>
                    <a:pt x="361" y="59"/>
                    <a:pt x="375" y="34"/>
                    <a:pt x="386" y="12"/>
                  </a:cubicBezTo>
                  <a:lnTo>
                    <a:pt x="38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4" name="Google Shape;322;p17">
              <a:extLst>
                <a:ext uri="{FF2B5EF4-FFF2-40B4-BE49-F238E27FC236}">
                  <a16:creationId xmlns:a16="http://schemas.microsoft.com/office/drawing/2014/main" xmlns="" id="{1D4EB140-9A08-9E51-29DD-75AECE4BF617}"/>
                </a:ext>
              </a:extLst>
            </p:cNvPr>
            <p:cNvSpPr/>
            <p:nvPr/>
          </p:nvSpPr>
          <p:spPr>
            <a:xfrm>
              <a:off x="4017037" y="4076458"/>
              <a:ext cx="96831" cy="72394"/>
            </a:xfrm>
            <a:custGeom>
              <a:avLst/>
              <a:gdLst/>
              <a:ahLst/>
              <a:cxnLst/>
              <a:rect l="l" t="t" r="r" b="b"/>
              <a:pathLst>
                <a:path w="420" h="314" extrusionOk="0">
                  <a:moveTo>
                    <a:pt x="367" y="46"/>
                  </a:moveTo>
                  <a:cubicBezTo>
                    <a:pt x="360" y="62"/>
                    <a:pt x="357" y="74"/>
                    <a:pt x="339" y="92"/>
                  </a:cubicBezTo>
                  <a:cubicBezTo>
                    <a:pt x="327" y="104"/>
                    <a:pt x="316" y="115"/>
                    <a:pt x="291" y="140"/>
                  </a:cubicBezTo>
                  <a:cubicBezTo>
                    <a:pt x="269" y="173"/>
                    <a:pt x="246" y="210"/>
                    <a:pt x="221" y="232"/>
                  </a:cubicBezTo>
                  <a:cubicBezTo>
                    <a:pt x="199" y="243"/>
                    <a:pt x="162" y="266"/>
                    <a:pt x="140" y="266"/>
                  </a:cubicBezTo>
                  <a:cubicBezTo>
                    <a:pt x="129" y="266"/>
                    <a:pt x="118" y="255"/>
                    <a:pt x="106" y="255"/>
                  </a:cubicBezTo>
                  <a:cubicBezTo>
                    <a:pt x="106" y="243"/>
                    <a:pt x="92" y="243"/>
                    <a:pt x="92" y="243"/>
                  </a:cubicBezTo>
                  <a:cubicBezTo>
                    <a:pt x="81" y="232"/>
                    <a:pt x="70" y="232"/>
                    <a:pt x="59" y="232"/>
                  </a:cubicBezTo>
                  <a:lnTo>
                    <a:pt x="59" y="232"/>
                  </a:lnTo>
                  <a:cubicBezTo>
                    <a:pt x="68" y="217"/>
                    <a:pt x="78" y="201"/>
                    <a:pt x="92" y="185"/>
                  </a:cubicBezTo>
                  <a:cubicBezTo>
                    <a:pt x="106" y="173"/>
                    <a:pt x="118" y="151"/>
                    <a:pt x="140" y="126"/>
                  </a:cubicBezTo>
                  <a:cubicBezTo>
                    <a:pt x="151" y="115"/>
                    <a:pt x="162" y="104"/>
                    <a:pt x="188" y="104"/>
                  </a:cubicBezTo>
                  <a:cubicBezTo>
                    <a:pt x="199" y="104"/>
                    <a:pt x="221" y="104"/>
                    <a:pt x="257" y="92"/>
                  </a:cubicBezTo>
                  <a:cubicBezTo>
                    <a:pt x="269" y="92"/>
                    <a:pt x="280" y="81"/>
                    <a:pt x="291" y="81"/>
                  </a:cubicBezTo>
                  <a:cubicBezTo>
                    <a:pt x="291" y="70"/>
                    <a:pt x="302" y="70"/>
                    <a:pt x="302" y="70"/>
                  </a:cubicBezTo>
                  <a:lnTo>
                    <a:pt x="327" y="70"/>
                  </a:lnTo>
                  <a:cubicBezTo>
                    <a:pt x="339" y="70"/>
                    <a:pt x="339" y="56"/>
                    <a:pt x="350" y="56"/>
                  </a:cubicBezTo>
                  <a:cubicBezTo>
                    <a:pt x="350" y="56"/>
                    <a:pt x="358" y="48"/>
                    <a:pt x="367" y="46"/>
                  </a:cubicBezTo>
                  <a:close/>
                  <a:moveTo>
                    <a:pt x="372" y="0"/>
                  </a:moveTo>
                  <a:cubicBezTo>
                    <a:pt x="361" y="0"/>
                    <a:pt x="350" y="0"/>
                    <a:pt x="350" y="11"/>
                  </a:cubicBezTo>
                  <a:cubicBezTo>
                    <a:pt x="339" y="11"/>
                    <a:pt x="327" y="11"/>
                    <a:pt x="327" y="22"/>
                  </a:cubicBezTo>
                  <a:lnTo>
                    <a:pt x="291" y="22"/>
                  </a:lnTo>
                  <a:cubicBezTo>
                    <a:pt x="280" y="22"/>
                    <a:pt x="269" y="34"/>
                    <a:pt x="257" y="45"/>
                  </a:cubicBezTo>
                  <a:lnTo>
                    <a:pt x="246" y="45"/>
                  </a:lnTo>
                  <a:cubicBezTo>
                    <a:pt x="221" y="56"/>
                    <a:pt x="199" y="56"/>
                    <a:pt x="176" y="56"/>
                  </a:cubicBezTo>
                  <a:cubicBezTo>
                    <a:pt x="140" y="56"/>
                    <a:pt x="118" y="81"/>
                    <a:pt x="106" y="104"/>
                  </a:cubicBezTo>
                  <a:cubicBezTo>
                    <a:pt x="81" y="115"/>
                    <a:pt x="70" y="140"/>
                    <a:pt x="59" y="162"/>
                  </a:cubicBezTo>
                  <a:cubicBezTo>
                    <a:pt x="48" y="173"/>
                    <a:pt x="23" y="196"/>
                    <a:pt x="0" y="221"/>
                  </a:cubicBezTo>
                  <a:lnTo>
                    <a:pt x="0" y="243"/>
                  </a:lnTo>
                  <a:cubicBezTo>
                    <a:pt x="0" y="255"/>
                    <a:pt x="0" y="266"/>
                    <a:pt x="11" y="266"/>
                  </a:cubicBezTo>
                  <a:lnTo>
                    <a:pt x="11" y="280"/>
                  </a:lnTo>
                  <a:lnTo>
                    <a:pt x="59" y="280"/>
                  </a:lnTo>
                  <a:cubicBezTo>
                    <a:pt x="59" y="280"/>
                    <a:pt x="70" y="280"/>
                    <a:pt x="70" y="291"/>
                  </a:cubicBezTo>
                  <a:cubicBezTo>
                    <a:pt x="81" y="302"/>
                    <a:pt x="92" y="302"/>
                    <a:pt x="106" y="302"/>
                  </a:cubicBezTo>
                  <a:cubicBezTo>
                    <a:pt x="118" y="302"/>
                    <a:pt x="129" y="313"/>
                    <a:pt x="140" y="313"/>
                  </a:cubicBezTo>
                  <a:cubicBezTo>
                    <a:pt x="176" y="313"/>
                    <a:pt x="221" y="291"/>
                    <a:pt x="257" y="266"/>
                  </a:cubicBezTo>
                  <a:cubicBezTo>
                    <a:pt x="291" y="232"/>
                    <a:pt x="302" y="196"/>
                    <a:pt x="327" y="173"/>
                  </a:cubicBezTo>
                  <a:cubicBezTo>
                    <a:pt x="339" y="151"/>
                    <a:pt x="361" y="140"/>
                    <a:pt x="386" y="115"/>
                  </a:cubicBezTo>
                  <a:cubicBezTo>
                    <a:pt x="397" y="92"/>
                    <a:pt x="408" y="70"/>
                    <a:pt x="408" y="45"/>
                  </a:cubicBezTo>
                  <a:lnTo>
                    <a:pt x="420" y="45"/>
                  </a:lnTo>
                  <a:lnTo>
                    <a:pt x="420" y="22"/>
                  </a:lnTo>
                  <a:lnTo>
                    <a:pt x="408" y="22"/>
                  </a:lnTo>
                  <a:cubicBezTo>
                    <a:pt x="408" y="11"/>
                    <a:pt x="408" y="0"/>
                    <a:pt x="39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5" name="Google Shape;323;p17">
              <a:extLst>
                <a:ext uri="{FF2B5EF4-FFF2-40B4-BE49-F238E27FC236}">
                  <a16:creationId xmlns:a16="http://schemas.microsoft.com/office/drawing/2014/main" xmlns="" id="{9DE85AC8-9D51-6E11-8836-769728C45752}"/>
                </a:ext>
              </a:extLst>
            </p:cNvPr>
            <p:cNvSpPr/>
            <p:nvPr/>
          </p:nvSpPr>
          <p:spPr>
            <a:xfrm>
              <a:off x="4118941" y="3826308"/>
              <a:ext cx="86456" cy="278741"/>
            </a:xfrm>
            <a:custGeom>
              <a:avLst/>
              <a:gdLst/>
              <a:ahLst/>
              <a:cxnLst/>
              <a:rect l="l" t="t" r="r" b="b"/>
              <a:pathLst>
                <a:path w="375" h="1209" extrusionOk="0">
                  <a:moveTo>
                    <a:pt x="327" y="0"/>
                  </a:moveTo>
                  <a:cubicBezTo>
                    <a:pt x="305" y="0"/>
                    <a:pt x="294" y="11"/>
                    <a:pt x="280" y="23"/>
                  </a:cubicBezTo>
                  <a:cubicBezTo>
                    <a:pt x="268" y="48"/>
                    <a:pt x="257" y="70"/>
                    <a:pt x="257" y="106"/>
                  </a:cubicBezTo>
                  <a:cubicBezTo>
                    <a:pt x="257" y="106"/>
                    <a:pt x="257" y="118"/>
                    <a:pt x="246" y="129"/>
                  </a:cubicBezTo>
                  <a:cubicBezTo>
                    <a:pt x="235" y="140"/>
                    <a:pt x="235" y="162"/>
                    <a:pt x="235" y="176"/>
                  </a:cubicBezTo>
                  <a:cubicBezTo>
                    <a:pt x="235" y="188"/>
                    <a:pt x="246" y="199"/>
                    <a:pt x="246" y="210"/>
                  </a:cubicBezTo>
                  <a:cubicBezTo>
                    <a:pt x="246" y="232"/>
                    <a:pt x="235" y="246"/>
                    <a:pt x="224" y="246"/>
                  </a:cubicBezTo>
                  <a:cubicBezTo>
                    <a:pt x="224" y="257"/>
                    <a:pt x="210" y="257"/>
                    <a:pt x="210" y="257"/>
                  </a:cubicBezTo>
                  <a:cubicBezTo>
                    <a:pt x="187" y="257"/>
                    <a:pt x="176" y="280"/>
                    <a:pt x="176" y="291"/>
                  </a:cubicBezTo>
                  <a:cubicBezTo>
                    <a:pt x="176" y="302"/>
                    <a:pt x="176" y="327"/>
                    <a:pt x="187" y="339"/>
                  </a:cubicBezTo>
                  <a:lnTo>
                    <a:pt x="187" y="420"/>
                  </a:lnTo>
                  <a:cubicBezTo>
                    <a:pt x="187" y="420"/>
                    <a:pt x="176" y="431"/>
                    <a:pt x="176" y="442"/>
                  </a:cubicBezTo>
                  <a:cubicBezTo>
                    <a:pt x="165" y="478"/>
                    <a:pt x="129" y="501"/>
                    <a:pt x="106" y="537"/>
                  </a:cubicBezTo>
                  <a:cubicBezTo>
                    <a:pt x="95" y="571"/>
                    <a:pt x="117" y="607"/>
                    <a:pt x="106" y="652"/>
                  </a:cubicBezTo>
                  <a:cubicBezTo>
                    <a:pt x="84" y="699"/>
                    <a:pt x="25" y="710"/>
                    <a:pt x="14" y="758"/>
                  </a:cubicBezTo>
                  <a:cubicBezTo>
                    <a:pt x="0" y="780"/>
                    <a:pt x="14" y="806"/>
                    <a:pt x="36" y="817"/>
                  </a:cubicBezTo>
                  <a:cubicBezTo>
                    <a:pt x="48" y="828"/>
                    <a:pt x="59" y="839"/>
                    <a:pt x="70" y="839"/>
                  </a:cubicBezTo>
                  <a:cubicBezTo>
                    <a:pt x="84" y="850"/>
                    <a:pt x="95" y="850"/>
                    <a:pt x="106" y="875"/>
                  </a:cubicBezTo>
                  <a:cubicBezTo>
                    <a:pt x="117" y="898"/>
                    <a:pt x="95" y="920"/>
                    <a:pt x="95" y="945"/>
                  </a:cubicBezTo>
                  <a:lnTo>
                    <a:pt x="95" y="956"/>
                  </a:lnTo>
                  <a:cubicBezTo>
                    <a:pt x="95" y="968"/>
                    <a:pt x="95" y="968"/>
                    <a:pt x="106" y="968"/>
                  </a:cubicBezTo>
                  <a:cubicBezTo>
                    <a:pt x="117" y="1001"/>
                    <a:pt x="106" y="1038"/>
                    <a:pt x="84" y="1049"/>
                  </a:cubicBezTo>
                  <a:cubicBezTo>
                    <a:pt x="84" y="1060"/>
                    <a:pt x="70" y="1060"/>
                    <a:pt x="59" y="1060"/>
                  </a:cubicBezTo>
                  <a:cubicBezTo>
                    <a:pt x="48" y="1071"/>
                    <a:pt x="36" y="1085"/>
                    <a:pt x="36" y="1085"/>
                  </a:cubicBezTo>
                  <a:cubicBezTo>
                    <a:pt x="36" y="1096"/>
                    <a:pt x="48" y="1107"/>
                    <a:pt x="48" y="1119"/>
                  </a:cubicBezTo>
                  <a:cubicBezTo>
                    <a:pt x="59" y="1130"/>
                    <a:pt x="70" y="1130"/>
                    <a:pt x="84" y="1130"/>
                  </a:cubicBezTo>
                  <a:lnTo>
                    <a:pt x="117" y="1130"/>
                  </a:lnTo>
                  <a:lnTo>
                    <a:pt x="129" y="1141"/>
                  </a:lnTo>
                  <a:cubicBezTo>
                    <a:pt x="140" y="1155"/>
                    <a:pt x="140" y="1166"/>
                    <a:pt x="140" y="1166"/>
                  </a:cubicBezTo>
                  <a:cubicBezTo>
                    <a:pt x="140" y="1189"/>
                    <a:pt x="154" y="1200"/>
                    <a:pt x="165" y="1200"/>
                  </a:cubicBezTo>
                  <a:cubicBezTo>
                    <a:pt x="176" y="1205"/>
                    <a:pt x="185" y="1208"/>
                    <a:pt x="192" y="1208"/>
                  </a:cubicBezTo>
                  <a:cubicBezTo>
                    <a:pt x="199" y="1208"/>
                    <a:pt x="204" y="1205"/>
                    <a:pt x="210" y="1200"/>
                  </a:cubicBezTo>
                  <a:cubicBezTo>
                    <a:pt x="235" y="1200"/>
                    <a:pt x="246" y="1189"/>
                    <a:pt x="257" y="1166"/>
                  </a:cubicBezTo>
                  <a:cubicBezTo>
                    <a:pt x="257" y="1155"/>
                    <a:pt x="246" y="1130"/>
                    <a:pt x="246" y="1119"/>
                  </a:cubicBezTo>
                  <a:cubicBezTo>
                    <a:pt x="246" y="1107"/>
                    <a:pt x="246" y="1085"/>
                    <a:pt x="268" y="1071"/>
                  </a:cubicBezTo>
                  <a:lnTo>
                    <a:pt x="294" y="1071"/>
                  </a:lnTo>
                  <a:cubicBezTo>
                    <a:pt x="305" y="1060"/>
                    <a:pt x="294" y="1049"/>
                    <a:pt x="305" y="1038"/>
                  </a:cubicBezTo>
                  <a:cubicBezTo>
                    <a:pt x="305" y="1026"/>
                    <a:pt x="327" y="1026"/>
                    <a:pt x="338" y="1026"/>
                  </a:cubicBezTo>
                  <a:cubicBezTo>
                    <a:pt x="350" y="1026"/>
                    <a:pt x="375" y="1015"/>
                    <a:pt x="375" y="990"/>
                  </a:cubicBezTo>
                  <a:cubicBezTo>
                    <a:pt x="375" y="968"/>
                    <a:pt x="364" y="956"/>
                    <a:pt x="338" y="931"/>
                  </a:cubicBezTo>
                  <a:cubicBezTo>
                    <a:pt x="327" y="931"/>
                    <a:pt x="316" y="920"/>
                    <a:pt x="305" y="909"/>
                  </a:cubicBezTo>
                  <a:cubicBezTo>
                    <a:pt x="305" y="887"/>
                    <a:pt x="305" y="875"/>
                    <a:pt x="316" y="861"/>
                  </a:cubicBezTo>
                  <a:cubicBezTo>
                    <a:pt x="316" y="828"/>
                    <a:pt x="305" y="792"/>
                    <a:pt x="268" y="769"/>
                  </a:cubicBezTo>
                  <a:cubicBezTo>
                    <a:pt x="257" y="769"/>
                    <a:pt x="246" y="758"/>
                    <a:pt x="246" y="758"/>
                  </a:cubicBezTo>
                  <a:cubicBezTo>
                    <a:pt x="235" y="747"/>
                    <a:pt x="224" y="722"/>
                    <a:pt x="224" y="710"/>
                  </a:cubicBezTo>
                  <a:cubicBezTo>
                    <a:pt x="210" y="688"/>
                    <a:pt x="210" y="666"/>
                    <a:pt x="210" y="652"/>
                  </a:cubicBezTo>
                  <a:lnTo>
                    <a:pt x="210" y="629"/>
                  </a:lnTo>
                  <a:cubicBezTo>
                    <a:pt x="210" y="618"/>
                    <a:pt x="224" y="618"/>
                    <a:pt x="224" y="607"/>
                  </a:cubicBezTo>
                  <a:cubicBezTo>
                    <a:pt x="246" y="571"/>
                    <a:pt x="280" y="537"/>
                    <a:pt x="305" y="501"/>
                  </a:cubicBezTo>
                  <a:cubicBezTo>
                    <a:pt x="316" y="490"/>
                    <a:pt x="316" y="478"/>
                    <a:pt x="316" y="467"/>
                  </a:cubicBezTo>
                  <a:cubicBezTo>
                    <a:pt x="327" y="431"/>
                    <a:pt x="338" y="408"/>
                    <a:pt x="327" y="386"/>
                  </a:cubicBezTo>
                  <a:cubicBezTo>
                    <a:pt x="327" y="350"/>
                    <a:pt x="316" y="302"/>
                    <a:pt x="327" y="269"/>
                  </a:cubicBezTo>
                  <a:cubicBezTo>
                    <a:pt x="327" y="269"/>
                    <a:pt x="338" y="257"/>
                    <a:pt x="338" y="246"/>
                  </a:cubicBezTo>
                  <a:cubicBezTo>
                    <a:pt x="350" y="221"/>
                    <a:pt x="350" y="210"/>
                    <a:pt x="350" y="188"/>
                  </a:cubicBezTo>
                  <a:lnTo>
                    <a:pt x="350" y="48"/>
                  </a:lnTo>
                  <a:cubicBezTo>
                    <a:pt x="350" y="23"/>
                    <a:pt x="338" y="11"/>
                    <a:pt x="32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6" name="Google Shape;324;p17">
              <a:extLst>
                <a:ext uri="{FF2B5EF4-FFF2-40B4-BE49-F238E27FC236}">
                  <a16:creationId xmlns:a16="http://schemas.microsoft.com/office/drawing/2014/main" xmlns="" id="{98FB9C01-99E1-1928-1F85-74B78C76FE09}"/>
                </a:ext>
              </a:extLst>
            </p:cNvPr>
            <p:cNvSpPr/>
            <p:nvPr/>
          </p:nvSpPr>
          <p:spPr>
            <a:xfrm>
              <a:off x="4116175" y="3821005"/>
              <a:ext cx="94525" cy="290499"/>
            </a:xfrm>
            <a:custGeom>
              <a:avLst/>
              <a:gdLst/>
              <a:ahLst/>
              <a:cxnLst/>
              <a:rect l="l" t="t" r="r" b="b"/>
              <a:pathLst>
                <a:path w="410" h="1260" extrusionOk="0">
                  <a:moveTo>
                    <a:pt x="339" y="46"/>
                  </a:moveTo>
                  <a:lnTo>
                    <a:pt x="339" y="71"/>
                  </a:lnTo>
                  <a:lnTo>
                    <a:pt x="339" y="141"/>
                  </a:lnTo>
                  <a:lnTo>
                    <a:pt x="339" y="211"/>
                  </a:lnTo>
                  <a:cubicBezTo>
                    <a:pt x="339" y="233"/>
                    <a:pt x="339" y="244"/>
                    <a:pt x="328" y="255"/>
                  </a:cubicBezTo>
                  <a:cubicBezTo>
                    <a:pt x="328" y="269"/>
                    <a:pt x="328" y="280"/>
                    <a:pt x="317" y="292"/>
                  </a:cubicBezTo>
                  <a:lnTo>
                    <a:pt x="317" y="339"/>
                  </a:lnTo>
                  <a:lnTo>
                    <a:pt x="317" y="409"/>
                  </a:lnTo>
                  <a:lnTo>
                    <a:pt x="317" y="420"/>
                  </a:lnTo>
                  <a:cubicBezTo>
                    <a:pt x="317" y="443"/>
                    <a:pt x="317" y="454"/>
                    <a:pt x="306" y="479"/>
                  </a:cubicBezTo>
                  <a:cubicBezTo>
                    <a:pt x="306" y="490"/>
                    <a:pt x="306" y="501"/>
                    <a:pt x="292" y="513"/>
                  </a:cubicBezTo>
                  <a:cubicBezTo>
                    <a:pt x="292" y="524"/>
                    <a:pt x="269" y="549"/>
                    <a:pt x="258" y="560"/>
                  </a:cubicBezTo>
                  <a:cubicBezTo>
                    <a:pt x="247" y="582"/>
                    <a:pt x="222" y="594"/>
                    <a:pt x="211" y="619"/>
                  </a:cubicBezTo>
                  <a:cubicBezTo>
                    <a:pt x="211" y="630"/>
                    <a:pt x="199" y="630"/>
                    <a:pt x="199" y="641"/>
                  </a:cubicBezTo>
                  <a:lnTo>
                    <a:pt x="199" y="664"/>
                  </a:lnTo>
                  <a:lnTo>
                    <a:pt x="199" y="675"/>
                  </a:lnTo>
                  <a:cubicBezTo>
                    <a:pt x="199" y="700"/>
                    <a:pt x="199" y="722"/>
                    <a:pt x="211" y="733"/>
                  </a:cubicBezTo>
                  <a:cubicBezTo>
                    <a:pt x="211" y="745"/>
                    <a:pt x="211" y="759"/>
                    <a:pt x="222" y="770"/>
                  </a:cubicBezTo>
                  <a:cubicBezTo>
                    <a:pt x="222" y="781"/>
                    <a:pt x="222" y="792"/>
                    <a:pt x="247" y="803"/>
                  </a:cubicBezTo>
                  <a:cubicBezTo>
                    <a:pt x="258" y="803"/>
                    <a:pt x="258" y="815"/>
                    <a:pt x="269" y="815"/>
                  </a:cubicBezTo>
                  <a:cubicBezTo>
                    <a:pt x="292" y="829"/>
                    <a:pt x="306" y="851"/>
                    <a:pt x="306" y="873"/>
                  </a:cubicBezTo>
                  <a:lnTo>
                    <a:pt x="306" y="884"/>
                  </a:lnTo>
                  <a:cubicBezTo>
                    <a:pt x="292" y="884"/>
                    <a:pt x="292" y="898"/>
                    <a:pt x="292" y="921"/>
                  </a:cubicBezTo>
                  <a:lnTo>
                    <a:pt x="292" y="932"/>
                  </a:lnTo>
                  <a:cubicBezTo>
                    <a:pt x="306" y="943"/>
                    <a:pt x="306" y="954"/>
                    <a:pt x="317" y="968"/>
                  </a:cubicBezTo>
                  <a:cubicBezTo>
                    <a:pt x="328" y="968"/>
                    <a:pt x="339" y="979"/>
                    <a:pt x="339" y="979"/>
                  </a:cubicBezTo>
                  <a:cubicBezTo>
                    <a:pt x="350" y="991"/>
                    <a:pt x="350" y="991"/>
                    <a:pt x="362" y="1002"/>
                  </a:cubicBezTo>
                  <a:lnTo>
                    <a:pt x="362" y="1013"/>
                  </a:lnTo>
                  <a:lnTo>
                    <a:pt x="362" y="1024"/>
                  </a:lnTo>
                  <a:lnTo>
                    <a:pt x="328" y="1024"/>
                  </a:lnTo>
                  <a:cubicBezTo>
                    <a:pt x="317" y="1038"/>
                    <a:pt x="306" y="1038"/>
                    <a:pt x="292" y="1049"/>
                  </a:cubicBezTo>
                  <a:cubicBezTo>
                    <a:pt x="292" y="1061"/>
                    <a:pt x="280" y="1072"/>
                    <a:pt x="280" y="1072"/>
                  </a:cubicBezTo>
                  <a:lnTo>
                    <a:pt x="269" y="1083"/>
                  </a:lnTo>
                  <a:cubicBezTo>
                    <a:pt x="258" y="1083"/>
                    <a:pt x="247" y="1094"/>
                    <a:pt x="247" y="1108"/>
                  </a:cubicBezTo>
                  <a:cubicBezTo>
                    <a:pt x="236" y="1119"/>
                    <a:pt x="236" y="1119"/>
                    <a:pt x="236" y="1130"/>
                  </a:cubicBezTo>
                  <a:lnTo>
                    <a:pt x="236" y="1142"/>
                  </a:lnTo>
                  <a:cubicBezTo>
                    <a:pt x="236" y="1164"/>
                    <a:pt x="247" y="1178"/>
                    <a:pt x="247" y="1178"/>
                  </a:cubicBezTo>
                  <a:lnTo>
                    <a:pt x="247" y="1189"/>
                  </a:lnTo>
                  <a:lnTo>
                    <a:pt x="236" y="1200"/>
                  </a:lnTo>
                  <a:lnTo>
                    <a:pt x="222" y="1200"/>
                  </a:lnTo>
                  <a:cubicBezTo>
                    <a:pt x="211" y="1212"/>
                    <a:pt x="211" y="1212"/>
                    <a:pt x="199" y="1212"/>
                  </a:cubicBezTo>
                  <a:cubicBezTo>
                    <a:pt x="199" y="1212"/>
                    <a:pt x="188" y="1212"/>
                    <a:pt x="188" y="1200"/>
                  </a:cubicBezTo>
                  <a:cubicBezTo>
                    <a:pt x="177" y="1200"/>
                    <a:pt x="177" y="1189"/>
                    <a:pt x="177" y="1189"/>
                  </a:cubicBezTo>
                  <a:cubicBezTo>
                    <a:pt x="177" y="1189"/>
                    <a:pt x="177" y="1178"/>
                    <a:pt x="166" y="1164"/>
                  </a:cubicBezTo>
                  <a:cubicBezTo>
                    <a:pt x="166" y="1142"/>
                    <a:pt x="141" y="1130"/>
                    <a:pt x="129" y="1130"/>
                  </a:cubicBezTo>
                  <a:lnTo>
                    <a:pt x="96" y="1130"/>
                  </a:lnTo>
                  <a:cubicBezTo>
                    <a:pt x="96" y="1130"/>
                    <a:pt x="82" y="1130"/>
                    <a:pt x="82" y="1119"/>
                  </a:cubicBezTo>
                  <a:lnTo>
                    <a:pt x="71" y="1119"/>
                  </a:lnTo>
                  <a:lnTo>
                    <a:pt x="82" y="1108"/>
                  </a:lnTo>
                  <a:cubicBezTo>
                    <a:pt x="96" y="1108"/>
                    <a:pt x="96" y="1094"/>
                    <a:pt x="118" y="1094"/>
                  </a:cubicBezTo>
                  <a:cubicBezTo>
                    <a:pt x="129" y="1072"/>
                    <a:pt x="141" y="1049"/>
                    <a:pt x="141" y="1024"/>
                  </a:cubicBezTo>
                  <a:cubicBezTo>
                    <a:pt x="141" y="1013"/>
                    <a:pt x="141" y="1002"/>
                    <a:pt x="129" y="979"/>
                  </a:cubicBezTo>
                  <a:lnTo>
                    <a:pt x="129" y="968"/>
                  </a:lnTo>
                  <a:lnTo>
                    <a:pt x="129" y="943"/>
                  </a:lnTo>
                  <a:cubicBezTo>
                    <a:pt x="141" y="932"/>
                    <a:pt x="141" y="921"/>
                    <a:pt x="141" y="910"/>
                  </a:cubicBezTo>
                  <a:lnTo>
                    <a:pt x="141" y="884"/>
                  </a:lnTo>
                  <a:cubicBezTo>
                    <a:pt x="129" y="873"/>
                    <a:pt x="129" y="862"/>
                    <a:pt x="118" y="862"/>
                  </a:cubicBezTo>
                  <a:cubicBezTo>
                    <a:pt x="107" y="851"/>
                    <a:pt x="96" y="851"/>
                    <a:pt x="96" y="840"/>
                  </a:cubicBezTo>
                  <a:cubicBezTo>
                    <a:pt x="71" y="840"/>
                    <a:pt x="60" y="829"/>
                    <a:pt x="60" y="829"/>
                  </a:cubicBezTo>
                  <a:cubicBezTo>
                    <a:pt x="48" y="815"/>
                    <a:pt x="48" y="803"/>
                    <a:pt x="48" y="792"/>
                  </a:cubicBezTo>
                  <a:lnTo>
                    <a:pt x="48" y="781"/>
                  </a:lnTo>
                  <a:cubicBezTo>
                    <a:pt x="48" y="781"/>
                    <a:pt x="48" y="770"/>
                    <a:pt x="60" y="759"/>
                  </a:cubicBezTo>
                  <a:cubicBezTo>
                    <a:pt x="71" y="759"/>
                    <a:pt x="82" y="745"/>
                    <a:pt x="96" y="733"/>
                  </a:cubicBezTo>
                  <a:cubicBezTo>
                    <a:pt x="107" y="722"/>
                    <a:pt x="129" y="700"/>
                    <a:pt x="129" y="675"/>
                  </a:cubicBezTo>
                  <a:cubicBezTo>
                    <a:pt x="141" y="664"/>
                    <a:pt x="141" y="652"/>
                    <a:pt x="141" y="630"/>
                  </a:cubicBezTo>
                  <a:lnTo>
                    <a:pt x="141" y="594"/>
                  </a:lnTo>
                  <a:lnTo>
                    <a:pt x="141" y="560"/>
                  </a:lnTo>
                  <a:cubicBezTo>
                    <a:pt x="152" y="549"/>
                    <a:pt x="166" y="535"/>
                    <a:pt x="177" y="524"/>
                  </a:cubicBezTo>
                  <a:cubicBezTo>
                    <a:pt x="188" y="513"/>
                    <a:pt x="199" y="501"/>
                    <a:pt x="211" y="479"/>
                  </a:cubicBezTo>
                  <a:cubicBezTo>
                    <a:pt x="211" y="465"/>
                    <a:pt x="222" y="454"/>
                    <a:pt x="222" y="443"/>
                  </a:cubicBezTo>
                  <a:lnTo>
                    <a:pt x="222" y="409"/>
                  </a:lnTo>
                  <a:lnTo>
                    <a:pt x="222" y="362"/>
                  </a:lnTo>
                  <a:cubicBezTo>
                    <a:pt x="211" y="350"/>
                    <a:pt x="211" y="339"/>
                    <a:pt x="211" y="325"/>
                  </a:cubicBezTo>
                  <a:lnTo>
                    <a:pt x="211" y="314"/>
                  </a:lnTo>
                  <a:cubicBezTo>
                    <a:pt x="211" y="314"/>
                    <a:pt x="211" y="303"/>
                    <a:pt x="222" y="303"/>
                  </a:cubicBezTo>
                  <a:cubicBezTo>
                    <a:pt x="222" y="303"/>
                    <a:pt x="236" y="303"/>
                    <a:pt x="247" y="292"/>
                  </a:cubicBezTo>
                  <a:cubicBezTo>
                    <a:pt x="258" y="292"/>
                    <a:pt x="269" y="280"/>
                    <a:pt x="269" y="269"/>
                  </a:cubicBezTo>
                  <a:cubicBezTo>
                    <a:pt x="280" y="255"/>
                    <a:pt x="280" y="255"/>
                    <a:pt x="280" y="244"/>
                  </a:cubicBezTo>
                  <a:lnTo>
                    <a:pt x="280" y="233"/>
                  </a:lnTo>
                  <a:cubicBezTo>
                    <a:pt x="280" y="211"/>
                    <a:pt x="269" y="199"/>
                    <a:pt x="269" y="185"/>
                  </a:cubicBezTo>
                  <a:lnTo>
                    <a:pt x="269" y="174"/>
                  </a:lnTo>
                  <a:lnTo>
                    <a:pt x="280" y="163"/>
                  </a:lnTo>
                  <a:cubicBezTo>
                    <a:pt x="280" y="152"/>
                    <a:pt x="292" y="152"/>
                    <a:pt x="292" y="141"/>
                  </a:cubicBezTo>
                  <a:lnTo>
                    <a:pt x="292" y="129"/>
                  </a:lnTo>
                  <a:cubicBezTo>
                    <a:pt x="292" y="104"/>
                    <a:pt x="306" y="82"/>
                    <a:pt x="317" y="60"/>
                  </a:cubicBezTo>
                  <a:lnTo>
                    <a:pt x="328" y="46"/>
                  </a:lnTo>
                  <a:close/>
                  <a:moveTo>
                    <a:pt x="328" y="1"/>
                  </a:moveTo>
                  <a:cubicBezTo>
                    <a:pt x="317" y="1"/>
                    <a:pt x="306" y="1"/>
                    <a:pt x="292" y="12"/>
                  </a:cubicBezTo>
                  <a:cubicBezTo>
                    <a:pt x="280" y="23"/>
                    <a:pt x="280" y="23"/>
                    <a:pt x="269" y="34"/>
                  </a:cubicBezTo>
                  <a:cubicBezTo>
                    <a:pt x="258" y="60"/>
                    <a:pt x="247" y="93"/>
                    <a:pt x="247" y="129"/>
                  </a:cubicBezTo>
                  <a:lnTo>
                    <a:pt x="236" y="141"/>
                  </a:lnTo>
                  <a:cubicBezTo>
                    <a:pt x="222" y="152"/>
                    <a:pt x="222" y="174"/>
                    <a:pt x="222" y="185"/>
                  </a:cubicBezTo>
                  <a:lnTo>
                    <a:pt x="222" y="199"/>
                  </a:lnTo>
                  <a:cubicBezTo>
                    <a:pt x="222" y="222"/>
                    <a:pt x="236" y="233"/>
                    <a:pt x="236" y="244"/>
                  </a:cubicBezTo>
                  <a:lnTo>
                    <a:pt x="236" y="255"/>
                  </a:lnTo>
                  <a:lnTo>
                    <a:pt x="211" y="255"/>
                  </a:lnTo>
                  <a:cubicBezTo>
                    <a:pt x="199" y="255"/>
                    <a:pt x="188" y="269"/>
                    <a:pt x="177" y="280"/>
                  </a:cubicBezTo>
                  <a:cubicBezTo>
                    <a:pt x="177" y="292"/>
                    <a:pt x="166" y="303"/>
                    <a:pt x="166" y="314"/>
                  </a:cubicBezTo>
                  <a:lnTo>
                    <a:pt x="166" y="325"/>
                  </a:lnTo>
                  <a:cubicBezTo>
                    <a:pt x="166" y="339"/>
                    <a:pt x="177" y="350"/>
                    <a:pt x="177" y="362"/>
                  </a:cubicBezTo>
                  <a:lnTo>
                    <a:pt x="177" y="409"/>
                  </a:lnTo>
                  <a:lnTo>
                    <a:pt x="177" y="431"/>
                  </a:lnTo>
                  <a:cubicBezTo>
                    <a:pt x="177" y="443"/>
                    <a:pt x="177" y="454"/>
                    <a:pt x="166" y="454"/>
                  </a:cubicBezTo>
                  <a:cubicBezTo>
                    <a:pt x="166" y="465"/>
                    <a:pt x="152" y="479"/>
                    <a:pt x="141" y="490"/>
                  </a:cubicBezTo>
                  <a:cubicBezTo>
                    <a:pt x="129" y="513"/>
                    <a:pt x="107" y="524"/>
                    <a:pt x="107" y="549"/>
                  </a:cubicBezTo>
                  <a:cubicBezTo>
                    <a:pt x="96" y="560"/>
                    <a:pt x="96" y="582"/>
                    <a:pt x="96" y="594"/>
                  </a:cubicBezTo>
                  <a:lnTo>
                    <a:pt x="96" y="630"/>
                  </a:lnTo>
                  <a:lnTo>
                    <a:pt x="96" y="664"/>
                  </a:lnTo>
                  <a:cubicBezTo>
                    <a:pt x="82" y="675"/>
                    <a:pt x="71" y="689"/>
                    <a:pt x="48" y="711"/>
                  </a:cubicBezTo>
                  <a:cubicBezTo>
                    <a:pt x="48" y="711"/>
                    <a:pt x="37" y="722"/>
                    <a:pt x="26" y="733"/>
                  </a:cubicBezTo>
                  <a:cubicBezTo>
                    <a:pt x="12" y="745"/>
                    <a:pt x="1" y="759"/>
                    <a:pt x="1" y="770"/>
                  </a:cubicBezTo>
                  <a:lnTo>
                    <a:pt x="1" y="792"/>
                  </a:lnTo>
                  <a:cubicBezTo>
                    <a:pt x="1" y="815"/>
                    <a:pt x="1" y="851"/>
                    <a:pt x="26" y="862"/>
                  </a:cubicBezTo>
                  <a:cubicBezTo>
                    <a:pt x="48" y="873"/>
                    <a:pt x="60" y="884"/>
                    <a:pt x="71" y="884"/>
                  </a:cubicBezTo>
                  <a:cubicBezTo>
                    <a:pt x="82" y="884"/>
                    <a:pt x="82" y="884"/>
                    <a:pt x="82" y="898"/>
                  </a:cubicBezTo>
                  <a:lnTo>
                    <a:pt x="96" y="898"/>
                  </a:lnTo>
                  <a:lnTo>
                    <a:pt x="96" y="910"/>
                  </a:lnTo>
                  <a:lnTo>
                    <a:pt x="96" y="932"/>
                  </a:lnTo>
                  <a:cubicBezTo>
                    <a:pt x="82" y="943"/>
                    <a:pt x="82" y="954"/>
                    <a:pt x="82" y="968"/>
                  </a:cubicBezTo>
                  <a:lnTo>
                    <a:pt x="82" y="979"/>
                  </a:lnTo>
                  <a:lnTo>
                    <a:pt x="82" y="991"/>
                  </a:lnTo>
                  <a:cubicBezTo>
                    <a:pt x="82" y="1002"/>
                    <a:pt x="96" y="1002"/>
                    <a:pt x="96" y="1013"/>
                  </a:cubicBezTo>
                  <a:lnTo>
                    <a:pt x="96" y="1024"/>
                  </a:lnTo>
                  <a:cubicBezTo>
                    <a:pt x="96" y="1038"/>
                    <a:pt x="96" y="1049"/>
                    <a:pt x="82" y="1049"/>
                  </a:cubicBezTo>
                  <a:cubicBezTo>
                    <a:pt x="82" y="1061"/>
                    <a:pt x="71" y="1061"/>
                    <a:pt x="60" y="1072"/>
                  </a:cubicBezTo>
                  <a:cubicBezTo>
                    <a:pt x="48" y="1072"/>
                    <a:pt x="48" y="1072"/>
                    <a:pt x="37" y="1083"/>
                  </a:cubicBezTo>
                  <a:cubicBezTo>
                    <a:pt x="37" y="1083"/>
                    <a:pt x="37" y="1094"/>
                    <a:pt x="26" y="1108"/>
                  </a:cubicBezTo>
                  <a:lnTo>
                    <a:pt x="26" y="1119"/>
                  </a:lnTo>
                  <a:cubicBezTo>
                    <a:pt x="26" y="1130"/>
                    <a:pt x="37" y="1153"/>
                    <a:pt x="48" y="1164"/>
                  </a:cubicBezTo>
                  <a:cubicBezTo>
                    <a:pt x="60" y="1164"/>
                    <a:pt x="82" y="1178"/>
                    <a:pt x="96" y="1178"/>
                  </a:cubicBezTo>
                  <a:lnTo>
                    <a:pt x="129" y="1178"/>
                  </a:lnTo>
                  <a:lnTo>
                    <a:pt x="129" y="1200"/>
                  </a:lnTo>
                  <a:cubicBezTo>
                    <a:pt x="129" y="1223"/>
                    <a:pt x="152" y="1234"/>
                    <a:pt x="177" y="1248"/>
                  </a:cubicBezTo>
                  <a:cubicBezTo>
                    <a:pt x="177" y="1259"/>
                    <a:pt x="188" y="1259"/>
                    <a:pt x="199" y="1259"/>
                  </a:cubicBezTo>
                  <a:cubicBezTo>
                    <a:pt x="211" y="1259"/>
                    <a:pt x="222" y="1259"/>
                    <a:pt x="236" y="1248"/>
                  </a:cubicBezTo>
                  <a:cubicBezTo>
                    <a:pt x="247" y="1248"/>
                    <a:pt x="258" y="1234"/>
                    <a:pt x="269" y="1234"/>
                  </a:cubicBezTo>
                  <a:cubicBezTo>
                    <a:pt x="280" y="1223"/>
                    <a:pt x="280" y="1212"/>
                    <a:pt x="292" y="1200"/>
                  </a:cubicBezTo>
                  <a:lnTo>
                    <a:pt x="292" y="1178"/>
                  </a:lnTo>
                  <a:cubicBezTo>
                    <a:pt x="292" y="1164"/>
                    <a:pt x="280" y="1153"/>
                    <a:pt x="280" y="1142"/>
                  </a:cubicBezTo>
                  <a:lnTo>
                    <a:pt x="280" y="1130"/>
                  </a:lnTo>
                  <a:lnTo>
                    <a:pt x="280" y="1119"/>
                  </a:lnTo>
                  <a:lnTo>
                    <a:pt x="317" y="1119"/>
                  </a:lnTo>
                  <a:cubicBezTo>
                    <a:pt x="317" y="1108"/>
                    <a:pt x="328" y="1108"/>
                    <a:pt x="328" y="1094"/>
                  </a:cubicBezTo>
                  <a:lnTo>
                    <a:pt x="328" y="1083"/>
                  </a:lnTo>
                  <a:lnTo>
                    <a:pt x="328" y="1072"/>
                  </a:lnTo>
                  <a:lnTo>
                    <a:pt x="350" y="1072"/>
                  </a:lnTo>
                  <a:cubicBezTo>
                    <a:pt x="362" y="1072"/>
                    <a:pt x="376" y="1061"/>
                    <a:pt x="387" y="1061"/>
                  </a:cubicBezTo>
                  <a:cubicBezTo>
                    <a:pt x="398" y="1049"/>
                    <a:pt x="409" y="1038"/>
                    <a:pt x="409" y="1013"/>
                  </a:cubicBezTo>
                  <a:cubicBezTo>
                    <a:pt x="409" y="991"/>
                    <a:pt x="409" y="979"/>
                    <a:pt x="398" y="968"/>
                  </a:cubicBezTo>
                  <a:cubicBezTo>
                    <a:pt x="387" y="954"/>
                    <a:pt x="376" y="943"/>
                    <a:pt x="362" y="943"/>
                  </a:cubicBezTo>
                  <a:cubicBezTo>
                    <a:pt x="362" y="932"/>
                    <a:pt x="350" y="932"/>
                    <a:pt x="350" y="932"/>
                  </a:cubicBezTo>
                  <a:lnTo>
                    <a:pt x="339" y="921"/>
                  </a:lnTo>
                  <a:lnTo>
                    <a:pt x="339" y="884"/>
                  </a:lnTo>
                  <a:cubicBezTo>
                    <a:pt x="350" y="884"/>
                    <a:pt x="350" y="873"/>
                    <a:pt x="350" y="873"/>
                  </a:cubicBezTo>
                  <a:cubicBezTo>
                    <a:pt x="350" y="829"/>
                    <a:pt x="328" y="792"/>
                    <a:pt x="292" y="770"/>
                  </a:cubicBezTo>
                  <a:cubicBezTo>
                    <a:pt x="280" y="770"/>
                    <a:pt x="269" y="770"/>
                    <a:pt x="269" y="759"/>
                  </a:cubicBezTo>
                  <a:cubicBezTo>
                    <a:pt x="269" y="759"/>
                    <a:pt x="258" y="759"/>
                    <a:pt x="258" y="745"/>
                  </a:cubicBezTo>
                  <a:lnTo>
                    <a:pt x="258" y="722"/>
                  </a:lnTo>
                  <a:cubicBezTo>
                    <a:pt x="247" y="711"/>
                    <a:pt x="247" y="689"/>
                    <a:pt x="247" y="675"/>
                  </a:cubicBezTo>
                  <a:lnTo>
                    <a:pt x="247" y="664"/>
                  </a:lnTo>
                  <a:lnTo>
                    <a:pt x="247" y="652"/>
                  </a:lnTo>
                  <a:lnTo>
                    <a:pt x="258" y="641"/>
                  </a:lnTo>
                  <a:cubicBezTo>
                    <a:pt x="258" y="630"/>
                    <a:pt x="280" y="605"/>
                    <a:pt x="292" y="594"/>
                  </a:cubicBezTo>
                  <a:cubicBezTo>
                    <a:pt x="306" y="571"/>
                    <a:pt x="328" y="560"/>
                    <a:pt x="339" y="535"/>
                  </a:cubicBezTo>
                  <a:cubicBezTo>
                    <a:pt x="339" y="524"/>
                    <a:pt x="350" y="501"/>
                    <a:pt x="350" y="490"/>
                  </a:cubicBezTo>
                  <a:cubicBezTo>
                    <a:pt x="362" y="465"/>
                    <a:pt x="362" y="443"/>
                    <a:pt x="362" y="420"/>
                  </a:cubicBezTo>
                  <a:lnTo>
                    <a:pt x="362" y="409"/>
                  </a:lnTo>
                  <a:cubicBezTo>
                    <a:pt x="362" y="384"/>
                    <a:pt x="350" y="350"/>
                    <a:pt x="362" y="339"/>
                  </a:cubicBezTo>
                  <a:lnTo>
                    <a:pt x="362" y="303"/>
                  </a:lnTo>
                  <a:cubicBezTo>
                    <a:pt x="362" y="303"/>
                    <a:pt x="376" y="292"/>
                    <a:pt x="376" y="280"/>
                  </a:cubicBezTo>
                  <a:cubicBezTo>
                    <a:pt x="387" y="255"/>
                    <a:pt x="387" y="233"/>
                    <a:pt x="387" y="211"/>
                  </a:cubicBezTo>
                  <a:lnTo>
                    <a:pt x="387" y="141"/>
                  </a:lnTo>
                  <a:lnTo>
                    <a:pt x="387" y="71"/>
                  </a:lnTo>
                  <a:cubicBezTo>
                    <a:pt x="387" y="60"/>
                    <a:pt x="387" y="46"/>
                    <a:pt x="376" y="34"/>
                  </a:cubicBezTo>
                  <a:cubicBezTo>
                    <a:pt x="376" y="23"/>
                    <a:pt x="362" y="12"/>
                    <a:pt x="35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7" name="Google Shape;325;p17">
              <a:extLst>
                <a:ext uri="{FF2B5EF4-FFF2-40B4-BE49-F238E27FC236}">
                  <a16:creationId xmlns:a16="http://schemas.microsoft.com/office/drawing/2014/main" xmlns="" id="{F702C7E1-7E48-18C6-FFF7-E76A06BFF369}"/>
                </a:ext>
              </a:extLst>
            </p:cNvPr>
            <p:cNvSpPr/>
            <p:nvPr/>
          </p:nvSpPr>
          <p:spPr>
            <a:xfrm>
              <a:off x="4401136" y="3516443"/>
              <a:ext cx="220867" cy="320933"/>
            </a:xfrm>
            <a:custGeom>
              <a:avLst/>
              <a:gdLst/>
              <a:ahLst/>
              <a:cxnLst/>
              <a:rect l="l" t="t" r="r" b="b"/>
              <a:pathLst>
                <a:path w="958" h="1392" extrusionOk="0">
                  <a:moveTo>
                    <a:pt x="920" y="0"/>
                  </a:moveTo>
                  <a:cubicBezTo>
                    <a:pt x="910" y="0"/>
                    <a:pt x="898" y="8"/>
                    <a:pt x="898" y="16"/>
                  </a:cubicBezTo>
                  <a:cubicBezTo>
                    <a:pt x="887" y="27"/>
                    <a:pt x="887" y="38"/>
                    <a:pt x="873" y="52"/>
                  </a:cubicBezTo>
                  <a:cubicBezTo>
                    <a:pt x="862" y="86"/>
                    <a:pt x="817" y="97"/>
                    <a:pt x="781" y="97"/>
                  </a:cubicBezTo>
                  <a:cubicBezTo>
                    <a:pt x="747" y="97"/>
                    <a:pt x="700" y="97"/>
                    <a:pt x="663" y="108"/>
                  </a:cubicBezTo>
                  <a:cubicBezTo>
                    <a:pt x="630" y="133"/>
                    <a:pt x="608" y="167"/>
                    <a:pt x="582" y="192"/>
                  </a:cubicBezTo>
                  <a:cubicBezTo>
                    <a:pt x="512" y="248"/>
                    <a:pt x="420" y="237"/>
                    <a:pt x="350" y="296"/>
                  </a:cubicBezTo>
                  <a:cubicBezTo>
                    <a:pt x="328" y="318"/>
                    <a:pt x="303" y="354"/>
                    <a:pt x="269" y="366"/>
                  </a:cubicBezTo>
                  <a:cubicBezTo>
                    <a:pt x="258" y="377"/>
                    <a:pt x="244" y="377"/>
                    <a:pt x="244" y="388"/>
                  </a:cubicBezTo>
                  <a:cubicBezTo>
                    <a:pt x="233" y="402"/>
                    <a:pt x="222" y="413"/>
                    <a:pt x="222" y="424"/>
                  </a:cubicBezTo>
                  <a:cubicBezTo>
                    <a:pt x="199" y="458"/>
                    <a:pt x="174" y="483"/>
                    <a:pt x="141" y="494"/>
                  </a:cubicBezTo>
                  <a:cubicBezTo>
                    <a:pt x="104" y="494"/>
                    <a:pt x="59" y="494"/>
                    <a:pt x="48" y="528"/>
                  </a:cubicBezTo>
                  <a:cubicBezTo>
                    <a:pt x="34" y="553"/>
                    <a:pt x="59" y="586"/>
                    <a:pt x="71" y="623"/>
                  </a:cubicBezTo>
                  <a:cubicBezTo>
                    <a:pt x="104" y="681"/>
                    <a:pt x="71" y="763"/>
                    <a:pt x="59" y="844"/>
                  </a:cubicBezTo>
                  <a:cubicBezTo>
                    <a:pt x="59" y="936"/>
                    <a:pt x="93" y="1031"/>
                    <a:pt x="71" y="1123"/>
                  </a:cubicBezTo>
                  <a:cubicBezTo>
                    <a:pt x="71" y="1134"/>
                    <a:pt x="71" y="1157"/>
                    <a:pt x="59" y="1171"/>
                  </a:cubicBezTo>
                  <a:cubicBezTo>
                    <a:pt x="34" y="1193"/>
                    <a:pt x="1" y="1204"/>
                    <a:pt x="1" y="1241"/>
                  </a:cubicBezTo>
                  <a:cubicBezTo>
                    <a:pt x="1" y="1274"/>
                    <a:pt x="48" y="1285"/>
                    <a:pt x="59" y="1322"/>
                  </a:cubicBezTo>
                  <a:cubicBezTo>
                    <a:pt x="71" y="1333"/>
                    <a:pt x="71" y="1344"/>
                    <a:pt x="71" y="1367"/>
                  </a:cubicBezTo>
                  <a:cubicBezTo>
                    <a:pt x="71" y="1381"/>
                    <a:pt x="82" y="1392"/>
                    <a:pt x="93" y="1392"/>
                  </a:cubicBezTo>
                  <a:cubicBezTo>
                    <a:pt x="104" y="1392"/>
                    <a:pt x="118" y="1381"/>
                    <a:pt x="129" y="1367"/>
                  </a:cubicBezTo>
                  <a:cubicBezTo>
                    <a:pt x="141" y="1367"/>
                    <a:pt x="152" y="1367"/>
                    <a:pt x="174" y="1355"/>
                  </a:cubicBezTo>
                  <a:cubicBezTo>
                    <a:pt x="199" y="1355"/>
                    <a:pt x="233" y="1344"/>
                    <a:pt x="258" y="1322"/>
                  </a:cubicBezTo>
                  <a:cubicBezTo>
                    <a:pt x="328" y="1274"/>
                    <a:pt x="384" y="1204"/>
                    <a:pt x="409" y="1123"/>
                  </a:cubicBezTo>
                  <a:cubicBezTo>
                    <a:pt x="420" y="1076"/>
                    <a:pt x="431" y="1042"/>
                    <a:pt x="443" y="1006"/>
                  </a:cubicBezTo>
                  <a:cubicBezTo>
                    <a:pt x="468" y="961"/>
                    <a:pt x="501" y="925"/>
                    <a:pt x="549" y="925"/>
                  </a:cubicBezTo>
                  <a:cubicBezTo>
                    <a:pt x="571" y="925"/>
                    <a:pt x="608" y="947"/>
                    <a:pt x="641" y="947"/>
                  </a:cubicBezTo>
                  <a:cubicBezTo>
                    <a:pt x="677" y="947"/>
                    <a:pt x="700" y="947"/>
                    <a:pt x="722" y="925"/>
                  </a:cubicBezTo>
                  <a:cubicBezTo>
                    <a:pt x="747" y="914"/>
                    <a:pt x="759" y="877"/>
                    <a:pt x="747" y="855"/>
                  </a:cubicBezTo>
                  <a:cubicBezTo>
                    <a:pt x="747" y="832"/>
                    <a:pt x="733" y="807"/>
                    <a:pt x="722" y="796"/>
                  </a:cubicBezTo>
                  <a:cubicBezTo>
                    <a:pt x="722" y="774"/>
                    <a:pt x="711" y="751"/>
                    <a:pt x="722" y="737"/>
                  </a:cubicBezTo>
                  <a:cubicBezTo>
                    <a:pt x="733" y="726"/>
                    <a:pt x="759" y="715"/>
                    <a:pt x="770" y="704"/>
                  </a:cubicBezTo>
                  <a:cubicBezTo>
                    <a:pt x="792" y="681"/>
                    <a:pt x="781" y="645"/>
                    <a:pt x="781" y="612"/>
                  </a:cubicBezTo>
                  <a:cubicBezTo>
                    <a:pt x="781" y="494"/>
                    <a:pt x="910" y="402"/>
                    <a:pt x="898" y="273"/>
                  </a:cubicBezTo>
                  <a:lnTo>
                    <a:pt x="898" y="262"/>
                  </a:lnTo>
                  <a:cubicBezTo>
                    <a:pt x="910" y="248"/>
                    <a:pt x="910" y="237"/>
                    <a:pt x="921" y="237"/>
                  </a:cubicBezTo>
                  <a:cubicBezTo>
                    <a:pt x="932" y="226"/>
                    <a:pt x="957" y="203"/>
                    <a:pt x="957" y="178"/>
                  </a:cubicBezTo>
                  <a:lnTo>
                    <a:pt x="957" y="133"/>
                  </a:lnTo>
                  <a:cubicBezTo>
                    <a:pt x="957" y="97"/>
                    <a:pt x="943" y="64"/>
                    <a:pt x="943" y="27"/>
                  </a:cubicBezTo>
                  <a:cubicBezTo>
                    <a:pt x="943" y="16"/>
                    <a:pt x="932" y="5"/>
                    <a:pt x="932" y="5"/>
                  </a:cubicBezTo>
                  <a:cubicBezTo>
                    <a:pt x="929" y="2"/>
                    <a:pt x="924" y="0"/>
                    <a:pt x="92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8" name="Google Shape;326;p17">
              <a:extLst>
                <a:ext uri="{FF2B5EF4-FFF2-40B4-BE49-F238E27FC236}">
                  <a16:creationId xmlns:a16="http://schemas.microsoft.com/office/drawing/2014/main" xmlns="" id="{198A7F5B-21F4-4011-0DAB-52AB0932325D}"/>
                </a:ext>
              </a:extLst>
            </p:cNvPr>
            <p:cNvSpPr/>
            <p:nvPr/>
          </p:nvSpPr>
          <p:spPr>
            <a:xfrm>
              <a:off x="4396064" y="3512293"/>
              <a:ext cx="231011" cy="330385"/>
            </a:xfrm>
            <a:custGeom>
              <a:avLst/>
              <a:gdLst/>
              <a:ahLst/>
              <a:cxnLst/>
              <a:rect l="l" t="t" r="r" b="b"/>
              <a:pathLst>
                <a:path w="1002" h="1433" extrusionOk="0">
                  <a:moveTo>
                    <a:pt x="943" y="45"/>
                  </a:moveTo>
                  <a:cubicBezTo>
                    <a:pt x="943" y="82"/>
                    <a:pt x="954" y="126"/>
                    <a:pt x="954" y="163"/>
                  </a:cubicBezTo>
                  <a:lnTo>
                    <a:pt x="954" y="185"/>
                  </a:lnTo>
                  <a:lnTo>
                    <a:pt x="954" y="196"/>
                  </a:lnTo>
                  <a:cubicBezTo>
                    <a:pt x="954" y="210"/>
                    <a:pt x="943" y="221"/>
                    <a:pt x="920" y="233"/>
                  </a:cubicBezTo>
                  <a:cubicBezTo>
                    <a:pt x="920" y="244"/>
                    <a:pt x="909" y="244"/>
                    <a:pt x="895" y="266"/>
                  </a:cubicBezTo>
                  <a:lnTo>
                    <a:pt x="895" y="280"/>
                  </a:lnTo>
                  <a:lnTo>
                    <a:pt x="895" y="302"/>
                  </a:lnTo>
                  <a:lnTo>
                    <a:pt x="895" y="314"/>
                  </a:lnTo>
                  <a:cubicBezTo>
                    <a:pt x="895" y="361"/>
                    <a:pt x="873" y="406"/>
                    <a:pt x="850" y="453"/>
                  </a:cubicBezTo>
                  <a:cubicBezTo>
                    <a:pt x="814" y="512"/>
                    <a:pt x="781" y="571"/>
                    <a:pt x="781" y="630"/>
                  </a:cubicBezTo>
                  <a:cubicBezTo>
                    <a:pt x="781" y="652"/>
                    <a:pt x="792" y="663"/>
                    <a:pt x="792" y="674"/>
                  </a:cubicBezTo>
                  <a:cubicBezTo>
                    <a:pt x="792" y="686"/>
                    <a:pt x="792" y="686"/>
                    <a:pt x="781" y="699"/>
                  </a:cubicBezTo>
                  <a:lnTo>
                    <a:pt x="781" y="711"/>
                  </a:lnTo>
                  <a:cubicBezTo>
                    <a:pt x="769" y="711"/>
                    <a:pt x="769" y="711"/>
                    <a:pt x="755" y="722"/>
                  </a:cubicBezTo>
                  <a:cubicBezTo>
                    <a:pt x="755" y="722"/>
                    <a:pt x="744" y="733"/>
                    <a:pt x="733" y="744"/>
                  </a:cubicBezTo>
                  <a:cubicBezTo>
                    <a:pt x="722" y="755"/>
                    <a:pt x="722" y="769"/>
                    <a:pt x="722" y="781"/>
                  </a:cubicBezTo>
                  <a:lnTo>
                    <a:pt x="722" y="825"/>
                  </a:lnTo>
                  <a:cubicBezTo>
                    <a:pt x="733" y="839"/>
                    <a:pt x="744" y="862"/>
                    <a:pt x="744" y="873"/>
                  </a:cubicBezTo>
                  <a:lnTo>
                    <a:pt x="744" y="884"/>
                  </a:lnTo>
                  <a:cubicBezTo>
                    <a:pt x="744" y="895"/>
                    <a:pt x="744" y="920"/>
                    <a:pt x="733" y="932"/>
                  </a:cubicBezTo>
                  <a:cubicBezTo>
                    <a:pt x="722" y="943"/>
                    <a:pt x="699" y="943"/>
                    <a:pt x="674" y="943"/>
                  </a:cubicBezTo>
                  <a:lnTo>
                    <a:pt x="663" y="943"/>
                  </a:lnTo>
                  <a:cubicBezTo>
                    <a:pt x="652" y="943"/>
                    <a:pt x="641" y="943"/>
                    <a:pt x="630" y="932"/>
                  </a:cubicBezTo>
                  <a:cubicBezTo>
                    <a:pt x="604" y="932"/>
                    <a:pt x="593" y="920"/>
                    <a:pt x="571" y="920"/>
                  </a:cubicBezTo>
                  <a:lnTo>
                    <a:pt x="560" y="920"/>
                  </a:lnTo>
                  <a:cubicBezTo>
                    <a:pt x="534" y="920"/>
                    <a:pt x="512" y="932"/>
                    <a:pt x="490" y="954"/>
                  </a:cubicBezTo>
                  <a:cubicBezTo>
                    <a:pt x="476" y="965"/>
                    <a:pt x="453" y="990"/>
                    <a:pt x="442" y="1013"/>
                  </a:cubicBezTo>
                  <a:cubicBezTo>
                    <a:pt x="431" y="1049"/>
                    <a:pt x="420" y="1094"/>
                    <a:pt x="406" y="1130"/>
                  </a:cubicBezTo>
                  <a:cubicBezTo>
                    <a:pt x="383" y="1211"/>
                    <a:pt x="325" y="1281"/>
                    <a:pt x="266" y="1329"/>
                  </a:cubicBezTo>
                  <a:cubicBezTo>
                    <a:pt x="244" y="1340"/>
                    <a:pt x="221" y="1351"/>
                    <a:pt x="185" y="1351"/>
                  </a:cubicBezTo>
                  <a:cubicBezTo>
                    <a:pt x="185" y="1362"/>
                    <a:pt x="174" y="1362"/>
                    <a:pt x="163" y="1362"/>
                  </a:cubicBezTo>
                  <a:cubicBezTo>
                    <a:pt x="151" y="1362"/>
                    <a:pt x="140" y="1362"/>
                    <a:pt x="126" y="1373"/>
                  </a:cubicBezTo>
                  <a:lnTo>
                    <a:pt x="115" y="1385"/>
                  </a:lnTo>
                  <a:lnTo>
                    <a:pt x="115" y="1373"/>
                  </a:lnTo>
                  <a:cubicBezTo>
                    <a:pt x="115" y="1362"/>
                    <a:pt x="115" y="1351"/>
                    <a:pt x="104" y="1329"/>
                  </a:cubicBezTo>
                  <a:cubicBezTo>
                    <a:pt x="93" y="1303"/>
                    <a:pt x="81" y="1292"/>
                    <a:pt x="56" y="1281"/>
                  </a:cubicBezTo>
                  <a:lnTo>
                    <a:pt x="45" y="1270"/>
                  </a:lnTo>
                  <a:lnTo>
                    <a:pt x="45" y="1259"/>
                  </a:lnTo>
                  <a:lnTo>
                    <a:pt x="45" y="1245"/>
                  </a:lnTo>
                  <a:cubicBezTo>
                    <a:pt x="45" y="1245"/>
                    <a:pt x="56" y="1234"/>
                    <a:pt x="70" y="1234"/>
                  </a:cubicBezTo>
                  <a:cubicBezTo>
                    <a:pt x="81" y="1222"/>
                    <a:pt x="93" y="1211"/>
                    <a:pt x="93" y="1200"/>
                  </a:cubicBezTo>
                  <a:cubicBezTo>
                    <a:pt x="115" y="1189"/>
                    <a:pt x="115" y="1164"/>
                    <a:pt x="115" y="1141"/>
                  </a:cubicBezTo>
                  <a:cubicBezTo>
                    <a:pt x="126" y="1130"/>
                    <a:pt x="126" y="1105"/>
                    <a:pt x="126" y="1094"/>
                  </a:cubicBezTo>
                  <a:cubicBezTo>
                    <a:pt x="126" y="1024"/>
                    <a:pt x="104" y="954"/>
                    <a:pt x="104" y="884"/>
                  </a:cubicBezTo>
                  <a:lnTo>
                    <a:pt x="104" y="862"/>
                  </a:lnTo>
                  <a:cubicBezTo>
                    <a:pt x="115" y="814"/>
                    <a:pt x="126" y="755"/>
                    <a:pt x="126" y="699"/>
                  </a:cubicBezTo>
                  <a:cubicBezTo>
                    <a:pt x="126" y="674"/>
                    <a:pt x="126" y="652"/>
                    <a:pt x="115" y="630"/>
                  </a:cubicBezTo>
                  <a:cubicBezTo>
                    <a:pt x="115" y="616"/>
                    <a:pt x="104" y="604"/>
                    <a:pt x="104" y="593"/>
                  </a:cubicBezTo>
                  <a:cubicBezTo>
                    <a:pt x="93" y="582"/>
                    <a:pt x="93" y="571"/>
                    <a:pt x="93" y="560"/>
                  </a:cubicBezTo>
                  <a:lnTo>
                    <a:pt x="104" y="546"/>
                  </a:lnTo>
                  <a:cubicBezTo>
                    <a:pt x="104" y="546"/>
                    <a:pt x="115" y="535"/>
                    <a:pt x="126" y="535"/>
                  </a:cubicBezTo>
                  <a:lnTo>
                    <a:pt x="174" y="535"/>
                  </a:lnTo>
                  <a:cubicBezTo>
                    <a:pt x="210" y="523"/>
                    <a:pt x="244" y="490"/>
                    <a:pt x="266" y="453"/>
                  </a:cubicBezTo>
                  <a:cubicBezTo>
                    <a:pt x="266" y="442"/>
                    <a:pt x="280" y="431"/>
                    <a:pt x="280" y="420"/>
                  </a:cubicBezTo>
                  <a:cubicBezTo>
                    <a:pt x="280" y="420"/>
                    <a:pt x="291" y="420"/>
                    <a:pt x="302" y="406"/>
                  </a:cubicBezTo>
                  <a:cubicBezTo>
                    <a:pt x="325" y="395"/>
                    <a:pt x="336" y="384"/>
                    <a:pt x="350" y="372"/>
                  </a:cubicBezTo>
                  <a:cubicBezTo>
                    <a:pt x="372" y="350"/>
                    <a:pt x="383" y="336"/>
                    <a:pt x="395" y="325"/>
                  </a:cubicBezTo>
                  <a:cubicBezTo>
                    <a:pt x="420" y="302"/>
                    <a:pt x="453" y="291"/>
                    <a:pt x="501" y="280"/>
                  </a:cubicBezTo>
                  <a:cubicBezTo>
                    <a:pt x="534" y="266"/>
                    <a:pt x="582" y="255"/>
                    <a:pt x="616" y="233"/>
                  </a:cubicBezTo>
                  <a:cubicBezTo>
                    <a:pt x="641" y="210"/>
                    <a:pt x="652" y="196"/>
                    <a:pt x="663" y="185"/>
                  </a:cubicBezTo>
                  <a:cubicBezTo>
                    <a:pt x="674" y="174"/>
                    <a:pt x="685" y="163"/>
                    <a:pt x="699" y="151"/>
                  </a:cubicBezTo>
                  <a:cubicBezTo>
                    <a:pt x="722" y="140"/>
                    <a:pt x="744" y="140"/>
                    <a:pt x="769" y="140"/>
                  </a:cubicBezTo>
                  <a:lnTo>
                    <a:pt x="803" y="140"/>
                  </a:lnTo>
                  <a:cubicBezTo>
                    <a:pt x="825" y="140"/>
                    <a:pt x="850" y="140"/>
                    <a:pt x="873" y="126"/>
                  </a:cubicBezTo>
                  <a:cubicBezTo>
                    <a:pt x="884" y="115"/>
                    <a:pt x="909" y="104"/>
                    <a:pt x="920" y="82"/>
                  </a:cubicBezTo>
                  <a:cubicBezTo>
                    <a:pt x="932" y="70"/>
                    <a:pt x="932" y="45"/>
                    <a:pt x="932" y="45"/>
                  </a:cubicBezTo>
                  <a:close/>
                  <a:moveTo>
                    <a:pt x="943" y="0"/>
                  </a:moveTo>
                  <a:cubicBezTo>
                    <a:pt x="920" y="0"/>
                    <a:pt x="909" y="12"/>
                    <a:pt x="895" y="23"/>
                  </a:cubicBezTo>
                  <a:cubicBezTo>
                    <a:pt x="884" y="34"/>
                    <a:pt x="884" y="56"/>
                    <a:pt x="884" y="56"/>
                  </a:cubicBezTo>
                  <a:cubicBezTo>
                    <a:pt x="873" y="70"/>
                    <a:pt x="862" y="82"/>
                    <a:pt x="850" y="82"/>
                  </a:cubicBezTo>
                  <a:cubicBezTo>
                    <a:pt x="839" y="93"/>
                    <a:pt x="814" y="93"/>
                    <a:pt x="803" y="93"/>
                  </a:cubicBezTo>
                  <a:lnTo>
                    <a:pt x="769" y="93"/>
                  </a:lnTo>
                  <a:cubicBezTo>
                    <a:pt x="733" y="93"/>
                    <a:pt x="711" y="93"/>
                    <a:pt x="674" y="104"/>
                  </a:cubicBezTo>
                  <a:cubicBezTo>
                    <a:pt x="663" y="115"/>
                    <a:pt x="641" y="140"/>
                    <a:pt x="630" y="151"/>
                  </a:cubicBezTo>
                  <a:cubicBezTo>
                    <a:pt x="616" y="163"/>
                    <a:pt x="604" y="185"/>
                    <a:pt x="593" y="185"/>
                  </a:cubicBezTo>
                  <a:cubicBezTo>
                    <a:pt x="560" y="210"/>
                    <a:pt x="523" y="221"/>
                    <a:pt x="476" y="233"/>
                  </a:cubicBezTo>
                  <a:cubicBezTo>
                    <a:pt x="442" y="244"/>
                    <a:pt x="395" y="266"/>
                    <a:pt x="361" y="291"/>
                  </a:cubicBezTo>
                  <a:cubicBezTo>
                    <a:pt x="350" y="302"/>
                    <a:pt x="325" y="325"/>
                    <a:pt x="314" y="336"/>
                  </a:cubicBezTo>
                  <a:cubicBezTo>
                    <a:pt x="302" y="350"/>
                    <a:pt x="291" y="361"/>
                    <a:pt x="280" y="372"/>
                  </a:cubicBezTo>
                  <a:cubicBezTo>
                    <a:pt x="280" y="372"/>
                    <a:pt x="255" y="372"/>
                    <a:pt x="244" y="395"/>
                  </a:cubicBezTo>
                  <a:cubicBezTo>
                    <a:pt x="232" y="406"/>
                    <a:pt x="221" y="431"/>
                    <a:pt x="221" y="431"/>
                  </a:cubicBezTo>
                  <a:cubicBezTo>
                    <a:pt x="210" y="465"/>
                    <a:pt x="185" y="476"/>
                    <a:pt x="163" y="490"/>
                  </a:cubicBezTo>
                  <a:cubicBezTo>
                    <a:pt x="140" y="490"/>
                    <a:pt x="126" y="490"/>
                    <a:pt x="104" y="501"/>
                  </a:cubicBezTo>
                  <a:cubicBezTo>
                    <a:pt x="93" y="501"/>
                    <a:pt x="81" y="501"/>
                    <a:pt x="70" y="512"/>
                  </a:cubicBezTo>
                  <a:cubicBezTo>
                    <a:pt x="70" y="512"/>
                    <a:pt x="56" y="523"/>
                    <a:pt x="45" y="535"/>
                  </a:cubicBezTo>
                  <a:lnTo>
                    <a:pt x="45" y="560"/>
                  </a:lnTo>
                  <a:cubicBezTo>
                    <a:pt x="45" y="582"/>
                    <a:pt x="45" y="593"/>
                    <a:pt x="56" y="604"/>
                  </a:cubicBezTo>
                  <a:cubicBezTo>
                    <a:pt x="56" y="616"/>
                    <a:pt x="70" y="630"/>
                    <a:pt x="70" y="641"/>
                  </a:cubicBezTo>
                  <a:cubicBezTo>
                    <a:pt x="81" y="663"/>
                    <a:pt x="81" y="674"/>
                    <a:pt x="81" y="699"/>
                  </a:cubicBezTo>
                  <a:cubicBezTo>
                    <a:pt x="81" y="744"/>
                    <a:pt x="70" y="803"/>
                    <a:pt x="56" y="862"/>
                  </a:cubicBezTo>
                  <a:lnTo>
                    <a:pt x="56" y="884"/>
                  </a:lnTo>
                  <a:cubicBezTo>
                    <a:pt x="56" y="954"/>
                    <a:pt x="81" y="1024"/>
                    <a:pt x="81" y="1094"/>
                  </a:cubicBezTo>
                  <a:cubicBezTo>
                    <a:pt x="81" y="1105"/>
                    <a:pt x="81" y="1119"/>
                    <a:pt x="70" y="1141"/>
                  </a:cubicBezTo>
                  <a:cubicBezTo>
                    <a:pt x="70" y="1152"/>
                    <a:pt x="70" y="1164"/>
                    <a:pt x="56" y="1175"/>
                  </a:cubicBezTo>
                  <a:cubicBezTo>
                    <a:pt x="56" y="1175"/>
                    <a:pt x="45" y="1189"/>
                    <a:pt x="23" y="1200"/>
                  </a:cubicBezTo>
                  <a:cubicBezTo>
                    <a:pt x="23" y="1211"/>
                    <a:pt x="12" y="1211"/>
                    <a:pt x="12" y="1222"/>
                  </a:cubicBezTo>
                  <a:cubicBezTo>
                    <a:pt x="0" y="1234"/>
                    <a:pt x="0" y="1245"/>
                    <a:pt x="0" y="1259"/>
                  </a:cubicBezTo>
                  <a:cubicBezTo>
                    <a:pt x="0" y="1270"/>
                    <a:pt x="0" y="1281"/>
                    <a:pt x="12" y="1292"/>
                  </a:cubicBezTo>
                  <a:cubicBezTo>
                    <a:pt x="23" y="1303"/>
                    <a:pt x="34" y="1315"/>
                    <a:pt x="45" y="1329"/>
                  </a:cubicBezTo>
                  <a:cubicBezTo>
                    <a:pt x="56" y="1340"/>
                    <a:pt x="56" y="1340"/>
                    <a:pt x="70" y="1351"/>
                  </a:cubicBezTo>
                  <a:lnTo>
                    <a:pt x="70" y="1385"/>
                  </a:lnTo>
                  <a:cubicBezTo>
                    <a:pt x="70" y="1399"/>
                    <a:pt x="81" y="1410"/>
                    <a:pt x="81" y="1410"/>
                  </a:cubicBezTo>
                  <a:cubicBezTo>
                    <a:pt x="93" y="1421"/>
                    <a:pt x="104" y="1432"/>
                    <a:pt x="115" y="1432"/>
                  </a:cubicBezTo>
                  <a:cubicBezTo>
                    <a:pt x="126" y="1432"/>
                    <a:pt x="140" y="1421"/>
                    <a:pt x="151" y="1421"/>
                  </a:cubicBezTo>
                  <a:cubicBezTo>
                    <a:pt x="151" y="1410"/>
                    <a:pt x="151" y="1410"/>
                    <a:pt x="163" y="1410"/>
                  </a:cubicBezTo>
                  <a:lnTo>
                    <a:pt x="174" y="1410"/>
                  </a:lnTo>
                  <a:cubicBezTo>
                    <a:pt x="174" y="1410"/>
                    <a:pt x="185" y="1410"/>
                    <a:pt x="196" y="1399"/>
                  </a:cubicBezTo>
                  <a:cubicBezTo>
                    <a:pt x="232" y="1399"/>
                    <a:pt x="266" y="1373"/>
                    <a:pt x="291" y="1362"/>
                  </a:cubicBezTo>
                  <a:cubicBezTo>
                    <a:pt x="361" y="1303"/>
                    <a:pt x="420" y="1234"/>
                    <a:pt x="453" y="1152"/>
                  </a:cubicBezTo>
                  <a:cubicBezTo>
                    <a:pt x="465" y="1105"/>
                    <a:pt x="476" y="1060"/>
                    <a:pt x="490" y="1024"/>
                  </a:cubicBezTo>
                  <a:cubicBezTo>
                    <a:pt x="501" y="1013"/>
                    <a:pt x="512" y="1001"/>
                    <a:pt x="523" y="990"/>
                  </a:cubicBezTo>
                  <a:cubicBezTo>
                    <a:pt x="534" y="979"/>
                    <a:pt x="546" y="965"/>
                    <a:pt x="571" y="965"/>
                  </a:cubicBezTo>
                  <a:cubicBezTo>
                    <a:pt x="582" y="965"/>
                    <a:pt x="593" y="979"/>
                    <a:pt x="604" y="979"/>
                  </a:cubicBezTo>
                  <a:cubicBezTo>
                    <a:pt x="630" y="979"/>
                    <a:pt x="641" y="990"/>
                    <a:pt x="663" y="990"/>
                  </a:cubicBezTo>
                  <a:lnTo>
                    <a:pt x="674" y="990"/>
                  </a:lnTo>
                  <a:cubicBezTo>
                    <a:pt x="711" y="990"/>
                    <a:pt x="733" y="979"/>
                    <a:pt x="755" y="965"/>
                  </a:cubicBezTo>
                  <a:cubicBezTo>
                    <a:pt x="781" y="943"/>
                    <a:pt x="792" y="920"/>
                    <a:pt x="792" y="884"/>
                  </a:cubicBezTo>
                  <a:lnTo>
                    <a:pt x="792" y="862"/>
                  </a:lnTo>
                  <a:cubicBezTo>
                    <a:pt x="792" y="839"/>
                    <a:pt x="781" y="814"/>
                    <a:pt x="769" y="803"/>
                  </a:cubicBezTo>
                  <a:lnTo>
                    <a:pt x="769" y="781"/>
                  </a:lnTo>
                  <a:lnTo>
                    <a:pt x="769" y="769"/>
                  </a:lnTo>
                  <a:lnTo>
                    <a:pt x="781" y="755"/>
                  </a:lnTo>
                  <a:cubicBezTo>
                    <a:pt x="792" y="755"/>
                    <a:pt x="803" y="755"/>
                    <a:pt x="803" y="744"/>
                  </a:cubicBezTo>
                  <a:cubicBezTo>
                    <a:pt x="814" y="733"/>
                    <a:pt x="825" y="722"/>
                    <a:pt x="825" y="711"/>
                  </a:cubicBezTo>
                  <a:cubicBezTo>
                    <a:pt x="839" y="699"/>
                    <a:pt x="839" y="686"/>
                    <a:pt x="839" y="674"/>
                  </a:cubicBezTo>
                  <a:cubicBezTo>
                    <a:pt x="839" y="663"/>
                    <a:pt x="825" y="641"/>
                    <a:pt x="825" y="630"/>
                  </a:cubicBezTo>
                  <a:cubicBezTo>
                    <a:pt x="825" y="582"/>
                    <a:pt x="862" y="535"/>
                    <a:pt x="884" y="476"/>
                  </a:cubicBezTo>
                  <a:cubicBezTo>
                    <a:pt x="920" y="431"/>
                    <a:pt x="943" y="372"/>
                    <a:pt x="943" y="314"/>
                  </a:cubicBezTo>
                  <a:lnTo>
                    <a:pt x="943" y="291"/>
                  </a:lnTo>
                  <a:lnTo>
                    <a:pt x="943" y="280"/>
                  </a:lnTo>
                  <a:lnTo>
                    <a:pt x="954" y="266"/>
                  </a:lnTo>
                  <a:cubicBezTo>
                    <a:pt x="979" y="255"/>
                    <a:pt x="1001" y="233"/>
                    <a:pt x="1001" y="196"/>
                  </a:cubicBezTo>
                  <a:lnTo>
                    <a:pt x="1001" y="185"/>
                  </a:lnTo>
                  <a:lnTo>
                    <a:pt x="1001" y="151"/>
                  </a:lnTo>
                  <a:cubicBezTo>
                    <a:pt x="1001" y="115"/>
                    <a:pt x="990" y="82"/>
                    <a:pt x="990" y="45"/>
                  </a:cubicBezTo>
                  <a:cubicBezTo>
                    <a:pt x="990" y="34"/>
                    <a:pt x="990" y="34"/>
                    <a:pt x="979" y="23"/>
                  </a:cubicBezTo>
                  <a:cubicBezTo>
                    <a:pt x="979" y="23"/>
                    <a:pt x="979" y="12"/>
                    <a:pt x="96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9" name="Google Shape;327;p17">
              <a:extLst>
                <a:ext uri="{FF2B5EF4-FFF2-40B4-BE49-F238E27FC236}">
                  <a16:creationId xmlns:a16="http://schemas.microsoft.com/office/drawing/2014/main" xmlns="" id="{ECAE2FE2-639C-E516-4ADE-53259F7810DE}"/>
                </a:ext>
              </a:extLst>
            </p:cNvPr>
            <p:cNvSpPr/>
            <p:nvPr/>
          </p:nvSpPr>
          <p:spPr>
            <a:xfrm>
              <a:off x="4368859" y="3616734"/>
              <a:ext cx="29971" cy="21442"/>
            </a:xfrm>
            <a:custGeom>
              <a:avLst/>
              <a:gdLst/>
              <a:ahLst/>
              <a:cxnLst/>
              <a:rect l="l" t="t" r="r" b="b"/>
              <a:pathLst>
                <a:path w="130" h="93" extrusionOk="0">
                  <a:moveTo>
                    <a:pt x="118" y="0"/>
                  </a:moveTo>
                  <a:cubicBezTo>
                    <a:pt x="104" y="0"/>
                    <a:pt x="104" y="12"/>
                    <a:pt x="93" y="12"/>
                  </a:cubicBezTo>
                  <a:cubicBezTo>
                    <a:pt x="82" y="12"/>
                    <a:pt x="71" y="23"/>
                    <a:pt x="60" y="23"/>
                  </a:cubicBezTo>
                  <a:cubicBezTo>
                    <a:pt x="60" y="23"/>
                    <a:pt x="48" y="23"/>
                    <a:pt x="48" y="37"/>
                  </a:cubicBezTo>
                  <a:cubicBezTo>
                    <a:pt x="35" y="37"/>
                    <a:pt x="35" y="48"/>
                    <a:pt x="23" y="48"/>
                  </a:cubicBezTo>
                  <a:lnTo>
                    <a:pt x="12" y="59"/>
                  </a:lnTo>
                  <a:cubicBezTo>
                    <a:pt x="1" y="70"/>
                    <a:pt x="1" y="82"/>
                    <a:pt x="1" y="93"/>
                  </a:cubicBezTo>
                  <a:lnTo>
                    <a:pt x="12" y="93"/>
                  </a:lnTo>
                  <a:cubicBezTo>
                    <a:pt x="23" y="93"/>
                    <a:pt x="48" y="82"/>
                    <a:pt x="71" y="82"/>
                  </a:cubicBezTo>
                  <a:lnTo>
                    <a:pt x="93" y="82"/>
                  </a:lnTo>
                  <a:cubicBezTo>
                    <a:pt x="104" y="82"/>
                    <a:pt x="118" y="82"/>
                    <a:pt x="118" y="70"/>
                  </a:cubicBezTo>
                  <a:cubicBezTo>
                    <a:pt x="130" y="59"/>
                    <a:pt x="130" y="48"/>
                    <a:pt x="130" y="37"/>
                  </a:cubicBezTo>
                  <a:lnTo>
                    <a:pt x="130" y="23"/>
                  </a:lnTo>
                  <a:cubicBezTo>
                    <a:pt x="130" y="12"/>
                    <a:pt x="130" y="12"/>
                    <a:pt x="11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0" name="Google Shape;328;p17">
              <a:extLst>
                <a:ext uri="{FF2B5EF4-FFF2-40B4-BE49-F238E27FC236}">
                  <a16:creationId xmlns:a16="http://schemas.microsoft.com/office/drawing/2014/main" xmlns="" id="{CE5DBFE7-9996-484F-4F1F-AD1CC5FD8072}"/>
                </a:ext>
              </a:extLst>
            </p:cNvPr>
            <p:cNvSpPr/>
            <p:nvPr/>
          </p:nvSpPr>
          <p:spPr>
            <a:xfrm>
              <a:off x="4363787" y="3611662"/>
              <a:ext cx="40116" cy="32278"/>
            </a:xfrm>
            <a:custGeom>
              <a:avLst/>
              <a:gdLst/>
              <a:ahLst/>
              <a:cxnLst/>
              <a:rect l="l" t="t" r="r" b="b"/>
              <a:pathLst>
                <a:path w="174" h="140" extrusionOk="0">
                  <a:moveTo>
                    <a:pt x="126" y="59"/>
                  </a:moveTo>
                  <a:lnTo>
                    <a:pt x="126" y="70"/>
                  </a:lnTo>
                  <a:lnTo>
                    <a:pt x="126" y="81"/>
                  </a:lnTo>
                  <a:lnTo>
                    <a:pt x="82" y="81"/>
                  </a:lnTo>
                  <a:cubicBezTo>
                    <a:pt x="78" y="81"/>
                    <a:pt x="73" y="81"/>
                    <a:pt x="70" y="82"/>
                  </a:cubicBezTo>
                  <a:lnTo>
                    <a:pt x="70" y="82"/>
                  </a:lnTo>
                  <a:cubicBezTo>
                    <a:pt x="73" y="79"/>
                    <a:pt x="76" y="76"/>
                    <a:pt x="82" y="70"/>
                  </a:cubicBezTo>
                  <a:lnTo>
                    <a:pt x="93" y="70"/>
                  </a:lnTo>
                  <a:cubicBezTo>
                    <a:pt x="104" y="59"/>
                    <a:pt x="115" y="59"/>
                    <a:pt x="126" y="59"/>
                  </a:cubicBezTo>
                  <a:close/>
                  <a:moveTo>
                    <a:pt x="140" y="0"/>
                  </a:moveTo>
                  <a:cubicBezTo>
                    <a:pt x="126" y="0"/>
                    <a:pt x="115" y="11"/>
                    <a:pt x="115" y="11"/>
                  </a:cubicBezTo>
                  <a:lnTo>
                    <a:pt x="104" y="11"/>
                  </a:lnTo>
                  <a:cubicBezTo>
                    <a:pt x="104" y="11"/>
                    <a:pt x="93" y="22"/>
                    <a:pt x="82" y="22"/>
                  </a:cubicBezTo>
                  <a:cubicBezTo>
                    <a:pt x="70" y="22"/>
                    <a:pt x="57" y="34"/>
                    <a:pt x="57" y="34"/>
                  </a:cubicBezTo>
                  <a:cubicBezTo>
                    <a:pt x="45" y="45"/>
                    <a:pt x="45" y="45"/>
                    <a:pt x="34" y="45"/>
                  </a:cubicBezTo>
                  <a:cubicBezTo>
                    <a:pt x="23" y="59"/>
                    <a:pt x="23" y="59"/>
                    <a:pt x="12" y="70"/>
                  </a:cubicBezTo>
                  <a:cubicBezTo>
                    <a:pt x="1" y="81"/>
                    <a:pt x="1" y="92"/>
                    <a:pt x="1" y="104"/>
                  </a:cubicBezTo>
                  <a:lnTo>
                    <a:pt x="1" y="129"/>
                  </a:lnTo>
                  <a:lnTo>
                    <a:pt x="12" y="129"/>
                  </a:lnTo>
                  <a:lnTo>
                    <a:pt x="12" y="140"/>
                  </a:lnTo>
                  <a:lnTo>
                    <a:pt x="34" y="140"/>
                  </a:lnTo>
                  <a:cubicBezTo>
                    <a:pt x="45" y="140"/>
                    <a:pt x="57" y="140"/>
                    <a:pt x="70" y="129"/>
                  </a:cubicBezTo>
                  <a:lnTo>
                    <a:pt x="140" y="129"/>
                  </a:lnTo>
                  <a:cubicBezTo>
                    <a:pt x="152" y="115"/>
                    <a:pt x="152" y="115"/>
                    <a:pt x="163" y="104"/>
                  </a:cubicBezTo>
                  <a:cubicBezTo>
                    <a:pt x="174" y="92"/>
                    <a:pt x="174" y="81"/>
                    <a:pt x="174" y="70"/>
                  </a:cubicBezTo>
                  <a:lnTo>
                    <a:pt x="174" y="59"/>
                  </a:lnTo>
                  <a:lnTo>
                    <a:pt x="174" y="45"/>
                  </a:lnTo>
                  <a:cubicBezTo>
                    <a:pt x="174" y="34"/>
                    <a:pt x="174" y="34"/>
                    <a:pt x="163" y="22"/>
                  </a:cubicBezTo>
                  <a:cubicBezTo>
                    <a:pt x="163" y="22"/>
                    <a:pt x="163" y="11"/>
                    <a:pt x="15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1" name="Google Shape;329;p17">
              <a:extLst>
                <a:ext uri="{FF2B5EF4-FFF2-40B4-BE49-F238E27FC236}">
                  <a16:creationId xmlns:a16="http://schemas.microsoft.com/office/drawing/2014/main" xmlns="" id="{B6079275-EBC3-4308-A086-CB0C88CAC0C7}"/>
                </a:ext>
              </a:extLst>
            </p:cNvPr>
            <p:cNvSpPr/>
            <p:nvPr/>
          </p:nvSpPr>
          <p:spPr>
            <a:xfrm>
              <a:off x="4312143" y="3641173"/>
              <a:ext cx="48646" cy="21442"/>
            </a:xfrm>
            <a:custGeom>
              <a:avLst/>
              <a:gdLst/>
              <a:ahLst/>
              <a:cxnLst/>
              <a:rect l="l" t="t" r="r" b="b"/>
              <a:pathLst>
                <a:path w="211" h="93" extrusionOk="0">
                  <a:moveTo>
                    <a:pt x="71" y="1"/>
                  </a:moveTo>
                  <a:cubicBezTo>
                    <a:pt x="60" y="1"/>
                    <a:pt x="48" y="1"/>
                    <a:pt x="37" y="12"/>
                  </a:cubicBezTo>
                  <a:cubicBezTo>
                    <a:pt x="26" y="12"/>
                    <a:pt x="26" y="12"/>
                    <a:pt x="26" y="23"/>
                  </a:cubicBezTo>
                  <a:cubicBezTo>
                    <a:pt x="15" y="34"/>
                    <a:pt x="1" y="45"/>
                    <a:pt x="15" y="57"/>
                  </a:cubicBezTo>
                  <a:cubicBezTo>
                    <a:pt x="15" y="57"/>
                    <a:pt x="26" y="71"/>
                    <a:pt x="37" y="71"/>
                  </a:cubicBezTo>
                  <a:lnTo>
                    <a:pt x="60" y="71"/>
                  </a:lnTo>
                  <a:cubicBezTo>
                    <a:pt x="71" y="57"/>
                    <a:pt x="96" y="57"/>
                    <a:pt x="107" y="57"/>
                  </a:cubicBezTo>
                  <a:cubicBezTo>
                    <a:pt x="107" y="71"/>
                    <a:pt x="118" y="71"/>
                    <a:pt x="118" y="71"/>
                  </a:cubicBezTo>
                  <a:cubicBezTo>
                    <a:pt x="141" y="93"/>
                    <a:pt x="166" y="93"/>
                    <a:pt x="188" y="93"/>
                  </a:cubicBezTo>
                  <a:cubicBezTo>
                    <a:pt x="199" y="93"/>
                    <a:pt x="199" y="82"/>
                    <a:pt x="211" y="82"/>
                  </a:cubicBezTo>
                  <a:lnTo>
                    <a:pt x="211" y="71"/>
                  </a:lnTo>
                  <a:cubicBezTo>
                    <a:pt x="211" y="57"/>
                    <a:pt x="211" y="34"/>
                    <a:pt x="199" y="23"/>
                  </a:cubicBezTo>
                  <a:cubicBezTo>
                    <a:pt x="199" y="23"/>
                    <a:pt x="188" y="12"/>
                    <a:pt x="177" y="12"/>
                  </a:cubicBezTo>
                  <a:cubicBezTo>
                    <a:pt x="141" y="12"/>
                    <a:pt x="107" y="1"/>
                    <a:pt x="7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2" name="Google Shape;330;p17">
              <a:extLst>
                <a:ext uri="{FF2B5EF4-FFF2-40B4-BE49-F238E27FC236}">
                  <a16:creationId xmlns:a16="http://schemas.microsoft.com/office/drawing/2014/main" xmlns="" id="{D8C4AB39-F706-EB6B-3549-7EDFDC2C930C}"/>
                </a:ext>
              </a:extLst>
            </p:cNvPr>
            <p:cNvSpPr/>
            <p:nvPr/>
          </p:nvSpPr>
          <p:spPr>
            <a:xfrm>
              <a:off x="4309607" y="3635409"/>
              <a:ext cx="56946" cy="32508"/>
            </a:xfrm>
            <a:custGeom>
              <a:avLst/>
              <a:gdLst/>
              <a:ahLst/>
              <a:cxnLst/>
              <a:rect l="l" t="t" r="r" b="b"/>
              <a:pathLst>
                <a:path w="247" h="141" extrusionOk="0">
                  <a:moveTo>
                    <a:pt x="82" y="48"/>
                  </a:moveTo>
                  <a:cubicBezTo>
                    <a:pt x="118" y="48"/>
                    <a:pt x="152" y="59"/>
                    <a:pt x="177" y="59"/>
                  </a:cubicBezTo>
                  <a:cubicBezTo>
                    <a:pt x="188" y="59"/>
                    <a:pt x="199" y="70"/>
                    <a:pt x="199" y="70"/>
                  </a:cubicBezTo>
                  <a:lnTo>
                    <a:pt x="199" y="82"/>
                  </a:lnTo>
                  <a:lnTo>
                    <a:pt x="199" y="96"/>
                  </a:lnTo>
                  <a:lnTo>
                    <a:pt x="188" y="96"/>
                  </a:lnTo>
                  <a:cubicBezTo>
                    <a:pt x="166" y="96"/>
                    <a:pt x="152" y="96"/>
                    <a:pt x="141" y="82"/>
                  </a:cubicBezTo>
                  <a:lnTo>
                    <a:pt x="129" y="70"/>
                  </a:lnTo>
                  <a:cubicBezTo>
                    <a:pt x="118" y="59"/>
                    <a:pt x="107" y="59"/>
                    <a:pt x="107" y="59"/>
                  </a:cubicBezTo>
                  <a:cubicBezTo>
                    <a:pt x="82" y="59"/>
                    <a:pt x="82" y="70"/>
                    <a:pt x="71" y="70"/>
                  </a:cubicBezTo>
                  <a:lnTo>
                    <a:pt x="48" y="70"/>
                  </a:lnTo>
                  <a:lnTo>
                    <a:pt x="48" y="59"/>
                  </a:lnTo>
                  <a:cubicBezTo>
                    <a:pt x="59" y="59"/>
                    <a:pt x="59" y="48"/>
                    <a:pt x="59" y="48"/>
                  </a:cubicBezTo>
                  <a:close/>
                  <a:moveTo>
                    <a:pt x="82" y="1"/>
                  </a:moveTo>
                  <a:cubicBezTo>
                    <a:pt x="71" y="1"/>
                    <a:pt x="48" y="1"/>
                    <a:pt x="37" y="12"/>
                  </a:cubicBezTo>
                  <a:cubicBezTo>
                    <a:pt x="26" y="12"/>
                    <a:pt x="26" y="26"/>
                    <a:pt x="12" y="37"/>
                  </a:cubicBezTo>
                  <a:cubicBezTo>
                    <a:pt x="1" y="48"/>
                    <a:pt x="1" y="59"/>
                    <a:pt x="1" y="70"/>
                  </a:cubicBezTo>
                  <a:lnTo>
                    <a:pt x="1" y="96"/>
                  </a:lnTo>
                  <a:cubicBezTo>
                    <a:pt x="12" y="107"/>
                    <a:pt x="26" y="118"/>
                    <a:pt x="37" y="118"/>
                  </a:cubicBezTo>
                  <a:lnTo>
                    <a:pt x="82" y="118"/>
                  </a:lnTo>
                  <a:cubicBezTo>
                    <a:pt x="96" y="107"/>
                    <a:pt x="96" y="107"/>
                    <a:pt x="107" y="107"/>
                  </a:cubicBezTo>
                  <a:lnTo>
                    <a:pt x="118" y="118"/>
                  </a:lnTo>
                  <a:cubicBezTo>
                    <a:pt x="129" y="129"/>
                    <a:pt x="166" y="140"/>
                    <a:pt x="188" y="140"/>
                  </a:cubicBezTo>
                  <a:lnTo>
                    <a:pt x="210" y="140"/>
                  </a:lnTo>
                  <a:cubicBezTo>
                    <a:pt x="222" y="140"/>
                    <a:pt x="236" y="129"/>
                    <a:pt x="236" y="118"/>
                  </a:cubicBezTo>
                  <a:cubicBezTo>
                    <a:pt x="247" y="107"/>
                    <a:pt x="247" y="96"/>
                    <a:pt x="247" y="96"/>
                  </a:cubicBezTo>
                  <a:lnTo>
                    <a:pt x="247" y="82"/>
                  </a:lnTo>
                  <a:cubicBezTo>
                    <a:pt x="247" y="70"/>
                    <a:pt x="247" y="48"/>
                    <a:pt x="236" y="37"/>
                  </a:cubicBezTo>
                  <a:cubicBezTo>
                    <a:pt x="222" y="26"/>
                    <a:pt x="199" y="12"/>
                    <a:pt x="188" y="12"/>
                  </a:cubicBezTo>
                  <a:cubicBezTo>
                    <a:pt x="152" y="12"/>
                    <a:pt x="118" y="1"/>
                    <a:pt x="8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3" name="Google Shape;331;p17">
              <a:extLst>
                <a:ext uri="{FF2B5EF4-FFF2-40B4-BE49-F238E27FC236}">
                  <a16:creationId xmlns:a16="http://schemas.microsoft.com/office/drawing/2014/main" xmlns="" id="{931534D6-E1EA-8C84-D7D5-C21AA2252603}"/>
                </a:ext>
              </a:extLst>
            </p:cNvPr>
            <p:cNvSpPr/>
            <p:nvPr/>
          </p:nvSpPr>
          <p:spPr>
            <a:xfrm>
              <a:off x="4277330" y="3568318"/>
              <a:ext cx="13833" cy="18906"/>
            </a:xfrm>
            <a:custGeom>
              <a:avLst/>
              <a:gdLst/>
              <a:ahLst/>
              <a:cxnLst/>
              <a:rect l="l" t="t" r="r" b="b"/>
              <a:pathLst>
                <a:path w="60" h="82" extrusionOk="0">
                  <a:moveTo>
                    <a:pt x="26" y="1"/>
                  </a:moveTo>
                  <a:cubicBezTo>
                    <a:pt x="12" y="12"/>
                    <a:pt x="1" y="37"/>
                    <a:pt x="1" y="48"/>
                  </a:cubicBezTo>
                  <a:cubicBezTo>
                    <a:pt x="1" y="59"/>
                    <a:pt x="1" y="71"/>
                    <a:pt x="12" y="71"/>
                  </a:cubicBezTo>
                  <a:lnTo>
                    <a:pt x="12" y="82"/>
                  </a:lnTo>
                  <a:cubicBezTo>
                    <a:pt x="26" y="82"/>
                    <a:pt x="37" y="82"/>
                    <a:pt x="37" y="71"/>
                  </a:cubicBezTo>
                  <a:lnTo>
                    <a:pt x="48" y="59"/>
                  </a:lnTo>
                  <a:cubicBezTo>
                    <a:pt x="48" y="59"/>
                    <a:pt x="48" y="48"/>
                    <a:pt x="60" y="37"/>
                  </a:cubicBezTo>
                  <a:cubicBezTo>
                    <a:pt x="60" y="23"/>
                    <a:pt x="60" y="23"/>
                    <a:pt x="48" y="12"/>
                  </a:cubicBezTo>
                  <a:lnTo>
                    <a:pt x="3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4" name="Google Shape;332;p17">
              <a:extLst>
                <a:ext uri="{FF2B5EF4-FFF2-40B4-BE49-F238E27FC236}">
                  <a16:creationId xmlns:a16="http://schemas.microsoft.com/office/drawing/2014/main" xmlns="" id="{6BE82AB0-06A8-3E59-47BF-CF03690E67DE}"/>
                </a:ext>
              </a:extLst>
            </p:cNvPr>
            <p:cNvSpPr/>
            <p:nvPr/>
          </p:nvSpPr>
          <p:spPr>
            <a:xfrm>
              <a:off x="4272258" y="3560710"/>
              <a:ext cx="23977" cy="32278"/>
            </a:xfrm>
            <a:custGeom>
              <a:avLst/>
              <a:gdLst/>
              <a:ahLst/>
              <a:cxnLst/>
              <a:rect l="l" t="t" r="r" b="b"/>
              <a:pathLst>
                <a:path w="104" h="140" extrusionOk="0">
                  <a:moveTo>
                    <a:pt x="57" y="56"/>
                  </a:moveTo>
                  <a:lnTo>
                    <a:pt x="57" y="56"/>
                  </a:lnTo>
                  <a:cubicBezTo>
                    <a:pt x="58" y="56"/>
                    <a:pt x="59" y="56"/>
                    <a:pt x="59" y="56"/>
                  </a:cubicBezTo>
                  <a:lnTo>
                    <a:pt x="59" y="70"/>
                  </a:lnTo>
                  <a:lnTo>
                    <a:pt x="51" y="79"/>
                  </a:lnTo>
                  <a:lnTo>
                    <a:pt x="51" y="79"/>
                  </a:lnTo>
                  <a:cubicBezTo>
                    <a:pt x="53" y="71"/>
                    <a:pt x="55" y="63"/>
                    <a:pt x="57" y="56"/>
                  </a:cubicBezTo>
                  <a:close/>
                  <a:moveTo>
                    <a:pt x="48" y="0"/>
                  </a:moveTo>
                  <a:lnTo>
                    <a:pt x="23" y="23"/>
                  </a:lnTo>
                  <a:cubicBezTo>
                    <a:pt x="12" y="34"/>
                    <a:pt x="1" y="56"/>
                    <a:pt x="1" y="81"/>
                  </a:cubicBezTo>
                  <a:lnTo>
                    <a:pt x="1" y="92"/>
                  </a:lnTo>
                  <a:lnTo>
                    <a:pt x="1" y="104"/>
                  </a:lnTo>
                  <a:cubicBezTo>
                    <a:pt x="1" y="115"/>
                    <a:pt x="12" y="126"/>
                    <a:pt x="23" y="126"/>
                  </a:cubicBezTo>
                  <a:lnTo>
                    <a:pt x="34" y="126"/>
                  </a:lnTo>
                  <a:lnTo>
                    <a:pt x="34" y="140"/>
                  </a:lnTo>
                  <a:lnTo>
                    <a:pt x="48" y="140"/>
                  </a:lnTo>
                  <a:cubicBezTo>
                    <a:pt x="59" y="140"/>
                    <a:pt x="70" y="126"/>
                    <a:pt x="82" y="126"/>
                  </a:cubicBezTo>
                  <a:lnTo>
                    <a:pt x="82" y="115"/>
                  </a:lnTo>
                  <a:lnTo>
                    <a:pt x="93" y="104"/>
                  </a:lnTo>
                  <a:cubicBezTo>
                    <a:pt x="93" y="92"/>
                    <a:pt x="93" y="92"/>
                    <a:pt x="104" y="70"/>
                  </a:cubicBezTo>
                  <a:cubicBezTo>
                    <a:pt x="104" y="56"/>
                    <a:pt x="93" y="45"/>
                    <a:pt x="93" y="34"/>
                  </a:cubicBezTo>
                  <a:cubicBezTo>
                    <a:pt x="82" y="23"/>
                    <a:pt x="82" y="23"/>
                    <a:pt x="70" y="11"/>
                  </a:cubicBezTo>
                  <a:lnTo>
                    <a:pt x="59" y="11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5" name="Google Shape;333;p17">
              <a:extLst>
                <a:ext uri="{FF2B5EF4-FFF2-40B4-BE49-F238E27FC236}">
                  <a16:creationId xmlns:a16="http://schemas.microsoft.com/office/drawing/2014/main" xmlns="" id="{8C0C302C-5EC2-BD78-8B99-6B6C26A4F065}"/>
                </a:ext>
              </a:extLst>
            </p:cNvPr>
            <p:cNvSpPr/>
            <p:nvPr/>
          </p:nvSpPr>
          <p:spPr>
            <a:xfrm>
              <a:off x="4199404" y="3514830"/>
              <a:ext cx="75620" cy="59022"/>
            </a:xfrm>
            <a:custGeom>
              <a:avLst/>
              <a:gdLst/>
              <a:ahLst/>
              <a:cxnLst/>
              <a:rect l="l" t="t" r="r" b="b"/>
              <a:pathLst>
                <a:path w="328" h="256" extrusionOk="0">
                  <a:moveTo>
                    <a:pt x="129" y="1"/>
                  </a:moveTo>
                  <a:cubicBezTo>
                    <a:pt x="118" y="1"/>
                    <a:pt x="107" y="1"/>
                    <a:pt x="107" y="12"/>
                  </a:cubicBezTo>
                  <a:lnTo>
                    <a:pt x="96" y="23"/>
                  </a:lnTo>
                  <a:cubicBezTo>
                    <a:pt x="92" y="27"/>
                    <a:pt x="88" y="28"/>
                    <a:pt x="84" y="28"/>
                  </a:cubicBezTo>
                  <a:cubicBezTo>
                    <a:pt x="75" y="28"/>
                    <a:pt x="67" y="23"/>
                    <a:pt x="59" y="23"/>
                  </a:cubicBezTo>
                  <a:cubicBezTo>
                    <a:pt x="51" y="15"/>
                    <a:pt x="43" y="7"/>
                    <a:pt x="36" y="7"/>
                  </a:cubicBezTo>
                  <a:cubicBezTo>
                    <a:pt x="32" y="7"/>
                    <a:pt x="29" y="9"/>
                    <a:pt x="26" y="12"/>
                  </a:cubicBezTo>
                  <a:cubicBezTo>
                    <a:pt x="26" y="23"/>
                    <a:pt x="26" y="34"/>
                    <a:pt x="37" y="59"/>
                  </a:cubicBezTo>
                  <a:cubicBezTo>
                    <a:pt x="48" y="71"/>
                    <a:pt x="48" y="82"/>
                    <a:pt x="37" y="93"/>
                  </a:cubicBezTo>
                  <a:cubicBezTo>
                    <a:pt x="26" y="93"/>
                    <a:pt x="15" y="93"/>
                    <a:pt x="15" y="104"/>
                  </a:cubicBezTo>
                  <a:lnTo>
                    <a:pt x="1" y="115"/>
                  </a:lnTo>
                  <a:cubicBezTo>
                    <a:pt x="1" y="140"/>
                    <a:pt x="26" y="152"/>
                    <a:pt x="37" y="163"/>
                  </a:cubicBezTo>
                  <a:lnTo>
                    <a:pt x="84" y="163"/>
                  </a:lnTo>
                  <a:cubicBezTo>
                    <a:pt x="107" y="163"/>
                    <a:pt x="129" y="163"/>
                    <a:pt x="140" y="174"/>
                  </a:cubicBezTo>
                  <a:cubicBezTo>
                    <a:pt x="154" y="174"/>
                    <a:pt x="166" y="199"/>
                    <a:pt x="166" y="210"/>
                  </a:cubicBezTo>
                  <a:cubicBezTo>
                    <a:pt x="177" y="222"/>
                    <a:pt x="177" y="233"/>
                    <a:pt x="188" y="244"/>
                  </a:cubicBezTo>
                  <a:cubicBezTo>
                    <a:pt x="199" y="255"/>
                    <a:pt x="210" y="255"/>
                    <a:pt x="235" y="255"/>
                  </a:cubicBezTo>
                  <a:cubicBezTo>
                    <a:pt x="247" y="255"/>
                    <a:pt x="258" y="244"/>
                    <a:pt x="269" y="244"/>
                  </a:cubicBezTo>
                  <a:cubicBezTo>
                    <a:pt x="280" y="222"/>
                    <a:pt x="305" y="210"/>
                    <a:pt x="317" y="199"/>
                  </a:cubicBezTo>
                  <a:lnTo>
                    <a:pt x="328" y="199"/>
                  </a:lnTo>
                  <a:lnTo>
                    <a:pt x="328" y="185"/>
                  </a:lnTo>
                  <a:cubicBezTo>
                    <a:pt x="328" y="174"/>
                    <a:pt x="317" y="163"/>
                    <a:pt x="305" y="152"/>
                  </a:cubicBezTo>
                  <a:lnTo>
                    <a:pt x="294" y="152"/>
                  </a:lnTo>
                  <a:cubicBezTo>
                    <a:pt x="280" y="152"/>
                    <a:pt x="269" y="140"/>
                    <a:pt x="258" y="129"/>
                  </a:cubicBezTo>
                  <a:cubicBezTo>
                    <a:pt x="258" y="104"/>
                    <a:pt x="235" y="93"/>
                    <a:pt x="224" y="82"/>
                  </a:cubicBezTo>
                  <a:cubicBezTo>
                    <a:pt x="210" y="71"/>
                    <a:pt x="210" y="45"/>
                    <a:pt x="199" y="34"/>
                  </a:cubicBezTo>
                  <a:cubicBezTo>
                    <a:pt x="188" y="23"/>
                    <a:pt x="177" y="23"/>
                    <a:pt x="166" y="12"/>
                  </a:cubicBezTo>
                  <a:cubicBezTo>
                    <a:pt x="154" y="12"/>
                    <a:pt x="140" y="1"/>
                    <a:pt x="12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6" name="Google Shape;334;p17">
              <a:extLst>
                <a:ext uri="{FF2B5EF4-FFF2-40B4-BE49-F238E27FC236}">
                  <a16:creationId xmlns:a16="http://schemas.microsoft.com/office/drawing/2014/main" xmlns="" id="{2FFF27BF-6784-FC5D-78C2-B8AA633AD468}"/>
                </a:ext>
              </a:extLst>
            </p:cNvPr>
            <p:cNvSpPr/>
            <p:nvPr/>
          </p:nvSpPr>
          <p:spPr>
            <a:xfrm>
              <a:off x="4194331" y="3509066"/>
              <a:ext cx="85995" cy="70550"/>
            </a:xfrm>
            <a:custGeom>
              <a:avLst/>
              <a:gdLst/>
              <a:ahLst/>
              <a:cxnLst/>
              <a:rect l="l" t="t" r="r" b="b"/>
              <a:pathLst>
                <a:path w="373" h="306" extrusionOk="0">
                  <a:moveTo>
                    <a:pt x="151" y="48"/>
                  </a:moveTo>
                  <a:cubicBezTo>
                    <a:pt x="162" y="48"/>
                    <a:pt x="162" y="59"/>
                    <a:pt x="176" y="59"/>
                  </a:cubicBezTo>
                  <a:cubicBezTo>
                    <a:pt x="188" y="70"/>
                    <a:pt x="199" y="70"/>
                    <a:pt x="199" y="84"/>
                  </a:cubicBezTo>
                  <a:cubicBezTo>
                    <a:pt x="210" y="84"/>
                    <a:pt x="221" y="107"/>
                    <a:pt x="232" y="118"/>
                  </a:cubicBezTo>
                  <a:cubicBezTo>
                    <a:pt x="246" y="129"/>
                    <a:pt x="257" y="140"/>
                    <a:pt x="257" y="154"/>
                  </a:cubicBezTo>
                  <a:cubicBezTo>
                    <a:pt x="269" y="165"/>
                    <a:pt x="269" y="177"/>
                    <a:pt x="280" y="188"/>
                  </a:cubicBezTo>
                  <a:cubicBezTo>
                    <a:pt x="291" y="199"/>
                    <a:pt x="302" y="199"/>
                    <a:pt x="316" y="199"/>
                  </a:cubicBezTo>
                  <a:lnTo>
                    <a:pt x="327" y="199"/>
                  </a:lnTo>
                  <a:lnTo>
                    <a:pt x="327" y="210"/>
                  </a:lnTo>
                  <a:cubicBezTo>
                    <a:pt x="316" y="224"/>
                    <a:pt x="291" y="235"/>
                    <a:pt x="280" y="247"/>
                  </a:cubicBezTo>
                  <a:cubicBezTo>
                    <a:pt x="269" y="258"/>
                    <a:pt x="257" y="258"/>
                    <a:pt x="246" y="258"/>
                  </a:cubicBezTo>
                  <a:cubicBezTo>
                    <a:pt x="246" y="258"/>
                    <a:pt x="232" y="258"/>
                    <a:pt x="232" y="247"/>
                  </a:cubicBezTo>
                  <a:cubicBezTo>
                    <a:pt x="221" y="247"/>
                    <a:pt x="221" y="235"/>
                    <a:pt x="210" y="224"/>
                  </a:cubicBezTo>
                  <a:cubicBezTo>
                    <a:pt x="199" y="210"/>
                    <a:pt x="199" y="188"/>
                    <a:pt x="176" y="177"/>
                  </a:cubicBezTo>
                  <a:cubicBezTo>
                    <a:pt x="162" y="165"/>
                    <a:pt x="140" y="165"/>
                    <a:pt x="129" y="165"/>
                  </a:cubicBezTo>
                  <a:lnTo>
                    <a:pt x="70" y="165"/>
                  </a:lnTo>
                  <a:cubicBezTo>
                    <a:pt x="59" y="165"/>
                    <a:pt x="59" y="154"/>
                    <a:pt x="59" y="154"/>
                  </a:cubicBezTo>
                  <a:lnTo>
                    <a:pt x="48" y="140"/>
                  </a:lnTo>
                  <a:lnTo>
                    <a:pt x="70" y="140"/>
                  </a:lnTo>
                  <a:cubicBezTo>
                    <a:pt x="70" y="129"/>
                    <a:pt x="81" y="129"/>
                    <a:pt x="81" y="118"/>
                  </a:cubicBezTo>
                  <a:lnTo>
                    <a:pt x="81" y="96"/>
                  </a:lnTo>
                  <a:lnTo>
                    <a:pt x="81" y="71"/>
                  </a:lnTo>
                  <a:lnTo>
                    <a:pt x="81" y="71"/>
                  </a:lnTo>
                  <a:cubicBezTo>
                    <a:pt x="89" y="78"/>
                    <a:pt x="97" y="84"/>
                    <a:pt x="106" y="84"/>
                  </a:cubicBezTo>
                  <a:cubicBezTo>
                    <a:pt x="118" y="84"/>
                    <a:pt x="129" y="70"/>
                    <a:pt x="129" y="70"/>
                  </a:cubicBezTo>
                  <a:lnTo>
                    <a:pt x="140" y="59"/>
                  </a:lnTo>
                  <a:lnTo>
                    <a:pt x="140" y="48"/>
                  </a:lnTo>
                  <a:close/>
                  <a:moveTo>
                    <a:pt x="151" y="0"/>
                  </a:moveTo>
                  <a:cubicBezTo>
                    <a:pt x="140" y="0"/>
                    <a:pt x="118" y="14"/>
                    <a:pt x="106" y="26"/>
                  </a:cubicBezTo>
                  <a:lnTo>
                    <a:pt x="106" y="37"/>
                  </a:lnTo>
                  <a:cubicBezTo>
                    <a:pt x="106" y="37"/>
                    <a:pt x="92" y="37"/>
                    <a:pt x="92" y="26"/>
                  </a:cubicBezTo>
                  <a:cubicBezTo>
                    <a:pt x="81" y="26"/>
                    <a:pt x="70" y="14"/>
                    <a:pt x="59" y="14"/>
                  </a:cubicBezTo>
                  <a:lnTo>
                    <a:pt x="37" y="14"/>
                  </a:lnTo>
                  <a:lnTo>
                    <a:pt x="23" y="26"/>
                  </a:lnTo>
                  <a:lnTo>
                    <a:pt x="23" y="37"/>
                  </a:lnTo>
                  <a:cubicBezTo>
                    <a:pt x="23" y="59"/>
                    <a:pt x="37" y="70"/>
                    <a:pt x="37" y="84"/>
                  </a:cubicBezTo>
                  <a:lnTo>
                    <a:pt x="37" y="96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37" y="107"/>
                  </a:lnTo>
                  <a:lnTo>
                    <a:pt x="23" y="107"/>
                  </a:lnTo>
                  <a:cubicBezTo>
                    <a:pt x="11" y="118"/>
                    <a:pt x="0" y="129"/>
                    <a:pt x="0" y="140"/>
                  </a:cubicBezTo>
                  <a:cubicBezTo>
                    <a:pt x="0" y="154"/>
                    <a:pt x="11" y="177"/>
                    <a:pt x="23" y="177"/>
                  </a:cubicBezTo>
                  <a:cubicBezTo>
                    <a:pt x="23" y="188"/>
                    <a:pt x="37" y="199"/>
                    <a:pt x="48" y="199"/>
                  </a:cubicBezTo>
                  <a:cubicBezTo>
                    <a:pt x="70" y="210"/>
                    <a:pt x="81" y="210"/>
                    <a:pt x="92" y="210"/>
                  </a:cubicBezTo>
                  <a:lnTo>
                    <a:pt x="151" y="210"/>
                  </a:lnTo>
                  <a:cubicBezTo>
                    <a:pt x="151" y="224"/>
                    <a:pt x="162" y="235"/>
                    <a:pt x="162" y="247"/>
                  </a:cubicBezTo>
                  <a:cubicBezTo>
                    <a:pt x="176" y="258"/>
                    <a:pt x="188" y="269"/>
                    <a:pt x="199" y="280"/>
                  </a:cubicBezTo>
                  <a:cubicBezTo>
                    <a:pt x="210" y="294"/>
                    <a:pt x="232" y="305"/>
                    <a:pt x="246" y="305"/>
                  </a:cubicBezTo>
                  <a:lnTo>
                    <a:pt x="257" y="305"/>
                  </a:lnTo>
                  <a:cubicBezTo>
                    <a:pt x="280" y="305"/>
                    <a:pt x="291" y="294"/>
                    <a:pt x="302" y="280"/>
                  </a:cubicBezTo>
                  <a:cubicBezTo>
                    <a:pt x="316" y="269"/>
                    <a:pt x="339" y="258"/>
                    <a:pt x="350" y="247"/>
                  </a:cubicBezTo>
                  <a:lnTo>
                    <a:pt x="361" y="235"/>
                  </a:lnTo>
                  <a:lnTo>
                    <a:pt x="372" y="210"/>
                  </a:lnTo>
                  <a:cubicBezTo>
                    <a:pt x="372" y="199"/>
                    <a:pt x="361" y="188"/>
                    <a:pt x="361" y="188"/>
                  </a:cubicBezTo>
                  <a:cubicBezTo>
                    <a:pt x="361" y="177"/>
                    <a:pt x="361" y="177"/>
                    <a:pt x="350" y="165"/>
                  </a:cubicBezTo>
                  <a:cubicBezTo>
                    <a:pt x="350" y="165"/>
                    <a:pt x="339" y="165"/>
                    <a:pt x="339" y="154"/>
                  </a:cubicBezTo>
                  <a:lnTo>
                    <a:pt x="316" y="154"/>
                  </a:lnTo>
                  <a:lnTo>
                    <a:pt x="302" y="140"/>
                  </a:lnTo>
                  <a:cubicBezTo>
                    <a:pt x="291" y="118"/>
                    <a:pt x="280" y="96"/>
                    <a:pt x="269" y="84"/>
                  </a:cubicBezTo>
                  <a:cubicBezTo>
                    <a:pt x="257" y="84"/>
                    <a:pt x="246" y="59"/>
                    <a:pt x="232" y="48"/>
                  </a:cubicBezTo>
                  <a:cubicBezTo>
                    <a:pt x="221" y="37"/>
                    <a:pt x="210" y="26"/>
                    <a:pt x="199" y="26"/>
                  </a:cubicBezTo>
                  <a:cubicBezTo>
                    <a:pt x="188" y="14"/>
                    <a:pt x="176" y="0"/>
                    <a:pt x="16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7" name="Google Shape;335;p17">
              <a:extLst>
                <a:ext uri="{FF2B5EF4-FFF2-40B4-BE49-F238E27FC236}">
                  <a16:creationId xmlns:a16="http://schemas.microsoft.com/office/drawing/2014/main" xmlns="" id="{25209368-770A-50DC-738E-FF61C4D8024D}"/>
                </a:ext>
              </a:extLst>
            </p:cNvPr>
            <p:cNvSpPr/>
            <p:nvPr/>
          </p:nvSpPr>
          <p:spPr>
            <a:xfrm>
              <a:off x="4127241" y="3448430"/>
              <a:ext cx="45879" cy="36889"/>
            </a:xfrm>
            <a:custGeom>
              <a:avLst/>
              <a:gdLst/>
              <a:ahLst/>
              <a:cxnLst/>
              <a:rect l="l" t="t" r="r" b="b"/>
              <a:pathLst>
                <a:path w="199" h="160" extrusionOk="0">
                  <a:moveTo>
                    <a:pt x="116" y="1"/>
                  </a:moveTo>
                  <a:cubicBezTo>
                    <a:pt x="107" y="1"/>
                    <a:pt x="98" y="3"/>
                    <a:pt x="93" y="9"/>
                  </a:cubicBezTo>
                  <a:lnTo>
                    <a:pt x="81" y="20"/>
                  </a:lnTo>
                  <a:lnTo>
                    <a:pt x="48" y="20"/>
                  </a:lnTo>
                  <a:cubicBezTo>
                    <a:pt x="34" y="20"/>
                    <a:pt x="23" y="20"/>
                    <a:pt x="23" y="31"/>
                  </a:cubicBezTo>
                  <a:cubicBezTo>
                    <a:pt x="12" y="31"/>
                    <a:pt x="0" y="43"/>
                    <a:pt x="0" y="54"/>
                  </a:cubicBezTo>
                  <a:lnTo>
                    <a:pt x="0" y="101"/>
                  </a:lnTo>
                  <a:cubicBezTo>
                    <a:pt x="12" y="124"/>
                    <a:pt x="23" y="138"/>
                    <a:pt x="48" y="138"/>
                  </a:cubicBezTo>
                  <a:cubicBezTo>
                    <a:pt x="70" y="149"/>
                    <a:pt x="104" y="160"/>
                    <a:pt x="140" y="160"/>
                  </a:cubicBezTo>
                  <a:cubicBezTo>
                    <a:pt x="151" y="160"/>
                    <a:pt x="163" y="160"/>
                    <a:pt x="174" y="149"/>
                  </a:cubicBezTo>
                  <a:cubicBezTo>
                    <a:pt x="188" y="149"/>
                    <a:pt x="188" y="138"/>
                    <a:pt x="188" y="138"/>
                  </a:cubicBezTo>
                  <a:cubicBezTo>
                    <a:pt x="199" y="101"/>
                    <a:pt x="188" y="68"/>
                    <a:pt x="174" y="31"/>
                  </a:cubicBezTo>
                  <a:cubicBezTo>
                    <a:pt x="163" y="20"/>
                    <a:pt x="163" y="9"/>
                    <a:pt x="140" y="9"/>
                  </a:cubicBezTo>
                  <a:cubicBezTo>
                    <a:pt x="135" y="3"/>
                    <a:pt x="125" y="1"/>
                    <a:pt x="11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8" name="Google Shape;336;p17">
              <a:extLst>
                <a:ext uri="{FF2B5EF4-FFF2-40B4-BE49-F238E27FC236}">
                  <a16:creationId xmlns:a16="http://schemas.microsoft.com/office/drawing/2014/main" xmlns="" id="{EC997D8D-FC3F-2F6A-2EC9-32AFAF23F5B7}"/>
                </a:ext>
              </a:extLst>
            </p:cNvPr>
            <p:cNvSpPr/>
            <p:nvPr/>
          </p:nvSpPr>
          <p:spPr>
            <a:xfrm>
              <a:off x="4121938" y="3441975"/>
              <a:ext cx="56485" cy="48647"/>
            </a:xfrm>
            <a:custGeom>
              <a:avLst/>
              <a:gdLst/>
              <a:ahLst/>
              <a:cxnLst/>
              <a:rect l="l" t="t" r="r" b="b"/>
              <a:pathLst>
                <a:path w="245" h="211" extrusionOk="0">
                  <a:moveTo>
                    <a:pt x="163" y="48"/>
                  </a:moveTo>
                  <a:cubicBezTo>
                    <a:pt x="163" y="59"/>
                    <a:pt x="174" y="59"/>
                    <a:pt x="174" y="71"/>
                  </a:cubicBezTo>
                  <a:cubicBezTo>
                    <a:pt x="186" y="96"/>
                    <a:pt x="197" y="107"/>
                    <a:pt x="197" y="129"/>
                  </a:cubicBezTo>
                  <a:cubicBezTo>
                    <a:pt x="197" y="140"/>
                    <a:pt x="197" y="140"/>
                    <a:pt x="186" y="152"/>
                  </a:cubicBezTo>
                  <a:lnTo>
                    <a:pt x="186" y="166"/>
                  </a:lnTo>
                  <a:lnTo>
                    <a:pt x="163" y="166"/>
                  </a:lnTo>
                  <a:cubicBezTo>
                    <a:pt x="127" y="166"/>
                    <a:pt x="104" y="152"/>
                    <a:pt x="82" y="140"/>
                  </a:cubicBezTo>
                  <a:cubicBezTo>
                    <a:pt x="57" y="140"/>
                    <a:pt x="57" y="129"/>
                    <a:pt x="46" y="129"/>
                  </a:cubicBezTo>
                  <a:lnTo>
                    <a:pt x="46" y="107"/>
                  </a:lnTo>
                  <a:lnTo>
                    <a:pt x="46" y="96"/>
                  </a:lnTo>
                  <a:lnTo>
                    <a:pt x="46" y="82"/>
                  </a:lnTo>
                  <a:lnTo>
                    <a:pt x="57" y="71"/>
                  </a:lnTo>
                  <a:lnTo>
                    <a:pt x="93" y="71"/>
                  </a:lnTo>
                  <a:cubicBezTo>
                    <a:pt x="104" y="71"/>
                    <a:pt x="116" y="71"/>
                    <a:pt x="116" y="59"/>
                  </a:cubicBezTo>
                  <a:lnTo>
                    <a:pt x="141" y="59"/>
                  </a:lnTo>
                  <a:cubicBezTo>
                    <a:pt x="141" y="48"/>
                    <a:pt x="141" y="48"/>
                    <a:pt x="152" y="48"/>
                  </a:cubicBezTo>
                  <a:close/>
                  <a:moveTo>
                    <a:pt x="152" y="1"/>
                  </a:moveTo>
                  <a:cubicBezTo>
                    <a:pt x="127" y="1"/>
                    <a:pt x="116" y="12"/>
                    <a:pt x="104" y="12"/>
                  </a:cubicBezTo>
                  <a:lnTo>
                    <a:pt x="93" y="26"/>
                  </a:lnTo>
                  <a:lnTo>
                    <a:pt x="57" y="26"/>
                  </a:lnTo>
                  <a:cubicBezTo>
                    <a:pt x="57" y="26"/>
                    <a:pt x="46" y="26"/>
                    <a:pt x="35" y="37"/>
                  </a:cubicBezTo>
                  <a:cubicBezTo>
                    <a:pt x="23" y="37"/>
                    <a:pt x="12" y="48"/>
                    <a:pt x="12" y="59"/>
                  </a:cubicBezTo>
                  <a:cubicBezTo>
                    <a:pt x="1" y="71"/>
                    <a:pt x="1" y="71"/>
                    <a:pt x="1" y="82"/>
                  </a:cubicBezTo>
                  <a:lnTo>
                    <a:pt x="1" y="107"/>
                  </a:lnTo>
                  <a:cubicBezTo>
                    <a:pt x="1" y="118"/>
                    <a:pt x="1" y="129"/>
                    <a:pt x="12" y="140"/>
                  </a:cubicBezTo>
                  <a:cubicBezTo>
                    <a:pt x="23" y="166"/>
                    <a:pt x="35" y="177"/>
                    <a:pt x="57" y="188"/>
                  </a:cubicBezTo>
                  <a:cubicBezTo>
                    <a:pt x="93" y="199"/>
                    <a:pt x="127" y="210"/>
                    <a:pt x="163" y="210"/>
                  </a:cubicBezTo>
                  <a:lnTo>
                    <a:pt x="174" y="210"/>
                  </a:lnTo>
                  <a:cubicBezTo>
                    <a:pt x="174" y="210"/>
                    <a:pt x="197" y="210"/>
                    <a:pt x="211" y="199"/>
                  </a:cubicBezTo>
                  <a:cubicBezTo>
                    <a:pt x="222" y="188"/>
                    <a:pt x="233" y="177"/>
                    <a:pt x="233" y="166"/>
                  </a:cubicBezTo>
                  <a:cubicBezTo>
                    <a:pt x="233" y="152"/>
                    <a:pt x="244" y="140"/>
                    <a:pt x="244" y="129"/>
                  </a:cubicBezTo>
                  <a:cubicBezTo>
                    <a:pt x="244" y="96"/>
                    <a:pt x="233" y="71"/>
                    <a:pt x="222" y="48"/>
                  </a:cubicBezTo>
                  <a:cubicBezTo>
                    <a:pt x="211" y="37"/>
                    <a:pt x="197" y="26"/>
                    <a:pt x="174" y="12"/>
                  </a:cubicBezTo>
                  <a:cubicBezTo>
                    <a:pt x="163" y="1"/>
                    <a:pt x="163" y="1"/>
                    <a:pt x="15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9" name="Google Shape;337;p17">
              <a:extLst>
                <a:ext uri="{FF2B5EF4-FFF2-40B4-BE49-F238E27FC236}">
                  <a16:creationId xmlns:a16="http://schemas.microsoft.com/office/drawing/2014/main" xmlns="" id="{545A65BD-085D-1833-D2B4-70F5D4474D35}"/>
                </a:ext>
              </a:extLst>
            </p:cNvPr>
            <p:cNvSpPr/>
            <p:nvPr/>
          </p:nvSpPr>
          <p:spPr>
            <a:xfrm>
              <a:off x="4148452" y="3409697"/>
              <a:ext cx="11297" cy="9683"/>
            </a:xfrm>
            <a:custGeom>
              <a:avLst/>
              <a:gdLst/>
              <a:ahLst/>
              <a:cxnLst/>
              <a:rect l="l" t="t" r="r" b="b"/>
              <a:pathLst>
                <a:path w="49" h="42" extrusionOk="0">
                  <a:moveTo>
                    <a:pt x="26" y="1"/>
                  </a:moveTo>
                  <a:cubicBezTo>
                    <a:pt x="26" y="1"/>
                    <a:pt x="12" y="1"/>
                    <a:pt x="1" y="12"/>
                  </a:cubicBezTo>
                  <a:lnTo>
                    <a:pt x="1" y="26"/>
                  </a:lnTo>
                  <a:cubicBezTo>
                    <a:pt x="1" y="37"/>
                    <a:pt x="1" y="37"/>
                    <a:pt x="12" y="37"/>
                  </a:cubicBezTo>
                  <a:cubicBezTo>
                    <a:pt x="16" y="40"/>
                    <a:pt x="20" y="42"/>
                    <a:pt x="23" y="42"/>
                  </a:cubicBezTo>
                  <a:cubicBezTo>
                    <a:pt x="32" y="42"/>
                    <a:pt x="40" y="34"/>
                    <a:pt x="48" y="26"/>
                  </a:cubicBezTo>
                  <a:cubicBezTo>
                    <a:pt x="48" y="26"/>
                    <a:pt x="37" y="1"/>
                    <a:pt x="2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0" name="Google Shape;338;p17">
              <a:extLst>
                <a:ext uri="{FF2B5EF4-FFF2-40B4-BE49-F238E27FC236}">
                  <a16:creationId xmlns:a16="http://schemas.microsoft.com/office/drawing/2014/main" xmlns="" id="{0A679EFB-93C0-9EE1-7954-156A0D76EE09}"/>
                </a:ext>
              </a:extLst>
            </p:cNvPr>
            <p:cNvSpPr/>
            <p:nvPr/>
          </p:nvSpPr>
          <p:spPr>
            <a:xfrm>
              <a:off x="4143380" y="3404625"/>
              <a:ext cx="21441" cy="18906"/>
            </a:xfrm>
            <a:custGeom>
              <a:avLst/>
              <a:gdLst/>
              <a:ahLst/>
              <a:cxnLst/>
              <a:rect l="l" t="t" r="r" b="b"/>
              <a:pathLst>
                <a:path w="93" h="82" extrusionOk="0">
                  <a:moveTo>
                    <a:pt x="48" y="0"/>
                  </a:moveTo>
                  <a:cubicBezTo>
                    <a:pt x="34" y="0"/>
                    <a:pt x="23" y="12"/>
                    <a:pt x="11" y="23"/>
                  </a:cubicBezTo>
                  <a:cubicBezTo>
                    <a:pt x="0" y="23"/>
                    <a:pt x="0" y="34"/>
                    <a:pt x="0" y="48"/>
                  </a:cubicBezTo>
                  <a:lnTo>
                    <a:pt x="0" y="59"/>
                  </a:lnTo>
                  <a:cubicBezTo>
                    <a:pt x="0" y="70"/>
                    <a:pt x="0" y="70"/>
                    <a:pt x="11" y="70"/>
                  </a:cubicBezTo>
                  <a:cubicBezTo>
                    <a:pt x="11" y="82"/>
                    <a:pt x="23" y="82"/>
                    <a:pt x="23" y="82"/>
                  </a:cubicBezTo>
                  <a:lnTo>
                    <a:pt x="48" y="82"/>
                  </a:lnTo>
                  <a:cubicBezTo>
                    <a:pt x="59" y="82"/>
                    <a:pt x="70" y="82"/>
                    <a:pt x="81" y="70"/>
                  </a:cubicBezTo>
                  <a:lnTo>
                    <a:pt x="93" y="70"/>
                  </a:lnTo>
                  <a:lnTo>
                    <a:pt x="93" y="59"/>
                  </a:lnTo>
                  <a:lnTo>
                    <a:pt x="93" y="48"/>
                  </a:lnTo>
                  <a:lnTo>
                    <a:pt x="93" y="34"/>
                  </a:lnTo>
                  <a:cubicBezTo>
                    <a:pt x="81" y="23"/>
                    <a:pt x="81" y="23"/>
                    <a:pt x="81" y="12"/>
                  </a:cubicBezTo>
                  <a:lnTo>
                    <a:pt x="70" y="12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1" name="Google Shape;339;p17">
              <a:extLst>
                <a:ext uri="{FF2B5EF4-FFF2-40B4-BE49-F238E27FC236}">
                  <a16:creationId xmlns:a16="http://schemas.microsoft.com/office/drawing/2014/main" xmlns="" id="{1F22E579-E805-D4C9-A7F2-0142395DBB94}"/>
                </a:ext>
              </a:extLst>
            </p:cNvPr>
            <p:cNvSpPr/>
            <p:nvPr/>
          </p:nvSpPr>
          <p:spPr>
            <a:xfrm>
              <a:off x="4121938" y="3420764"/>
              <a:ext cx="13141" cy="16369"/>
            </a:xfrm>
            <a:custGeom>
              <a:avLst/>
              <a:gdLst/>
              <a:ahLst/>
              <a:cxnLst/>
              <a:rect l="l" t="t" r="r" b="b"/>
              <a:pathLst>
                <a:path w="57" h="71" extrusionOk="0">
                  <a:moveTo>
                    <a:pt x="1" y="0"/>
                  </a:moveTo>
                  <a:lnTo>
                    <a:pt x="1" y="12"/>
                  </a:lnTo>
                  <a:lnTo>
                    <a:pt x="1" y="48"/>
                  </a:lnTo>
                  <a:lnTo>
                    <a:pt x="1" y="59"/>
                  </a:lnTo>
                  <a:cubicBezTo>
                    <a:pt x="1" y="70"/>
                    <a:pt x="12" y="70"/>
                    <a:pt x="12" y="70"/>
                  </a:cubicBezTo>
                  <a:lnTo>
                    <a:pt x="35" y="70"/>
                  </a:lnTo>
                  <a:cubicBezTo>
                    <a:pt x="35" y="59"/>
                    <a:pt x="46" y="48"/>
                    <a:pt x="46" y="48"/>
                  </a:cubicBezTo>
                  <a:cubicBezTo>
                    <a:pt x="46" y="34"/>
                    <a:pt x="57" y="12"/>
                    <a:pt x="46" y="12"/>
                  </a:cubicBezTo>
                  <a:cubicBezTo>
                    <a:pt x="46" y="0"/>
                    <a:pt x="35" y="0"/>
                    <a:pt x="3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2" name="Google Shape;340;p17">
              <a:extLst>
                <a:ext uri="{FF2B5EF4-FFF2-40B4-BE49-F238E27FC236}">
                  <a16:creationId xmlns:a16="http://schemas.microsoft.com/office/drawing/2014/main" xmlns="" id="{26A2EDB6-7250-6E32-BC30-D884D3F79C8D}"/>
                </a:ext>
              </a:extLst>
            </p:cNvPr>
            <p:cNvSpPr/>
            <p:nvPr/>
          </p:nvSpPr>
          <p:spPr>
            <a:xfrm>
              <a:off x="4116175" y="3415461"/>
              <a:ext cx="22133" cy="26744"/>
            </a:xfrm>
            <a:custGeom>
              <a:avLst/>
              <a:gdLst/>
              <a:ahLst/>
              <a:cxnLst/>
              <a:rect l="l" t="t" r="r" b="b"/>
              <a:pathLst>
                <a:path w="96" h="116" extrusionOk="0">
                  <a:moveTo>
                    <a:pt x="37" y="1"/>
                  </a:moveTo>
                  <a:cubicBezTo>
                    <a:pt x="37" y="1"/>
                    <a:pt x="26" y="1"/>
                    <a:pt x="12" y="12"/>
                  </a:cubicBezTo>
                  <a:cubicBezTo>
                    <a:pt x="1" y="23"/>
                    <a:pt x="1" y="23"/>
                    <a:pt x="1" y="35"/>
                  </a:cubicBezTo>
                  <a:lnTo>
                    <a:pt x="1" y="57"/>
                  </a:lnTo>
                  <a:lnTo>
                    <a:pt x="1" y="82"/>
                  </a:lnTo>
                  <a:lnTo>
                    <a:pt x="1" y="93"/>
                  </a:lnTo>
                  <a:cubicBezTo>
                    <a:pt x="12" y="104"/>
                    <a:pt x="26" y="104"/>
                    <a:pt x="26" y="116"/>
                  </a:cubicBezTo>
                  <a:lnTo>
                    <a:pt x="60" y="116"/>
                  </a:lnTo>
                  <a:cubicBezTo>
                    <a:pt x="71" y="104"/>
                    <a:pt x="82" y="104"/>
                    <a:pt x="82" y="93"/>
                  </a:cubicBezTo>
                  <a:cubicBezTo>
                    <a:pt x="96" y="82"/>
                    <a:pt x="96" y="82"/>
                    <a:pt x="96" y="71"/>
                  </a:cubicBezTo>
                  <a:lnTo>
                    <a:pt x="96" y="46"/>
                  </a:lnTo>
                  <a:cubicBezTo>
                    <a:pt x="96" y="35"/>
                    <a:pt x="96" y="23"/>
                    <a:pt x="82" y="12"/>
                  </a:cubicBezTo>
                  <a:cubicBezTo>
                    <a:pt x="82" y="12"/>
                    <a:pt x="71" y="1"/>
                    <a:pt x="6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3" name="Google Shape;341;p17">
              <a:extLst>
                <a:ext uri="{FF2B5EF4-FFF2-40B4-BE49-F238E27FC236}">
                  <a16:creationId xmlns:a16="http://schemas.microsoft.com/office/drawing/2014/main" xmlns="" id="{C12A46C9-DBE2-6F4A-2D0D-E0DDDD716B36}"/>
                </a:ext>
              </a:extLst>
            </p:cNvPr>
            <p:cNvSpPr/>
            <p:nvPr/>
          </p:nvSpPr>
          <p:spPr>
            <a:xfrm>
              <a:off x="4084128" y="3458113"/>
              <a:ext cx="13602" cy="13833"/>
            </a:xfrm>
            <a:custGeom>
              <a:avLst/>
              <a:gdLst/>
              <a:ahLst/>
              <a:cxnLst/>
              <a:rect l="l" t="t" r="r" b="b"/>
              <a:pathLst>
                <a:path w="59" h="60" extrusionOk="0">
                  <a:moveTo>
                    <a:pt x="36" y="1"/>
                  </a:moveTo>
                  <a:cubicBezTo>
                    <a:pt x="25" y="1"/>
                    <a:pt x="11" y="1"/>
                    <a:pt x="11" y="12"/>
                  </a:cubicBezTo>
                  <a:lnTo>
                    <a:pt x="11" y="37"/>
                  </a:lnTo>
                  <a:cubicBezTo>
                    <a:pt x="0" y="37"/>
                    <a:pt x="0" y="48"/>
                    <a:pt x="11" y="48"/>
                  </a:cubicBezTo>
                  <a:cubicBezTo>
                    <a:pt x="11" y="59"/>
                    <a:pt x="25" y="59"/>
                    <a:pt x="36" y="59"/>
                  </a:cubicBezTo>
                  <a:cubicBezTo>
                    <a:pt x="48" y="59"/>
                    <a:pt x="48" y="59"/>
                    <a:pt x="59" y="48"/>
                  </a:cubicBezTo>
                  <a:lnTo>
                    <a:pt x="59" y="12"/>
                  </a:lnTo>
                  <a:cubicBezTo>
                    <a:pt x="48" y="12"/>
                    <a:pt x="48" y="1"/>
                    <a:pt x="3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4" name="Google Shape;342;p17">
              <a:extLst>
                <a:ext uri="{FF2B5EF4-FFF2-40B4-BE49-F238E27FC236}">
                  <a16:creationId xmlns:a16="http://schemas.microsoft.com/office/drawing/2014/main" xmlns="" id="{82E374DD-56F8-97A7-51CF-05DDEE0DC27F}"/>
                </a:ext>
              </a:extLst>
            </p:cNvPr>
            <p:cNvSpPr/>
            <p:nvPr/>
          </p:nvSpPr>
          <p:spPr>
            <a:xfrm>
              <a:off x="4081361" y="3453041"/>
              <a:ext cx="21672" cy="23978"/>
            </a:xfrm>
            <a:custGeom>
              <a:avLst/>
              <a:gdLst/>
              <a:ahLst/>
              <a:cxnLst/>
              <a:rect l="l" t="t" r="r" b="b"/>
              <a:pathLst>
                <a:path w="94" h="104" extrusionOk="0">
                  <a:moveTo>
                    <a:pt x="12" y="0"/>
                  </a:moveTo>
                  <a:cubicBezTo>
                    <a:pt x="12" y="11"/>
                    <a:pt x="1" y="11"/>
                    <a:pt x="1" y="23"/>
                  </a:cubicBezTo>
                  <a:lnTo>
                    <a:pt x="1" y="48"/>
                  </a:lnTo>
                  <a:lnTo>
                    <a:pt x="1" y="59"/>
                  </a:lnTo>
                  <a:lnTo>
                    <a:pt x="1" y="81"/>
                  </a:lnTo>
                  <a:cubicBezTo>
                    <a:pt x="12" y="92"/>
                    <a:pt x="12" y="104"/>
                    <a:pt x="23" y="104"/>
                  </a:cubicBezTo>
                  <a:lnTo>
                    <a:pt x="71" y="104"/>
                  </a:lnTo>
                  <a:cubicBezTo>
                    <a:pt x="71" y="104"/>
                    <a:pt x="82" y="92"/>
                    <a:pt x="82" y="81"/>
                  </a:cubicBezTo>
                  <a:lnTo>
                    <a:pt x="93" y="81"/>
                  </a:lnTo>
                  <a:lnTo>
                    <a:pt x="93" y="70"/>
                  </a:lnTo>
                  <a:lnTo>
                    <a:pt x="93" y="59"/>
                  </a:lnTo>
                  <a:cubicBezTo>
                    <a:pt x="93" y="48"/>
                    <a:pt x="93" y="34"/>
                    <a:pt x="82" y="34"/>
                  </a:cubicBezTo>
                  <a:cubicBezTo>
                    <a:pt x="82" y="23"/>
                    <a:pt x="82" y="11"/>
                    <a:pt x="71" y="11"/>
                  </a:cubicBezTo>
                  <a:cubicBezTo>
                    <a:pt x="60" y="11"/>
                    <a:pt x="60" y="0"/>
                    <a:pt x="4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5" name="Google Shape;343;p17">
              <a:extLst>
                <a:ext uri="{FF2B5EF4-FFF2-40B4-BE49-F238E27FC236}">
                  <a16:creationId xmlns:a16="http://schemas.microsoft.com/office/drawing/2014/main" xmlns="" id="{0239ADF6-1820-F1F4-4E8E-EFD006D1E0CB}"/>
                </a:ext>
              </a:extLst>
            </p:cNvPr>
            <p:cNvSpPr/>
            <p:nvPr/>
          </p:nvSpPr>
          <p:spPr>
            <a:xfrm>
              <a:off x="4102803" y="3469180"/>
              <a:ext cx="13602" cy="11067"/>
            </a:xfrm>
            <a:custGeom>
              <a:avLst/>
              <a:gdLst/>
              <a:ahLst/>
              <a:cxnLst/>
              <a:rect l="l" t="t" r="r" b="b"/>
              <a:pathLst>
                <a:path w="59" h="48" extrusionOk="0">
                  <a:moveTo>
                    <a:pt x="25" y="0"/>
                  </a:moveTo>
                  <a:cubicBezTo>
                    <a:pt x="25" y="0"/>
                    <a:pt x="14" y="0"/>
                    <a:pt x="0" y="11"/>
                  </a:cubicBezTo>
                  <a:lnTo>
                    <a:pt x="0" y="22"/>
                  </a:lnTo>
                  <a:lnTo>
                    <a:pt x="0" y="34"/>
                  </a:lnTo>
                  <a:lnTo>
                    <a:pt x="14" y="48"/>
                  </a:lnTo>
                  <a:lnTo>
                    <a:pt x="59" y="48"/>
                  </a:lnTo>
                  <a:lnTo>
                    <a:pt x="59" y="34"/>
                  </a:lnTo>
                  <a:lnTo>
                    <a:pt x="59" y="22"/>
                  </a:lnTo>
                  <a:lnTo>
                    <a:pt x="59" y="11"/>
                  </a:lnTo>
                  <a:cubicBezTo>
                    <a:pt x="48" y="11"/>
                    <a:pt x="36" y="0"/>
                    <a:pt x="2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6" name="Google Shape;344;p17">
              <a:extLst>
                <a:ext uri="{FF2B5EF4-FFF2-40B4-BE49-F238E27FC236}">
                  <a16:creationId xmlns:a16="http://schemas.microsoft.com/office/drawing/2014/main" xmlns="" id="{031C1395-B7C3-D234-E000-22D02EA6EC18}"/>
                </a:ext>
              </a:extLst>
            </p:cNvPr>
            <p:cNvSpPr/>
            <p:nvPr/>
          </p:nvSpPr>
          <p:spPr>
            <a:xfrm>
              <a:off x="4097500" y="3463877"/>
              <a:ext cx="24669" cy="21442"/>
            </a:xfrm>
            <a:custGeom>
              <a:avLst/>
              <a:gdLst/>
              <a:ahLst/>
              <a:cxnLst/>
              <a:rect l="l" t="t" r="r" b="b"/>
              <a:pathLst>
                <a:path w="107" h="93" extrusionOk="0">
                  <a:moveTo>
                    <a:pt x="48" y="1"/>
                  </a:moveTo>
                  <a:cubicBezTo>
                    <a:pt x="37" y="1"/>
                    <a:pt x="23" y="1"/>
                    <a:pt x="12" y="12"/>
                  </a:cubicBezTo>
                  <a:cubicBezTo>
                    <a:pt x="1" y="23"/>
                    <a:pt x="1" y="34"/>
                    <a:pt x="1" y="34"/>
                  </a:cubicBezTo>
                  <a:lnTo>
                    <a:pt x="1" y="45"/>
                  </a:lnTo>
                  <a:lnTo>
                    <a:pt x="1" y="82"/>
                  </a:lnTo>
                  <a:lnTo>
                    <a:pt x="23" y="82"/>
                  </a:lnTo>
                  <a:lnTo>
                    <a:pt x="23" y="93"/>
                  </a:lnTo>
                  <a:lnTo>
                    <a:pt x="82" y="93"/>
                  </a:lnTo>
                  <a:lnTo>
                    <a:pt x="93" y="82"/>
                  </a:lnTo>
                  <a:cubicBezTo>
                    <a:pt x="93" y="82"/>
                    <a:pt x="107" y="82"/>
                    <a:pt x="107" y="71"/>
                  </a:cubicBezTo>
                  <a:lnTo>
                    <a:pt x="107" y="57"/>
                  </a:lnTo>
                  <a:lnTo>
                    <a:pt x="107" y="45"/>
                  </a:lnTo>
                  <a:lnTo>
                    <a:pt x="107" y="34"/>
                  </a:lnTo>
                  <a:lnTo>
                    <a:pt x="107" y="23"/>
                  </a:lnTo>
                  <a:lnTo>
                    <a:pt x="93" y="23"/>
                  </a:lnTo>
                  <a:cubicBezTo>
                    <a:pt x="82" y="12"/>
                    <a:pt x="82" y="12"/>
                    <a:pt x="71" y="12"/>
                  </a:cubicBezTo>
                  <a:lnTo>
                    <a:pt x="59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7" name="Google Shape;345;p17">
              <a:extLst>
                <a:ext uri="{FF2B5EF4-FFF2-40B4-BE49-F238E27FC236}">
                  <a16:creationId xmlns:a16="http://schemas.microsoft.com/office/drawing/2014/main" xmlns="" id="{762080A1-7C71-0127-8156-D054F0EC5A1D}"/>
                </a:ext>
              </a:extLst>
            </p:cNvPr>
            <p:cNvSpPr/>
            <p:nvPr/>
          </p:nvSpPr>
          <p:spPr>
            <a:xfrm>
              <a:off x="4035712" y="3288195"/>
              <a:ext cx="196198" cy="135336"/>
            </a:xfrm>
            <a:custGeom>
              <a:avLst/>
              <a:gdLst/>
              <a:ahLst/>
              <a:cxnLst/>
              <a:rect l="l" t="t" r="r" b="b"/>
              <a:pathLst>
                <a:path w="851" h="587" extrusionOk="0">
                  <a:moveTo>
                    <a:pt x="658" y="1"/>
                  </a:moveTo>
                  <a:cubicBezTo>
                    <a:pt x="649" y="1"/>
                    <a:pt x="639" y="2"/>
                    <a:pt x="629" y="5"/>
                  </a:cubicBezTo>
                  <a:cubicBezTo>
                    <a:pt x="607" y="5"/>
                    <a:pt x="571" y="16"/>
                    <a:pt x="548" y="38"/>
                  </a:cubicBezTo>
                  <a:cubicBezTo>
                    <a:pt x="537" y="50"/>
                    <a:pt x="537" y="64"/>
                    <a:pt x="526" y="75"/>
                  </a:cubicBezTo>
                  <a:lnTo>
                    <a:pt x="501" y="75"/>
                  </a:lnTo>
                  <a:cubicBezTo>
                    <a:pt x="478" y="75"/>
                    <a:pt x="445" y="75"/>
                    <a:pt x="420" y="86"/>
                  </a:cubicBezTo>
                  <a:cubicBezTo>
                    <a:pt x="375" y="97"/>
                    <a:pt x="350" y="156"/>
                    <a:pt x="305" y="178"/>
                  </a:cubicBezTo>
                  <a:cubicBezTo>
                    <a:pt x="280" y="203"/>
                    <a:pt x="258" y="215"/>
                    <a:pt x="235" y="226"/>
                  </a:cubicBezTo>
                  <a:cubicBezTo>
                    <a:pt x="199" y="259"/>
                    <a:pt x="188" y="296"/>
                    <a:pt x="165" y="329"/>
                  </a:cubicBezTo>
                  <a:lnTo>
                    <a:pt x="151" y="329"/>
                  </a:lnTo>
                  <a:cubicBezTo>
                    <a:pt x="148" y="334"/>
                    <a:pt x="145" y="336"/>
                    <a:pt x="143" y="336"/>
                  </a:cubicBezTo>
                  <a:cubicBezTo>
                    <a:pt x="139" y="336"/>
                    <a:pt x="136" y="329"/>
                    <a:pt x="129" y="329"/>
                  </a:cubicBezTo>
                  <a:cubicBezTo>
                    <a:pt x="107" y="329"/>
                    <a:pt x="70" y="343"/>
                    <a:pt x="37" y="354"/>
                  </a:cubicBezTo>
                  <a:cubicBezTo>
                    <a:pt x="25" y="354"/>
                    <a:pt x="11" y="366"/>
                    <a:pt x="11" y="377"/>
                  </a:cubicBezTo>
                  <a:cubicBezTo>
                    <a:pt x="0" y="399"/>
                    <a:pt x="0" y="424"/>
                    <a:pt x="0" y="447"/>
                  </a:cubicBezTo>
                  <a:cubicBezTo>
                    <a:pt x="11" y="469"/>
                    <a:pt x="11" y="505"/>
                    <a:pt x="25" y="528"/>
                  </a:cubicBezTo>
                  <a:cubicBezTo>
                    <a:pt x="37" y="539"/>
                    <a:pt x="37" y="564"/>
                    <a:pt x="48" y="575"/>
                  </a:cubicBezTo>
                  <a:cubicBezTo>
                    <a:pt x="70" y="587"/>
                    <a:pt x="81" y="587"/>
                    <a:pt x="107" y="587"/>
                  </a:cubicBezTo>
                  <a:cubicBezTo>
                    <a:pt x="118" y="575"/>
                    <a:pt x="129" y="564"/>
                    <a:pt x="129" y="539"/>
                  </a:cubicBezTo>
                  <a:cubicBezTo>
                    <a:pt x="140" y="528"/>
                    <a:pt x="140" y="505"/>
                    <a:pt x="140" y="483"/>
                  </a:cubicBezTo>
                  <a:cubicBezTo>
                    <a:pt x="140" y="458"/>
                    <a:pt x="151" y="436"/>
                    <a:pt x="176" y="413"/>
                  </a:cubicBezTo>
                  <a:cubicBezTo>
                    <a:pt x="188" y="413"/>
                    <a:pt x="188" y="399"/>
                    <a:pt x="199" y="399"/>
                  </a:cubicBezTo>
                  <a:cubicBezTo>
                    <a:pt x="204" y="394"/>
                    <a:pt x="210" y="394"/>
                    <a:pt x="216" y="394"/>
                  </a:cubicBezTo>
                  <a:cubicBezTo>
                    <a:pt x="222" y="394"/>
                    <a:pt x="228" y="394"/>
                    <a:pt x="235" y="388"/>
                  </a:cubicBezTo>
                  <a:cubicBezTo>
                    <a:pt x="246" y="388"/>
                    <a:pt x="246" y="377"/>
                    <a:pt x="246" y="377"/>
                  </a:cubicBezTo>
                  <a:cubicBezTo>
                    <a:pt x="258" y="354"/>
                    <a:pt x="280" y="354"/>
                    <a:pt x="305" y="354"/>
                  </a:cubicBezTo>
                  <a:cubicBezTo>
                    <a:pt x="327" y="354"/>
                    <a:pt x="339" y="366"/>
                    <a:pt x="361" y="366"/>
                  </a:cubicBezTo>
                  <a:cubicBezTo>
                    <a:pt x="386" y="366"/>
                    <a:pt x="409" y="354"/>
                    <a:pt x="431" y="329"/>
                  </a:cubicBezTo>
                  <a:cubicBezTo>
                    <a:pt x="431" y="318"/>
                    <a:pt x="445" y="307"/>
                    <a:pt x="456" y="296"/>
                  </a:cubicBezTo>
                  <a:cubicBezTo>
                    <a:pt x="467" y="259"/>
                    <a:pt x="501" y="248"/>
                    <a:pt x="537" y="237"/>
                  </a:cubicBezTo>
                  <a:cubicBezTo>
                    <a:pt x="571" y="226"/>
                    <a:pt x="607" y="226"/>
                    <a:pt x="629" y="203"/>
                  </a:cubicBezTo>
                  <a:cubicBezTo>
                    <a:pt x="641" y="189"/>
                    <a:pt x="641" y="189"/>
                    <a:pt x="655" y="189"/>
                  </a:cubicBezTo>
                  <a:cubicBezTo>
                    <a:pt x="666" y="184"/>
                    <a:pt x="674" y="184"/>
                    <a:pt x="683" y="184"/>
                  </a:cubicBezTo>
                  <a:cubicBezTo>
                    <a:pt x="691" y="184"/>
                    <a:pt x="699" y="184"/>
                    <a:pt x="711" y="178"/>
                  </a:cubicBezTo>
                  <a:cubicBezTo>
                    <a:pt x="736" y="178"/>
                    <a:pt x="747" y="156"/>
                    <a:pt x="769" y="156"/>
                  </a:cubicBezTo>
                  <a:cubicBezTo>
                    <a:pt x="782" y="150"/>
                    <a:pt x="791" y="150"/>
                    <a:pt x="800" y="150"/>
                  </a:cubicBezTo>
                  <a:cubicBezTo>
                    <a:pt x="808" y="150"/>
                    <a:pt x="817" y="150"/>
                    <a:pt x="828" y="145"/>
                  </a:cubicBezTo>
                  <a:cubicBezTo>
                    <a:pt x="839" y="145"/>
                    <a:pt x="850" y="120"/>
                    <a:pt x="850" y="108"/>
                  </a:cubicBezTo>
                  <a:cubicBezTo>
                    <a:pt x="850" y="86"/>
                    <a:pt x="828" y="64"/>
                    <a:pt x="806" y="50"/>
                  </a:cubicBezTo>
                  <a:cubicBezTo>
                    <a:pt x="789" y="50"/>
                    <a:pt x="778" y="56"/>
                    <a:pt x="766" y="56"/>
                  </a:cubicBezTo>
                  <a:cubicBezTo>
                    <a:pt x="761" y="56"/>
                    <a:pt x="754" y="54"/>
                    <a:pt x="747" y="50"/>
                  </a:cubicBezTo>
                  <a:cubicBezTo>
                    <a:pt x="736" y="50"/>
                    <a:pt x="736" y="38"/>
                    <a:pt x="725" y="27"/>
                  </a:cubicBezTo>
                  <a:cubicBezTo>
                    <a:pt x="706" y="11"/>
                    <a:pt x="683" y="1"/>
                    <a:pt x="65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8" name="Google Shape;346;p17">
              <a:extLst>
                <a:ext uri="{FF2B5EF4-FFF2-40B4-BE49-F238E27FC236}">
                  <a16:creationId xmlns:a16="http://schemas.microsoft.com/office/drawing/2014/main" xmlns="" id="{C5B7D814-E489-C783-A030-553914E490DD}"/>
                </a:ext>
              </a:extLst>
            </p:cNvPr>
            <p:cNvSpPr/>
            <p:nvPr/>
          </p:nvSpPr>
          <p:spPr>
            <a:xfrm>
              <a:off x="4030409" y="3283354"/>
              <a:ext cx="207264" cy="145250"/>
            </a:xfrm>
            <a:custGeom>
              <a:avLst/>
              <a:gdLst/>
              <a:ahLst/>
              <a:cxnLst/>
              <a:rect l="l" t="t" r="r" b="b"/>
              <a:pathLst>
                <a:path w="899" h="630" extrusionOk="0">
                  <a:moveTo>
                    <a:pt x="664" y="48"/>
                  </a:moveTo>
                  <a:cubicBezTo>
                    <a:pt x="689" y="48"/>
                    <a:pt x="711" y="48"/>
                    <a:pt x="734" y="71"/>
                  </a:cubicBezTo>
                  <a:lnTo>
                    <a:pt x="759" y="96"/>
                  </a:lnTo>
                  <a:lnTo>
                    <a:pt x="829" y="96"/>
                  </a:lnTo>
                  <a:cubicBezTo>
                    <a:pt x="829" y="107"/>
                    <a:pt x="840" y="107"/>
                    <a:pt x="840" y="107"/>
                  </a:cubicBezTo>
                  <a:cubicBezTo>
                    <a:pt x="851" y="118"/>
                    <a:pt x="851" y="118"/>
                    <a:pt x="851" y="129"/>
                  </a:cubicBezTo>
                  <a:cubicBezTo>
                    <a:pt x="851" y="141"/>
                    <a:pt x="840" y="141"/>
                    <a:pt x="840" y="155"/>
                  </a:cubicBezTo>
                  <a:lnTo>
                    <a:pt x="792" y="155"/>
                  </a:lnTo>
                  <a:cubicBezTo>
                    <a:pt x="770" y="155"/>
                    <a:pt x="759" y="166"/>
                    <a:pt x="748" y="166"/>
                  </a:cubicBezTo>
                  <a:cubicBezTo>
                    <a:pt x="734" y="177"/>
                    <a:pt x="734" y="177"/>
                    <a:pt x="722" y="177"/>
                  </a:cubicBezTo>
                  <a:lnTo>
                    <a:pt x="700" y="177"/>
                  </a:lnTo>
                  <a:cubicBezTo>
                    <a:pt x="689" y="177"/>
                    <a:pt x="689" y="177"/>
                    <a:pt x="678" y="188"/>
                  </a:cubicBezTo>
                  <a:cubicBezTo>
                    <a:pt x="652" y="188"/>
                    <a:pt x="652" y="199"/>
                    <a:pt x="641" y="199"/>
                  </a:cubicBezTo>
                  <a:cubicBezTo>
                    <a:pt x="619" y="224"/>
                    <a:pt x="583" y="224"/>
                    <a:pt x="549" y="236"/>
                  </a:cubicBezTo>
                  <a:cubicBezTo>
                    <a:pt x="513" y="247"/>
                    <a:pt x="479" y="258"/>
                    <a:pt x="454" y="294"/>
                  </a:cubicBezTo>
                  <a:cubicBezTo>
                    <a:pt x="443" y="317"/>
                    <a:pt x="443" y="328"/>
                    <a:pt x="432" y="339"/>
                  </a:cubicBezTo>
                  <a:cubicBezTo>
                    <a:pt x="420" y="350"/>
                    <a:pt x="409" y="364"/>
                    <a:pt x="384" y="364"/>
                  </a:cubicBezTo>
                  <a:cubicBezTo>
                    <a:pt x="373" y="364"/>
                    <a:pt x="350" y="364"/>
                    <a:pt x="328" y="350"/>
                  </a:cubicBezTo>
                  <a:lnTo>
                    <a:pt x="314" y="350"/>
                  </a:lnTo>
                  <a:cubicBezTo>
                    <a:pt x="303" y="350"/>
                    <a:pt x="292" y="350"/>
                    <a:pt x="281" y="364"/>
                  </a:cubicBezTo>
                  <a:cubicBezTo>
                    <a:pt x="269" y="364"/>
                    <a:pt x="258" y="375"/>
                    <a:pt x="244" y="387"/>
                  </a:cubicBezTo>
                  <a:lnTo>
                    <a:pt x="244" y="398"/>
                  </a:lnTo>
                  <a:lnTo>
                    <a:pt x="211" y="398"/>
                  </a:lnTo>
                  <a:cubicBezTo>
                    <a:pt x="199" y="398"/>
                    <a:pt x="188" y="409"/>
                    <a:pt x="188" y="420"/>
                  </a:cubicBezTo>
                  <a:cubicBezTo>
                    <a:pt x="163" y="445"/>
                    <a:pt x="141" y="468"/>
                    <a:pt x="141" y="504"/>
                  </a:cubicBezTo>
                  <a:lnTo>
                    <a:pt x="141" y="560"/>
                  </a:lnTo>
                  <a:cubicBezTo>
                    <a:pt x="130" y="560"/>
                    <a:pt x="130" y="574"/>
                    <a:pt x="130" y="574"/>
                  </a:cubicBezTo>
                  <a:cubicBezTo>
                    <a:pt x="130" y="585"/>
                    <a:pt x="118" y="585"/>
                    <a:pt x="118" y="585"/>
                  </a:cubicBezTo>
                  <a:cubicBezTo>
                    <a:pt x="104" y="585"/>
                    <a:pt x="93" y="585"/>
                    <a:pt x="93" y="574"/>
                  </a:cubicBezTo>
                  <a:cubicBezTo>
                    <a:pt x="82" y="574"/>
                    <a:pt x="82" y="549"/>
                    <a:pt x="71" y="538"/>
                  </a:cubicBezTo>
                  <a:cubicBezTo>
                    <a:pt x="60" y="515"/>
                    <a:pt x="60" y="490"/>
                    <a:pt x="48" y="468"/>
                  </a:cubicBezTo>
                  <a:lnTo>
                    <a:pt x="48" y="434"/>
                  </a:lnTo>
                  <a:cubicBezTo>
                    <a:pt x="48" y="420"/>
                    <a:pt x="48" y="420"/>
                    <a:pt x="60" y="409"/>
                  </a:cubicBezTo>
                  <a:lnTo>
                    <a:pt x="71" y="398"/>
                  </a:lnTo>
                  <a:cubicBezTo>
                    <a:pt x="93" y="387"/>
                    <a:pt x="118" y="375"/>
                    <a:pt x="141" y="375"/>
                  </a:cubicBezTo>
                  <a:lnTo>
                    <a:pt x="174" y="375"/>
                  </a:lnTo>
                  <a:cubicBezTo>
                    <a:pt x="188" y="375"/>
                    <a:pt x="199" y="364"/>
                    <a:pt x="199" y="364"/>
                  </a:cubicBezTo>
                  <a:cubicBezTo>
                    <a:pt x="233" y="328"/>
                    <a:pt x="244" y="294"/>
                    <a:pt x="269" y="269"/>
                  </a:cubicBezTo>
                  <a:cubicBezTo>
                    <a:pt x="292" y="258"/>
                    <a:pt x="314" y="247"/>
                    <a:pt x="339" y="224"/>
                  </a:cubicBezTo>
                  <a:cubicBezTo>
                    <a:pt x="362" y="199"/>
                    <a:pt x="384" y="177"/>
                    <a:pt x="398" y="166"/>
                  </a:cubicBezTo>
                  <a:cubicBezTo>
                    <a:pt x="420" y="141"/>
                    <a:pt x="432" y="129"/>
                    <a:pt x="454" y="118"/>
                  </a:cubicBezTo>
                  <a:lnTo>
                    <a:pt x="524" y="118"/>
                  </a:lnTo>
                  <a:cubicBezTo>
                    <a:pt x="538" y="118"/>
                    <a:pt x="549" y="118"/>
                    <a:pt x="560" y="107"/>
                  </a:cubicBezTo>
                  <a:cubicBezTo>
                    <a:pt x="571" y="107"/>
                    <a:pt x="583" y="85"/>
                    <a:pt x="594" y="85"/>
                  </a:cubicBezTo>
                  <a:cubicBezTo>
                    <a:pt x="608" y="59"/>
                    <a:pt x="630" y="48"/>
                    <a:pt x="652" y="48"/>
                  </a:cubicBezTo>
                  <a:close/>
                  <a:moveTo>
                    <a:pt x="652" y="1"/>
                  </a:moveTo>
                  <a:cubicBezTo>
                    <a:pt x="619" y="1"/>
                    <a:pt x="583" y="15"/>
                    <a:pt x="549" y="48"/>
                  </a:cubicBezTo>
                  <a:cubicBezTo>
                    <a:pt x="549" y="59"/>
                    <a:pt x="538" y="71"/>
                    <a:pt x="538" y="71"/>
                  </a:cubicBezTo>
                  <a:lnTo>
                    <a:pt x="524" y="71"/>
                  </a:lnTo>
                  <a:cubicBezTo>
                    <a:pt x="501" y="71"/>
                    <a:pt x="468" y="71"/>
                    <a:pt x="432" y="85"/>
                  </a:cubicBezTo>
                  <a:cubicBezTo>
                    <a:pt x="409" y="96"/>
                    <a:pt x="384" y="107"/>
                    <a:pt x="362" y="129"/>
                  </a:cubicBezTo>
                  <a:cubicBezTo>
                    <a:pt x="350" y="155"/>
                    <a:pt x="328" y="177"/>
                    <a:pt x="314" y="188"/>
                  </a:cubicBezTo>
                  <a:cubicBezTo>
                    <a:pt x="292" y="199"/>
                    <a:pt x="269" y="210"/>
                    <a:pt x="244" y="236"/>
                  </a:cubicBezTo>
                  <a:cubicBezTo>
                    <a:pt x="211" y="269"/>
                    <a:pt x="188" y="306"/>
                    <a:pt x="163" y="328"/>
                  </a:cubicBezTo>
                  <a:lnTo>
                    <a:pt x="141" y="328"/>
                  </a:lnTo>
                  <a:cubicBezTo>
                    <a:pt x="104" y="328"/>
                    <a:pt x="82" y="339"/>
                    <a:pt x="48" y="350"/>
                  </a:cubicBezTo>
                  <a:cubicBezTo>
                    <a:pt x="34" y="364"/>
                    <a:pt x="23" y="375"/>
                    <a:pt x="12" y="387"/>
                  </a:cubicBezTo>
                  <a:cubicBezTo>
                    <a:pt x="1" y="398"/>
                    <a:pt x="1" y="420"/>
                    <a:pt x="1" y="434"/>
                  </a:cubicBezTo>
                  <a:lnTo>
                    <a:pt x="1" y="479"/>
                  </a:lnTo>
                  <a:cubicBezTo>
                    <a:pt x="12" y="504"/>
                    <a:pt x="12" y="526"/>
                    <a:pt x="23" y="549"/>
                  </a:cubicBezTo>
                  <a:cubicBezTo>
                    <a:pt x="34" y="574"/>
                    <a:pt x="48" y="596"/>
                    <a:pt x="60" y="608"/>
                  </a:cubicBezTo>
                  <a:cubicBezTo>
                    <a:pt x="71" y="619"/>
                    <a:pt x="93" y="630"/>
                    <a:pt x="118" y="630"/>
                  </a:cubicBezTo>
                  <a:lnTo>
                    <a:pt x="130" y="630"/>
                  </a:lnTo>
                  <a:cubicBezTo>
                    <a:pt x="152" y="619"/>
                    <a:pt x="163" y="619"/>
                    <a:pt x="163" y="608"/>
                  </a:cubicBezTo>
                  <a:cubicBezTo>
                    <a:pt x="174" y="596"/>
                    <a:pt x="174" y="585"/>
                    <a:pt x="174" y="574"/>
                  </a:cubicBezTo>
                  <a:cubicBezTo>
                    <a:pt x="188" y="549"/>
                    <a:pt x="188" y="526"/>
                    <a:pt x="188" y="515"/>
                  </a:cubicBezTo>
                  <a:cubicBezTo>
                    <a:pt x="188" y="490"/>
                    <a:pt x="199" y="468"/>
                    <a:pt x="222" y="445"/>
                  </a:cubicBezTo>
                  <a:lnTo>
                    <a:pt x="244" y="445"/>
                  </a:lnTo>
                  <a:cubicBezTo>
                    <a:pt x="244" y="445"/>
                    <a:pt x="258" y="445"/>
                    <a:pt x="258" y="434"/>
                  </a:cubicBezTo>
                  <a:lnTo>
                    <a:pt x="281" y="434"/>
                  </a:lnTo>
                  <a:cubicBezTo>
                    <a:pt x="292" y="420"/>
                    <a:pt x="292" y="409"/>
                    <a:pt x="292" y="409"/>
                  </a:cubicBezTo>
                  <a:lnTo>
                    <a:pt x="292" y="398"/>
                  </a:lnTo>
                  <a:lnTo>
                    <a:pt x="314" y="398"/>
                  </a:lnTo>
                  <a:cubicBezTo>
                    <a:pt x="339" y="398"/>
                    <a:pt x="362" y="409"/>
                    <a:pt x="384" y="409"/>
                  </a:cubicBezTo>
                  <a:cubicBezTo>
                    <a:pt x="420" y="409"/>
                    <a:pt x="454" y="398"/>
                    <a:pt x="468" y="375"/>
                  </a:cubicBezTo>
                  <a:cubicBezTo>
                    <a:pt x="479" y="350"/>
                    <a:pt x="490" y="328"/>
                    <a:pt x="490" y="328"/>
                  </a:cubicBezTo>
                  <a:cubicBezTo>
                    <a:pt x="501" y="306"/>
                    <a:pt x="538" y="294"/>
                    <a:pt x="560" y="280"/>
                  </a:cubicBezTo>
                  <a:cubicBezTo>
                    <a:pt x="594" y="269"/>
                    <a:pt x="630" y="258"/>
                    <a:pt x="664" y="247"/>
                  </a:cubicBezTo>
                  <a:cubicBezTo>
                    <a:pt x="678" y="236"/>
                    <a:pt x="689" y="236"/>
                    <a:pt x="689" y="236"/>
                  </a:cubicBezTo>
                  <a:cubicBezTo>
                    <a:pt x="689" y="224"/>
                    <a:pt x="700" y="224"/>
                    <a:pt x="700" y="224"/>
                  </a:cubicBezTo>
                  <a:lnTo>
                    <a:pt x="734" y="224"/>
                  </a:lnTo>
                  <a:cubicBezTo>
                    <a:pt x="759" y="224"/>
                    <a:pt x="770" y="210"/>
                    <a:pt x="781" y="210"/>
                  </a:cubicBezTo>
                  <a:cubicBezTo>
                    <a:pt x="781" y="199"/>
                    <a:pt x="792" y="199"/>
                    <a:pt x="803" y="199"/>
                  </a:cubicBezTo>
                  <a:lnTo>
                    <a:pt x="829" y="199"/>
                  </a:lnTo>
                  <a:cubicBezTo>
                    <a:pt x="840" y="199"/>
                    <a:pt x="851" y="199"/>
                    <a:pt x="862" y="188"/>
                  </a:cubicBezTo>
                  <a:cubicBezTo>
                    <a:pt x="884" y="179"/>
                    <a:pt x="895" y="161"/>
                    <a:pt x="898" y="141"/>
                  </a:cubicBezTo>
                  <a:lnTo>
                    <a:pt x="899" y="141"/>
                  </a:lnTo>
                  <a:lnTo>
                    <a:pt x="899" y="129"/>
                  </a:lnTo>
                  <a:cubicBezTo>
                    <a:pt x="899" y="107"/>
                    <a:pt x="887" y="96"/>
                    <a:pt x="873" y="85"/>
                  </a:cubicBezTo>
                  <a:cubicBezTo>
                    <a:pt x="862" y="71"/>
                    <a:pt x="851" y="59"/>
                    <a:pt x="829" y="59"/>
                  </a:cubicBezTo>
                  <a:cubicBezTo>
                    <a:pt x="829" y="48"/>
                    <a:pt x="817" y="48"/>
                    <a:pt x="817" y="48"/>
                  </a:cubicBezTo>
                  <a:lnTo>
                    <a:pt x="781" y="48"/>
                  </a:lnTo>
                  <a:cubicBezTo>
                    <a:pt x="781" y="48"/>
                    <a:pt x="770" y="48"/>
                    <a:pt x="759" y="37"/>
                  </a:cubicBezTo>
                  <a:cubicBezTo>
                    <a:pt x="734" y="15"/>
                    <a:pt x="700" y="1"/>
                    <a:pt x="66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9" name="Google Shape;347;p17">
              <a:extLst>
                <a:ext uri="{FF2B5EF4-FFF2-40B4-BE49-F238E27FC236}">
                  <a16:creationId xmlns:a16="http://schemas.microsoft.com/office/drawing/2014/main" xmlns="" id="{E4F86A08-BB2B-59FF-13BE-522F7B405D16}"/>
                </a:ext>
              </a:extLst>
            </p:cNvPr>
            <p:cNvSpPr/>
            <p:nvPr/>
          </p:nvSpPr>
          <p:spPr>
            <a:xfrm>
              <a:off x="4398600" y="3407161"/>
              <a:ext cx="67321" cy="87380"/>
            </a:xfrm>
            <a:custGeom>
              <a:avLst/>
              <a:gdLst/>
              <a:ahLst/>
              <a:cxnLst/>
              <a:rect l="l" t="t" r="r" b="b"/>
              <a:pathLst>
                <a:path w="292" h="379" extrusionOk="0">
                  <a:moveTo>
                    <a:pt x="210" y="1"/>
                  </a:moveTo>
                  <a:cubicBezTo>
                    <a:pt x="199" y="1"/>
                    <a:pt x="185" y="12"/>
                    <a:pt x="174" y="23"/>
                  </a:cubicBezTo>
                  <a:cubicBezTo>
                    <a:pt x="152" y="37"/>
                    <a:pt x="140" y="48"/>
                    <a:pt x="129" y="71"/>
                  </a:cubicBezTo>
                  <a:cubicBezTo>
                    <a:pt x="129" y="71"/>
                    <a:pt x="129" y="82"/>
                    <a:pt x="115" y="93"/>
                  </a:cubicBezTo>
                  <a:cubicBezTo>
                    <a:pt x="115" y="118"/>
                    <a:pt x="104" y="140"/>
                    <a:pt x="93" y="152"/>
                  </a:cubicBezTo>
                  <a:cubicBezTo>
                    <a:pt x="70" y="177"/>
                    <a:pt x="59" y="188"/>
                    <a:pt x="45" y="199"/>
                  </a:cubicBezTo>
                  <a:cubicBezTo>
                    <a:pt x="34" y="210"/>
                    <a:pt x="23" y="222"/>
                    <a:pt x="23" y="222"/>
                  </a:cubicBezTo>
                  <a:cubicBezTo>
                    <a:pt x="12" y="233"/>
                    <a:pt x="12" y="247"/>
                    <a:pt x="12" y="258"/>
                  </a:cubicBezTo>
                  <a:cubicBezTo>
                    <a:pt x="1" y="258"/>
                    <a:pt x="12" y="269"/>
                    <a:pt x="12" y="280"/>
                  </a:cubicBezTo>
                  <a:cubicBezTo>
                    <a:pt x="23" y="280"/>
                    <a:pt x="45" y="269"/>
                    <a:pt x="45" y="258"/>
                  </a:cubicBezTo>
                  <a:cubicBezTo>
                    <a:pt x="59" y="258"/>
                    <a:pt x="59" y="247"/>
                    <a:pt x="59" y="233"/>
                  </a:cubicBezTo>
                  <a:cubicBezTo>
                    <a:pt x="65" y="227"/>
                    <a:pt x="70" y="224"/>
                    <a:pt x="76" y="224"/>
                  </a:cubicBezTo>
                  <a:cubicBezTo>
                    <a:pt x="82" y="224"/>
                    <a:pt x="87" y="227"/>
                    <a:pt x="93" y="233"/>
                  </a:cubicBezTo>
                  <a:lnTo>
                    <a:pt x="104" y="247"/>
                  </a:lnTo>
                  <a:cubicBezTo>
                    <a:pt x="115" y="258"/>
                    <a:pt x="129" y="269"/>
                    <a:pt x="140" y="280"/>
                  </a:cubicBezTo>
                  <a:cubicBezTo>
                    <a:pt x="152" y="280"/>
                    <a:pt x="174" y="280"/>
                    <a:pt x="199" y="303"/>
                  </a:cubicBezTo>
                  <a:cubicBezTo>
                    <a:pt x="210" y="317"/>
                    <a:pt x="221" y="339"/>
                    <a:pt x="233" y="361"/>
                  </a:cubicBezTo>
                  <a:cubicBezTo>
                    <a:pt x="241" y="369"/>
                    <a:pt x="255" y="378"/>
                    <a:pt x="267" y="378"/>
                  </a:cubicBezTo>
                  <a:cubicBezTo>
                    <a:pt x="272" y="378"/>
                    <a:pt x="277" y="377"/>
                    <a:pt x="280" y="373"/>
                  </a:cubicBezTo>
                  <a:cubicBezTo>
                    <a:pt x="291" y="361"/>
                    <a:pt x="280" y="350"/>
                    <a:pt x="269" y="339"/>
                  </a:cubicBezTo>
                  <a:lnTo>
                    <a:pt x="269" y="328"/>
                  </a:lnTo>
                  <a:cubicBezTo>
                    <a:pt x="269" y="269"/>
                    <a:pt x="269" y="222"/>
                    <a:pt x="280" y="177"/>
                  </a:cubicBezTo>
                  <a:cubicBezTo>
                    <a:pt x="291" y="163"/>
                    <a:pt x="291" y="163"/>
                    <a:pt x="291" y="152"/>
                  </a:cubicBezTo>
                  <a:lnTo>
                    <a:pt x="291" y="107"/>
                  </a:lnTo>
                  <a:lnTo>
                    <a:pt x="280" y="93"/>
                  </a:lnTo>
                  <a:cubicBezTo>
                    <a:pt x="269" y="93"/>
                    <a:pt x="255" y="93"/>
                    <a:pt x="255" y="107"/>
                  </a:cubicBezTo>
                  <a:cubicBezTo>
                    <a:pt x="244" y="112"/>
                    <a:pt x="233" y="115"/>
                    <a:pt x="223" y="115"/>
                  </a:cubicBezTo>
                  <a:cubicBezTo>
                    <a:pt x="213" y="115"/>
                    <a:pt x="205" y="112"/>
                    <a:pt x="199" y="107"/>
                  </a:cubicBezTo>
                  <a:cubicBezTo>
                    <a:pt x="185" y="107"/>
                    <a:pt x="185" y="107"/>
                    <a:pt x="185" y="93"/>
                  </a:cubicBezTo>
                  <a:lnTo>
                    <a:pt x="185" y="82"/>
                  </a:lnTo>
                  <a:cubicBezTo>
                    <a:pt x="199" y="82"/>
                    <a:pt x="210" y="71"/>
                    <a:pt x="221" y="71"/>
                  </a:cubicBezTo>
                  <a:cubicBezTo>
                    <a:pt x="233" y="71"/>
                    <a:pt x="233" y="71"/>
                    <a:pt x="244" y="59"/>
                  </a:cubicBezTo>
                  <a:cubicBezTo>
                    <a:pt x="255" y="59"/>
                    <a:pt x="255" y="37"/>
                    <a:pt x="244" y="23"/>
                  </a:cubicBezTo>
                  <a:cubicBezTo>
                    <a:pt x="244" y="1"/>
                    <a:pt x="221" y="1"/>
                    <a:pt x="21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0" name="Google Shape;348;p17">
              <a:extLst>
                <a:ext uri="{FF2B5EF4-FFF2-40B4-BE49-F238E27FC236}">
                  <a16:creationId xmlns:a16="http://schemas.microsoft.com/office/drawing/2014/main" xmlns="" id="{3BD7237D-C6F2-195F-7410-0FE4264AB375}"/>
                </a:ext>
              </a:extLst>
            </p:cNvPr>
            <p:cNvSpPr/>
            <p:nvPr/>
          </p:nvSpPr>
          <p:spPr>
            <a:xfrm>
              <a:off x="4396064" y="3402089"/>
              <a:ext cx="74929" cy="96833"/>
            </a:xfrm>
            <a:custGeom>
              <a:avLst/>
              <a:gdLst/>
              <a:ahLst/>
              <a:cxnLst/>
              <a:rect l="l" t="t" r="r" b="b"/>
              <a:pathLst>
                <a:path w="325" h="420" extrusionOk="0">
                  <a:moveTo>
                    <a:pt x="221" y="45"/>
                  </a:moveTo>
                  <a:cubicBezTo>
                    <a:pt x="232" y="45"/>
                    <a:pt x="232" y="45"/>
                    <a:pt x="244" y="59"/>
                  </a:cubicBezTo>
                  <a:lnTo>
                    <a:pt x="244" y="70"/>
                  </a:lnTo>
                  <a:lnTo>
                    <a:pt x="232" y="70"/>
                  </a:lnTo>
                  <a:cubicBezTo>
                    <a:pt x="210" y="70"/>
                    <a:pt x="196" y="81"/>
                    <a:pt x="185" y="81"/>
                  </a:cubicBezTo>
                  <a:lnTo>
                    <a:pt x="185" y="93"/>
                  </a:lnTo>
                  <a:cubicBezTo>
                    <a:pt x="174" y="93"/>
                    <a:pt x="174" y="104"/>
                    <a:pt x="174" y="115"/>
                  </a:cubicBezTo>
                  <a:cubicBezTo>
                    <a:pt x="174" y="129"/>
                    <a:pt x="174" y="140"/>
                    <a:pt x="185" y="140"/>
                  </a:cubicBezTo>
                  <a:cubicBezTo>
                    <a:pt x="185" y="151"/>
                    <a:pt x="196" y="151"/>
                    <a:pt x="196" y="151"/>
                  </a:cubicBezTo>
                  <a:cubicBezTo>
                    <a:pt x="210" y="162"/>
                    <a:pt x="221" y="162"/>
                    <a:pt x="232" y="162"/>
                  </a:cubicBezTo>
                  <a:cubicBezTo>
                    <a:pt x="244" y="162"/>
                    <a:pt x="266" y="151"/>
                    <a:pt x="280" y="140"/>
                  </a:cubicBezTo>
                  <a:lnTo>
                    <a:pt x="280" y="162"/>
                  </a:lnTo>
                  <a:lnTo>
                    <a:pt x="280" y="199"/>
                  </a:lnTo>
                  <a:cubicBezTo>
                    <a:pt x="255" y="244"/>
                    <a:pt x="255" y="291"/>
                    <a:pt x="255" y="339"/>
                  </a:cubicBezTo>
                  <a:lnTo>
                    <a:pt x="255" y="350"/>
                  </a:lnTo>
                  <a:lnTo>
                    <a:pt x="255" y="361"/>
                  </a:lnTo>
                  <a:cubicBezTo>
                    <a:pt x="255" y="361"/>
                    <a:pt x="255" y="350"/>
                    <a:pt x="244" y="339"/>
                  </a:cubicBezTo>
                  <a:cubicBezTo>
                    <a:pt x="244" y="325"/>
                    <a:pt x="232" y="313"/>
                    <a:pt x="221" y="302"/>
                  </a:cubicBezTo>
                  <a:cubicBezTo>
                    <a:pt x="210" y="291"/>
                    <a:pt x="196" y="291"/>
                    <a:pt x="185" y="291"/>
                  </a:cubicBezTo>
                  <a:cubicBezTo>
                    <a:pt x="174" y="280"/>
                    <a:pt x="163" y="280"/>
                    <a:pt x="151" y="280"/>
                  </a:cubicBezTo>
                  <a:cubicBezTo>
                    <a:pt x="151" y="269"/>
                    <a:pt x="140" y="269"/>
                    <a:pt x="140" y="255"/>
                  </a:cubicBezTo>
                  <a:cubicBezTo>
                    <a:pt x="126" y="255"/>
                    <a:pt x="126" y="244"/>
                    <a:pt x="115" y="232"/>
                  </a:cubicBezTo>
                  <a:cubicBezTo>
                    <a:pt x="104" y="232"/>
                    <a:pt x="93" y="221"/>
                    <a:pt x="93" y="221"/>
                  </a:cubicBezTo>
                  <a:cubicBezTo>
                    <a:pt x="91" y="221"/>
                    <a:pt x="89" y="221"/>
                    <a:pt x="88" y="221"/>
                  </a:cubicBezTo>
                  <a:lnTo>
                    <a:pt x="88" y="221"/>
                  </a:lnTo>
                  <a:cubicBezTo>
                    <a:pt x="98" y="212"/>
                    <a:pt x="108" y="206"/>
                    <a:pt x="115" y="199"/>
                  </a:cubicBezTo>
                  <a:cubicBezTo>
                    <a:pt x="140" y="174"/>
                    <a:pt x="140" y="140"/>
                    <a:pt x="151" y="115"/>
                  </a:cubicBezTo>
                  <a:lnTo>
                    <a:pt x="163" y="104"/>
                  </a:lnTo>
                  <a:cubicBezTo>
                    <a:pt x="174" y="93"/>
                    <a:pt x="185" y="70"/>
                    <a:pt x="196" y="59"/>
                  </a:cubicBezTo>
                  <a:cubicBezTo>
                    <a:pt x="210" y="45"/>
                    <a:pt x="221" y="45"/>
                    <a:pt x="221" y="45"/>
                  </a:cubicBezTo>
                  <a:close/>
                  <a:moveTo>
                    <a:pt x="221" y="0"/>
                  </a:moveTo>
                  <a:cubicBezTo>
                    <a:pt x="196" y="0"/>
                    <a:pt x="174" y="11"/>
                    <a:pt x="163" y="23"/>
                  </a:cubicBezTo>
                  <a:cubicBezTo>
                    <a:pt x="151" y="34"/>
                    <a:pt x="126" y="59"/>
                    <a:pt x="115" y="81"/>
                  </a:cubicBezTo>
                  <a:cubicBezTo>
                    <a:pt x="115" y="93"/>
                    <a:pt x="115" y="93"/>
                    <a:pt x="104" y="104"/>
                  </a:cubicBezTo>
                  <a:cubicBezTo>
                    <a:pt x="104" y="129"/>
                    <a:pt x="93" y="151"/>
                    <a:pt x="81" y="162"/>
                  </a:cubicBezTo>
                  <a:cubicBezTo>
                    <a:pt x="70" y="174"/>
                    <a:pt x="56" y="185"/>
                    <a:pt x="34" y="210"/>
                  </a:cubicBezTo>
                  <a:cubicBezTo>
                    <a:pt x="23" y="221"/>
                    <a:pt x="23" y="221"/>
                    <a:pt x="12" y="232"/>
                  </a:cubicBezTo>
                  <a:cubicBezTo>
                    <a:pt x="12" y="244"/>
                    <a:pt x="0" y="255"/>
                    <a:pt x="0" y="269"/>
                  </a:cubicBezTo>
                  <a:lnTo>
                    <a:pt x="0" y="280"/>
                  </a:lnTo>
                  <a:cubicBezTo>
                    <a:pt x="0" y="291"/>
                    <a:pt x="0" y="302"/>
                    <a:pt x="12" y="313"/>
                  </a:cubicBezTo>
                  <a:lnTo>
                    <a:pt x="12" y="325"/>
                  </a:lnTo>
                  <a:lnTo>
                    <a:pt x="34" y="325"/>
                  </a:lnTo>
                  <a:cubicBezTo>
                    <a:pt x="56" y="325"/>
                    <a:pt x="70" y="313"/>
                    <a:pt x="81" y="291"/>
                  </a:cubicBezTo>
                  <a:lnTo>
                    <a:pt x="81" y="280"/>
                  </a:lnTo>
                  <a:lnTo>
                    <a:pt x="93" y="269"/>
                  </a:lnTo>
                  <a:lnTo>
                    <a:pt x="93" y="280"/>
                  </a:lnTo>
                  <a:cubicBezTo>
                    <a:pt x="104" y="302"/>
                    <a:pt x="115" y="313"/>
                    <a:pt x="140" y="313"/>
                  </a:cubicBezTo>
                  <a:cubicBezTo>
                    <a:pt x="151" y="325"/>
                    <a:pt x="163" y="325"/>
                    <a:pt x="174" y="325"/>
                  </a:cubicBezTo>
                  <a:lnTo>
                    <a:pt x="185" y="339"/>
                  </a:lnTo>
                  <a:cubicBezTo>
                    <a:pt x="196" y="350"/>
                    <a:pt x="196" y="350"/>
                    <a:pt x="210" y="361"/>
                  </a:cubicBezTo>
                  <a:cubicBezTo>
                    <a:pt x="210" y="372"/>
                    <a:pt x="210" y="383"/>
                    <a:pt x="221" y="395"/>
                  </a:cubicBezTo>
                  <a:cubicBezTo>
                    <a:pt x="232" y="420"/>
                    <a:pt x="255" y="420"/>
                    <a:pt x="280" y="420"/>
                  </a:cubicBezTo>
                  <a:lnTo>
                    <a:pt x="314" y="420"/>
                  </a:lnTo>
                  <a:lnTo>
                    <a:pt x="314" y="395"/>
                  </a:lnTo>
                  <a:cubicBezTo>
                    <a:pt x="314" y="372"/>
                    <a:pt x="314" y="361"/>
                    <a:pt x="302" y="350"/>
                  </a:cubicBezTo>
                  <a:cubicBezTo>
                    <a:pt x="302" y="302"/>
                    <a:pt x="302" y="255"/>
                    <a:pt x="314" y="210"/>
                  </a:cubicBezTo>
                  <a:cubicBezTo>
                    <a:pt x="325" y="199"/>
                    <a:pt x="325" y="185"/>
                    <a:pt x="325" y="174"/>
                  </a:cubicBezTo>
                  <a:lnTo>
                    <a:pt x="325" y="162"/>
                  </a:lnTo>
                  <a:lnTo>
                    <a:pt x="325" y="129"/>
                  </a:lnTo>
                  <a:cubicBezTo>
                    <a:pt x="314" y="115"/>
                    <a:pt x="314" y="115"/>
                    <a:pt x="314" y="104"/>
                  </a:cubicBezTo>
                  <a:cubicBezTo>
                    <a:pt x="314" y="104"/>
                    <a:pt x="302" y="93"/>
                    <a:pt x="291" y="93"/>
                  </a:cubicBezTo>
                  <a:lnTo>
                    <a:pt x="280" y="93"/>
                  </a:lnTo>
                  <a:cubicBezTo>
                    <a:pt x="280" y="93"/>
                    <a:pt x="279" y="93"/>
                    <a:pt x="278" y="93"/>
                  </a:cubicBezTo>
                  <a:lnTo>
                    <a:pt x="278" y="93"/>
                  </a:lnTo>
                  <a:cubicBezTo>
                    <a:pt x="286" y="84"/>
                    <a:pt x="291" y="74"/>
                    <a:pt x="291" y="59"/>
                  </a:cubicBezTo>
                  <a:cubicBezTo>
                    <a:pt x="291" y="45"/>
                    <a:pt x="291" y="34"/>
                    <a:pt x="280" y="34"/>
                  </a:cubicBezTo>
                  <a:cubicBezTo>
                    <a:pt x="266" y="11"/>
                    <a:pt x="244" y="0"/>
                    <a:pt x="22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1" name="Google Shape;349;p17">
              <a:extLst>
                <a:ext uri="{FF2B5EF4-FFF2-40B4-BE49-F238E27FC236}">
                  <a16:creationId xmlns:a16="http://schemas.microsoft.com/office/drawing/2014/main" xmlns="" id="{CB6D79EE-585A-978C-64DC-2BB225CB8BC8}"/>
                </a:ext>
              </a:extLst>
            </p:cNvPr>
            <p:cNvSpPr/>
            <p:nvPr/>
          </p:nvSpPr>
          <p:spPr>
            <a:xfrm>
              <a:off x="4111102" y="3257071"/>
              <a:ext cx="43343" cy="32278"/>
            </a:xfrm>
            <a:custGeom>
              <a:avLst/>
              <a:gdLst/>
              <a:ahLst/>
              <a:cxnLst/>
              <a:rect l="l" t="t" r="r" b="b"/>
              <a:pathLst>
                <a:path w="188" h="140" extrusionOk="0">
                  <a:moveTo>
                    <a:pt x="104" y="0"/>
                  </a:moveTo>
                  <a:cubicBezTo>
                    <a:pt x="93" y="11"/>
                    <a:pt x="82" y="11"/>
                    <a:pt x="70" y="22"/>
                  </a:cubicBezTo>
                  <a:cubicBezTo>
                    <a:pt x="48" y="22"/>
                    <a:pt x="34" y="22"/>
                    <a:pt x="23" y="34"/>
                  </a:cubicBezTo>
                  <a:cubicBezTo>
                    <a:pt x="12" y="45"/>
                    <a:pt x="0" y="45"/>
                    <a:pt x="0" y="59"/>
                  </a:cubicBezTo>
                  <a:cubicBezTo>
                    <a:pt x="0" y="70"/>
                    <a:pt x="0" y="81"/>
                    <a:pt x="12" y="81"/>
                  </a:cubicBezTo>
                  <a:lnTo>
                    <a:pt x="23" y="81"/>
                  </a:lnTo>
                  <a:cubicBezTo>
                    <a:pt x="34" y="81"/>
                    <a:pt x="48" y="104"/>
                    <a:pt x="59" y="115"/>
                  </a:cubicBezTo>
                  <a:cubicBezTo>
                    <a:pt x="82" y="140"/>
                    <a:pt x="118" y="140"/>
                    <a:pt x="151" y="140"/>
                  </a:cubicBezTo>
                  <a:cubicBezTo>
                    <a:pt x="151" y="140"/>
                    <a:pt x="163" y="129"/>
                    <a:pt x="174" y="129"/>
                  </a:cubicBezTo>
                  <a:lnTo>
                    <a:pt x="174" y="104"/>
                  </a:lnTo>
                  <a:cubicBezTo>
                    <a:pt x="188" y="81"/>
                    <a:pt x="174" y="59"/>
                    <a:pt x="163" y="34"/>
                  </a:cubicBezTo>
                  <a:cubicBezTo>
                    <a:pt x="151" y="11"/>
                    <a:pt x="129" y="0"/>
                    <a:pt x="10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2" name="Google Shape;350;p17">
              <a:extLst>
                <a:ext uri="{FF2B5EF4-FFF2-40B4-BE49-F238E27FC236}">
                  <a16:creationId xmlns:a16="http://schemas.microsoft.com/office/drawing/2014/main" xmlns="" id="{9F140B05-211C-E377-2098-5CF14923ECA7}"/>
                </a:ext>
              </a:extLst>
            </p:cNvPr>
            <p:cNvSpPr/>
            <p:nvPr/>
          </p:nvSpPr>
          <p:spPr>
            <a:xfrm>
              <a:off x="4106030" y="3251076"/>
              <a:ext cx="50952" cy="43575"/>
            </a:xfrm>
            <a:custGeom>
              <a:avLst/>
              <a:gdLst/>
              <a:ahLst/>
              <a:cxnLst/>
              <a:rect l="l" t="t" r="r" b="b"/>
              <a:pathLst>
                <a:path w="221" h="189" extrusionOk="0">
                  <a:moveTo>
                    <a:pt x="140" y="48"/>
                  </a:moveTo>
                  <a:cubicBezTo>
                    <a:pt x="151" y="48"/>
                    <a:pt x="162" y="60"/>
                    <a:pt x="173" y="71"/>
                  </a:cubicBezTo>
                  <a:lnTo>
                    <a:pt x="173" y="107"/>
                  </a:lnTo>
                  <a:lnTo>
                    <a:pt x="173" y="130"/>
                  </a:lnTo>
                  <a:lnTo>
                    <a:pt x="173" y="141"/>
                  </a:lnTo>
                  <a:lnTo>
                    <a:pt x="151" y="141"/>
                  </a:lnTo>
                  <a:cubicBezTo>
                    <a:pt x="126" y="141"/>
                    <a:pt x="115" y="130"/>
                    <a:pt x="92" y="118"/>
                  </a:cubicBezTo>
                  <a:cubicBezTo>
                    <a:pt x="92" y="118"/>
                    <a:pt x="92" y="107"/>
                    <a:pt x="81" y="107"/>
                  </a:cubicBezTo>
                  <a:cubicBezTo>
                    <a:pt x="70" y="96"/>
                    <a:pt x="56" y="96"/>
                    <a:pt x="45" y="85"/>
                  </a:cubicBezTo>
                  <a:lnTo>
                    <a:pt x="56" y="85"/>
                  </a:lnTo>
                  <a:cubicBezTo>
                    <a:pt x="56" y="71"/>
                    <a:pt x="56" y="71"/>
                    <a:pt x="70" y="71"/>
                  </a:cubicBezTo>
                  <a:lnTo>
                    <a:pt x="92" y="71"/>
                  </a:lnTo>
                  <a:cubicBezTo>
                    <a:pt x="115" y="60"/>
                    <a:pt x="126" y="60"/>
                    <a:pt x="126" y="48"/>
                  </a:cubicBezTo>
                  <a:close/>
                  <a:moveTo>
                    <a:pt x="115" y="1"/>
                  </a:moveTo>
                  <a:cubicBezTo>
                    <a:pt x="104" y="15"/>
                    <a:pt x="92" y="26"/>
                    <a:pt x="81" y="26"/>
                  </a:cubicBezTo>
                  <a:lnTo>
                    <a:pt x="56" y="26"/>
                  </a:lnTo>
                  <a:cubicBezTo>
                    <a:pt x="45" y="26"/>
                    <a:pt x="34" y="37"/>
                    <a:pt x="22" y="37"/>
                  </a:cubicBezTo>
                  <a:cubicBezTo>
                    <a:pt x="11" y="48"/>
                    <a:pt x="0" y="71"/>
                    <a:pt x="0" y="85"/>
                  </a:cubicBezTo>
                  <a:cubicBezTo>
                    <a:pt x="0" y="96"/>
                    <a:pt x="0" y="96"/>
                    <a:pt x="11" y="107"/>
                  </a:cubicBezTo>
                  <a:cubicBezTo>
                    <a:pt x="11" y="118"/>
                    <a:pt x="11" y="118"/>
                    <a:pt x="22" y="130"/>
                  </a:cubicBezTo>
                  <a:lnTo>
                    <a:pt x="34" y="130"/>
                  </a:lnTo>
                  <a:cubicBezTo>
                    <a:pt x="34" y="130"/>
                    <a:pt x="45" y="130"/>
                    <a:pt x="45" y="141"/>
                  </a:cubicBezTo>
                  <a:cubicBezTo>
                    <a:pt x="56" y="141"/>
                    <a:pt x="56" y="155"/>
                    <a:pt x="70" y="155"/>
                  </a:cubicBezTo>
                  <a:cubicBezTo>
                    <a:pt x="92" y="177"/>
                    <a:pt x="115" y="188"/>
                    <a:pt x="151" y="188"/>
                  </a:cubicBezTo>
                  <a:lnTo>
                    <a:pt x="173" y="188"/>
                  </a:lnTo>
                  <a:cubicBezTo>
                    <a:pt x="185" y="177"/>
                    <a:pt x="196" y="177"/>
                    <a:pt x="210" y="166"/>
                  </a:cubicBezTo>
                  <a:cubicBezTo>
                    <a:pt x="221" y="155"/>
                    <a:pt x="221" y="141"/>
                    <a:pt x="221" y="141"/>
                  </a:cubicBezTo>
                  <a:lnTo>
                    <a:pt x="221" y="107"/>
                  </a:lnTo>
                  <a:cubicBezTo>
                    <a:pt x="221" y="85"/>
                    <a:pt x="221" y="71"/>
                    <a:pt x="210" y="48"/>
                  </a:cubicBezTo>
                  <a:cubicBezTo>
                    <a:pt x="196" y="26"/>
                    <a:pt x="162" y="1"/>
                    <a:pt x="14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3" name="Google Shape;351;p17">
              <a:extLst>
                <a:ext uri="{FF2B5EF4-FFF2-40B4-BE49-F238E27FC236}">
                  <a16:creationId xmlns:a16="http://schemas.microsoft.com/office/drawing/2014/main" xmlns="" id="{8377C3D8-E6F4-BAB0-666C-7C08AEDA7245}"/>
                </a:ext>
              </a:extLst>
            </p:cNvPr>
            <p:cNvSpPr/>
            <p:nvPr/>
          </p:nvSpPr>
          <p:spPr>
            <a:xfrm>
              <a:off x="4100036" y="3200354"/>
              <a:ext cx="19136" cy="18906"/>
            </a:xfrm>
            <a:custGeom>
              <a:avLst/>
              <a:gdLst/>
              <a:ahLst/>
              <a:cxnLst/>
              <a:rect l="l" t="t" r="r" b="b"/>
              <a:pathLst>
                <a:path w="83" h="82" extrusionOk="0">
                  <a:moveTo>
                    <a:pt x="12" y="0"/>
                  </a:moveTo>
                  <a:lnTo>
                    <a:pt x="1" y="11"/>
                  </a:lnTo>
                  <a:cubicBezTo>
                    <a:pt x="1" y="25"/>
                    <a:pt x="12" y="36"/>
                    <a:pt x="12" y="36"/>
                  </a:cubicBezTo>
                  <a:cubicBezTo>
                    <a:pt x="12" y="48"/>
                    <a:pt x="26" y="48"/>
                    <a:pt x="26" y="48"/>
                  </a:cubicBezTo>
                  <a:cubicBezTo>
                    <a:pt x="37" y="59"/>
                    <a:pt x="48" y="70"/>
                    <a:pt x="71" y="81"/>
                  </a:cubicBezTo>
                  <a:lnTo>
                    <a:pt x="82" y="70"/>
                  </a:lnTo>
                  <a:lnTo>
                    <a:pt x="82" y="59"/>
                  </a:lnTo>
                  <a:lnTo>
                    <a:pt x="82" y="48"/>
                  </a:lnTo>
                  <a:lnTo>
                    <a:pt x="71" y="36"/>
                  </a:lnTo>
                  <a:cubicBezTo>
                    <a:pt x="60" y="25"/>
                    <a:pt x="37" y="11"/>
                    <a:pt x="2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4" name="Google Shape;352;p17">
              <a:extLst>
                <a:ext uri="{FF2B5EF4-FFF2-40B4-BE49-F238E27FC236}">
                  <a16:creationId xmlns:a16="http://schemas.microsoft.com/office/drawing/2014/main" xmlns="" id="{7100D1BD-313D-394F-1498-2B56A972A3FF}"/>
                </a:ext>
              </a:extLst>
            </p:cNvPr>
            <p:cNvSpPr/>
            <p:nvPr/>
          </p:nvSpPr>
          <p:spPr>
            <a:xfrm>
              <a:off x="4094964" y="3195052"/>
              <a:ext cx="29971" cy="29972"/>
            </a:xfrm>
            <a:custGeom>
              <a:avLst/>
              <a:gdLst/>
              <a:ahLst/>
              <a:cxnLst/>
              <a:rect l="l" t="t" r="r" b="b"/>
              <a:pathLst>
                <a:path w="130" h="130" extrusionOk="0">
                  <a:moveTo>
                    <a:pt x="34" y="1"/>
                  </a:moveTo>
                  <a:cubicBezTo>
                    <a:pt x="34" y="1"/>
                    <a:pt x="23" y="1"/>
                    <a:pt x="12" y="12"/>
                  </a:cubicBezTo>
                  <a:lnTo>
                    <a:pt x="12" y="34"/>
                  </a:lnTo>
                  <a:lnTo>
                    <a:pt x="1" y="34"/>
                  </a:lnTo>
                  <a:cubicBezTo>
                    <a:pt x="1" y="48"/>
                    <a:pt x="12" y="71"/>
                    <a:pt x="23" y="82"/>
                  </a:cubicBezTo>
                  <a:lnTo>
                    <a:pt x="34" y="93"/>
                  </a:lnTo>
                  <a:cubicBezTo>
                    <a:pt x="48" y="104"/>
                    <a:pt x="59" y="104"/>
                    <a:pt x="70" y="118"/>
                  </a:cubicBezTo>
                  <a:lnTo>
                    <a:pt x="82" y="118"/>
                  </a:lnTo>
                  <a:lnTo>
                    <a:pt x="82" y="129"/>
                  </a:lnTo>
                  <a:lnTo>
                    <a:pt x="93" y="129"/>
                  </a:lnTo>
                  <a:lnTo>
                    <a:pt x="118" y="118"/>
                  </a:lnTo>
                  <a:lnTo>
                    <a:pt x="129" y="118"/>
                  </a:lnTo>
                  <a:lnTo>
                    <a:pt x="129" y="93"/>
                  </a:lnTo>
                  <a:lnTo>
                    <a:pt x="129" y="82"/>
                  </a:lnTo>
                  <a:lnTo>
                    <a:pt x="129" y="59"/>
                  </a:lnTo>
                  <a:lnTo>
                    <a:pt x="118" y="48"/>
                  </a:lnTo>
                  <a:cubicBezTo>
                    <a:pt x="93" y="23"/>
                    <a:pt x="70" y="12"/>
                    <a:pt x="5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5" name="Google Shape;353;p17">
              <a:extLst>
                <a:ext uri="{FF2B5EF4-FFF2-40B4-BE49-F238E27FC236}">
                  <a16:creationId xmlns:a16="http://schemas.microsoft.com/office/drawing/2014/main" xmlns="" id="{734C32EB-5706-46EE-2D6F-9E1A7C6ED82B}"/>
                </a:ext>
              </a:extLst>
            </p:cNvPr>
            <p:cNvSpPr/>
            <p:nvPr/>
          </p:nvSpPr>
          <p:spPr>
            <a:xfrm>
              <a:off x="4129777" y="3213726"/>
              <a:ext cx="8530" cy="8761"/>
            </a:xfrm>
            <a:custGeom>
              <a:avLst/>
              <a:gdLst/>
              <a:ahLst/>
              <a:cxnLst/>
              <a:rect l="l" t="t" r="r" b="b"/>
              <a:pathLst>
                <a:path w="37" h="38" extrusionOk="0">
                  <a:moveTo>
                    <a:pt x="1" y="1"/>
                  </a:moveTo>
                  <a:lnTo>
                    <a:pt x="1" y="37"/>
                  </a:lnTo>
                  <a:lnTo>
                    <a:pt x="23" y="37"/>
                  </a:lnTo>
                  <a:cubicBezTo>
                    <a:pt x="37" y="23"/>
                    <a:pt x="37" y="12"/>
                    <a:pt x="37" y="12"/>
                  </a:cubicBezTo>
                  <a:lnTo>
                    <a:pt x="23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6" name="Google Shape;354;p17">
              <a:extLst>
                <a:ext uri="{FF2B5EF4-FFF2-40B4-BE49-F238E27FC236}">
                  <a16:creationId xmlns:a16="http://schemas.microsoft.com/office/drawing/2014/main" xmlns="" id="{D1995DF9-CD41-B5E2-2884-4766E46895D8}"/>
                </a:ext>
              </a:extLst>
            </p:cNvPr>
            <p:cNvSpPr/>
            <p:nvPr/>
          </p:nvSpPr>
          <p:spPr>
            <a:xfrm>
              <a:off x="4124705" y="3208654"/>
              <a:ext cx="18905" cy="18906"/>
            </a:xfrm>
            <a:custGeom>
              <a:avLst/>
              <a:gdLst/>
              <a:ahLst/>
              <a:cxnLst/>
              <a:rect l="l" t="t" r="r" b="b"/>
              <a:pathLst>
                <a:path w="82" h="82" extrusionOk="0">
                  <a:moveTo>
                    <a:pt x="23" y="0"/>
                  </a:moveTo>
                  <a:lnTo>
                    <a:pt x="11" y="12"/>
                  </a:lnTo>
                  <a:cubicBezTo>
                    <a:pt x="0" y="23"/>
                    <a:pt x="0" y="34"/>
                    <a:pt x="0" y="34"/>
                  </a:cubicBezTo>
                  <a:cubicBezTo>
                    <a:pt x="0" y="45"/>
                    <a:pt x="0" y="59"/>
                    <a:pt x="11" y="70"/>
                  </a:cubicBezTo>
                  <a:cubicBezTo>
                    <a:pt x="23" y="82"/>
                    <a:pt x="34" y="82"/>
                    <a:pt x="45" y="82"/>
                  </a:cubicBezTo>
                  <a:lnTo>
                    <a:pt x="59" y="82"/>
                  </a:lnTo>
                  <a:lnTo>
                    <a:pt x="70" y="70"/>
                  </a:lnTo>
                  <a:cubicBezTo>
                    <a:pt x="70" y="70"/>
                    <a:pt x="81" y="45"/>
                    <a:pt x="81" y="34"/>
                  </a:cubicBezTo>
                  <a:cubicBezTo>
                    <a:pt x="81" y="34"/>
                    <a:pt x="81" y="23"/>
                    <a:pt x="70" y="23"/>
                  </a:cubicBezTo>
                  <a:lnTo>
                    <a:pt x="70" y="12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7" name="Google Shape;355;p17">
              <a:extLst>
                <a:ext uri="{FF2B5EF4-FFF2-40B4-BE49-F238E27FC236}">
                  <a16:creationId xmlns:a16="http://schemas.microsoft.com/office/drawing/2014/main" xmlns="" id="{0BD9B5D0-0ED5-622F-65B1-274913A7EE7E}"/>
                </a:ext>
              </a:extLst>
            </p:cNvPr>
            <p:cNvSpPr/>
            <p:nvPr/>
          </p:nvSpPr>
          <p:spPr>
            <a:xfrm>
              <a:off x="3963550" y="3127961"/>
              <a:ext cx="134180" cy="167383"/>
            </a:xfrm>
            <a:custGeom>
              <a:avLst/>
              <a:gdLst/>
              <a:ahLst/>
              <a:cxnLst/>
              <a:rect l="l" t="t" r="r" b="b"/>
              <a:pathLst>
                <a:path w="582" h="726" extrusionOk="0">
                  <a:moveTo>
                    <a:pt x="81" y="1"/>
                  </a:moveTo>
                  <a:cubicBezTo>
                    <a:pt x="59" y="1"/>
                    <a:pt x="45" y="12"/>
                    <a:pt x="34" y="12"/>
                  </a:cubicBezTo>
                  <a:lnTo>
                    <a:pt x="11" y="34"/>
                  </a:lnTo>
                  <a:cubicBezTo>
                    <a:pt x="0" y="46"/>
                    <a:pt x="0" y="60"/>
                    <a:pt x="0" y="82"/>
                  </a:cubicBezTo>
                  <a:cubicBezTo>
                    <a:pt x="0" y="93"/>
                    <a:pt x="0" y="104"/>
                    <a:pt x="11" y="116"/>
                  </a:cubicBezTo>
                  <a:cubicBezTo>
                    <a:pt x="22" y="130"/>
                    <a:pt x="34" y="141"/>
                    <a:pt x="45" y="152"/>
                  </a:cubicBezTo>
                  <a:cubicBezTo>
                    <a:pt x="59" y="152"/>
                    <a:pt x="59" y="152"/>
                    <a:pt x="70" y="163"/>
                  </a:cubicBezTo>
                  <a:cubicBezTo>
                    <a:pt x="81" y="174"/>
                    <a:pt x="81" y="185"/>
                    <a:pt x="92" y="211"/>
                  </a:cubicBezTo>
                  <a:cubicBezTo>
                    <a:pt x="92" y="222"/>
                    <a:pt x="104" y="244"/>
                    <a:pt x="115" y="255"/>
                  </a:cubicBezTo>
                  <a:cubicBezTo>
                    <a:pt x="129" y="269"/>
                    <a:pt x="140" y="281"/>
                    <a:pt x="151" y="292"/>
                  </a:cubicBezTo>
                  <a:cubicBezTo>
                    <a:pt x="185" y="314"/>
                    <a:pt x="221" y="325"/>
                    <a:pt x="243" y="350"/>
                  </a:cubicBezTo>
                  <a:cubicBezTo>
                    <a:pt x="255" y="362"/>
                    <a:pt x="269" y="384"/>
                    <a:pt x="280" y="395"/>
                  </a:cubicBezTo>
                  <a:cubicBezTo>
                    <a:pt x="291" y="395"/>
                    <a:pt x="291" y="395"/>
                    <a:pt x="291" y="409"/>
                  </a:cubicBezTo>
                  <a:cubicBezTo>
                    <a:pt x="302" y="420"/>
                    <a:pt x="302" y="432"/>
                    <a:pt x="291" y="443"/>
                  </a:cubicBezTo>
                  <a:cubicBezTo>
                    <a:pt x="280" y="454"/>
                    <a:pt x="255" y="454"/>
                    <a:pt x="255" y="465"/>
                  </a:cubicBezTo>
                  <a:lnTo>
                    <a:pt x="255" y="479"/>
                  </a:lnTo>
                  <a:cubicBezTo>
                    <a:pt x="255" y="479"/>
                    <a:pt x="255" y="490"/>
                    <a:pt x="269" y="501"/>
                  </a:cubicBezTo>
                  <a:cubicBezTo>
                    <a:pt x="280" y="513"/>
                    <a:pt x="302" y="513"/>
                    <a:pt x="302" y="535"/>
                  </a:cubicBezTo>
                  <a:lnTo>
                    <a:pt x="302" y="549"/>
                  </a:lnTo>
                  <a:cubicBezTo>
                    <a:pt x="291" y="571"/>
                    <a:pt x="291" y="594"/>
                    <a:pt x="302" y="619"/>
                  </a:cubicBezTo>
                  <a:cubicBezTo>
                    <a:pt x="302" y="630"/>
                    <a:pt x="313" y="652"/>
                    <a:pt x="324" y="652"/>
                  </a:cubicBezTo>
                  <a:cubicBezTo>
                    <a:pt x="338" y="652"/>
                    <a:pt x="338" y="652"/>
                    <a:pt x="350" y="664"/>
                  </a:cubicBezTo>
                  <a:cubicBezTo>
                    <a:pt x="361" y="664"/>
                    <a:pt x="350" y="700"/>
                    <a:pt x="361" y="711"/>
                  </a:cubicBezTo>
                  <a:cubicBezTo>
                    <a:pt x="372" y="722"/>
                    <a:pt x="372" y="722"/>
                    <a:pt x="383" y="722"/>
                  </a:cubicBezTo>
                  <a:cubicBezTo>
                    <a:pt x="396" y="722"/>
                    <a:pt x="408" y="725"/>
                    <a:pt x="418" y="725"/>
                  </a:cubicBezTo>
                  <a:cubicBezTo>
                    <a:pt x="428" y="725"/>
                    <a:pt x="436" y="722"/>
                    <a:pt x="442" y="711"/>
                  </a:cubicBezTo>
                  <a:cubicBezTo>
                    <a:pt x="453" y="700"/>
                    <a:pt x="453" y="689"/>
                    <a:pt x="464" y="675"/>
                  </a:cubicBezTo>
                  <a:cubicBezTo>
                    <a:pt x="464" y="652"/>
                    <a:pt x="464" y="641"/>
                    <a:pt x="489" y="630"/>
                  </a:cubicBezTo>
                  <a:lnTo>
                    <a:pt x="512" y="630"/>
                  </a:lnTo>
                  <a:cubicBezTo>
                    <a:pt x="534" y="630"/>
                    <a:pt x="548" y="641"/>
                    <a:pt x="571" y="641"/>
                  </a:cubicBezTo>
                  <a:lnTo>
                    <a:pt x="582" y="641"/>
                  </a:lnTo>
                  <a:lnTo>
                    <a:pt x="582" y="630"/>
                  </a:lnTo>
                  <a:cubicBezTo>
                    <a:pt x="582" y="605"/>
                    <a:pt x="582" y="594"/>
                    <a:pt x="571" y="571"/>
                  </a:cubicBezTo>
                  <a:cubicBezTo>
                    <a:pt x="559" y="560"/>
                    <a:pt x="548" y="549"/>
                    <a:pt x="548" y="535"/>
                  </a:cubicBezTo>
                  <a:cubicBezTo>
                    <a:pt x="548" y="524"/>
                    <a:pt x="559" y="524"/>
                    <a:pt x="559" y="513"/>
                  </a:cubicBezTo>
                  <a:cubicBezTo>
                    <a:pt x="571" y="501"/>
                    <a:pt x="571" y="479"/>
                    <a:pt x="559" y="465"/>
                  </a:cubicBezTo>
                  <a:cubicBezTo>
                    <a:pt x="534" y="443"/>
                    <a:pt x="501" y="454"/>
                    <a:pt x="478" y="443"/>
                  </a:cubicBezTo>
                  <a:cubicBezTo>
                    <a:pt x="442" y="420"/>
                    <a:pt x="442" y="384"/>
                    <a:pt x="420" y="362"/>
                  </a:cubicBezTo>
                  <a:cubicBezTo>
                    <a:pt x="407" y="350"/>
                    <a:pt x="389" y="350"/>
                    <a:pt x="372" y="350"/>
                  </a:cubicBezTo>
                  <a:cubicBezTo>
                    <a:pt x="355" y="350"/>
                    <a:pt x="337" y="350"/>
                    <a:pt x="324" y="339"/>
                  </a:cubicBezTo>
                  <a:cubicBezTo>
                    <a:pt x="313" y="339"/>
                    <a:pt x="302" y="325"/>
                    <a:pt x="302" y="314"/>
                  </a:cubicBezTo>
                  <a:cubicBezTo>
                    <a:pt x="291" y="303"/>
                    <a:pt x="291" y="292"/>
                    <a:pt x="280" y="281"/>
                  </a:cubicBezTo>
                  <a:lnTo>
                    <a:pt x="280" y="255"/>
                  </a:lnTo>
                  <a:lnTo>
                    <a:pt x="291" y="244"/>
                  </a:lnTo>
                  <a:cubicBezTo>
                    <a:pt x="302" y="233"/>
                    <a:pt x="291" y="211"/>
                    <a:pt x="291" y="199"/>
                  </a:cubicBezTo>
                  <a:cubicBezTo>
                    <a:pt x="280" y="199"/>
                    <a:pt x="269" y="199"/>
                    <a:pt x="255" y="185"/>
                  </a:cubicBezTo>
                  <a:cubicBezTo>
                    <a:pt x="255" y="185"/>
                    <a:pt x="255" y="174"/>
                    <a:pt x="243" y="174"/>
                  </a:cubicBezTo>
                  <a:cubicBezTo>
                    <a:pt x="243" y="152"/>
                    <a:pt x="232" y="141"/>
                    <a:pt x="232" y="130"/>
                  </a:cubicBezTo>
                  <a:cubicBezTo>
                    <a:pt x="221" y="116"/>
                    <a:pt x="221" y="104"/>
                    <a:pt x="210" y="93"/>
                  </a:cubicBezTo>
                  <a:cubicBezTo>
                    <a:pt x="199" y="93"/>
                    <a:pt x="199" y="93"/>
                    <a:pt x="185" y="82"/>
                  </a:cubicBezTo>
                  <a:lnTo>
                    <a:pt x="173" y="60"/>
                  </a:lnTo>
                  <a:cubicBezTo>
                    <a:pt x="162" y="34"/>
                    <a:pt x="140" y="23"/>
                    <a:pt x="129" y="23"/>
                  </a:cubicBezTo>
                  <a:cubicBezTo>
                    <a:pt x="115" y="12"/>
                    <a:pt x="92" y="12"/>
                    <a:pt x="8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8" name="Google Shape;356;p17">
              <a:extLst>
                <a:ext uri="{FF2B5EF4-FFF2-40B4-BE49-F238E27FC236}">
                  <a16:creationId xmlns:a16="http://schemas.microsoft.com/office/drawing/2014/main" xmlns="" id="{A8C6A58E-3D0B-8E69-F4AF-0ED770E7ABED}"/>
                </a:ext>
              </a:extLst>
            </p:cNvPr>
            <p:cNvSpPr/>
            <p:nvPr/>
          </p:nvSpPr>
          <p:spPr>
            <a:xfrm>
              <a:off x="3957555" y="3122197"/>
              <a:ext cx="145477" cy="177527"/>
            </a:xfrm>
            <a:custGeom>
              <a:avLst/>
              <a:gdLst/>
              <a:ahLst/>
              <a:cxnLst/>
              <a:rect l="l" t="t" r="r" b="b"/>
              <a:pathLst>
                <a:path w="631" h="770" extrusionOk="0">
                  <a:moveTo>
                    <a:pt x="107" y="48"/>
                  </a:moveTo>
                  <a:cubicBezTo>
                    <a:pt x="118" y="59"/>
                    <a:pt x="130" y="59"/>
                    <a:pt x="141" y="71"/>
                  </a:cubicBezTo>
                  <a:cubicBezTo>
                    <a:pt x="155" y="71"/>
                    <a:pt x="166" y="85"/>
                    <a:pt x="177" y="96"/>
                  </a:cubicBezTo>
                  <a:lnTo>
                    <a:pt x="188" y="107"/>
                  </a:lnTo>
                  <a:cubicBezTo>
                    <a:pt x="188" y="107"/>
                    <a:pt x="188" y="118"/>
                    <a:pt x="199" y="129"/>
                  </a:cubicBezTo>
                  <a:cubicBezTo>
                    <a:pt x="211" y="129"/>
                    <a:pt x="211" y="141"/>
                    <a:pt x="225" y="141"/>
                  </a:cubicBezTo>
                  <a:cubicBezTo>
                    <a:pt x="225" y="141"/>
                    <a:pt x="236" y="155"/>
                    <a:pt x="236" y="166"/>
                  </a:cubicBezTo>
                  <a:cubicBezTo>
                    <a:pt x="247" y="177"/>
                    <a:pt x="247" y="188"/>
                    <a:pt x="258" y="199"/>
                  </a:cubicBezTo>
                  <a:cubicBezTo>
                    <a:pt x="258" y="210"/>
                    <a:pt x="258" y="224"/>
                    <a:pt x="269" y="236"/>
                  </a:cubicBezTo>
                  <a:cubicBezTo>
                    <a:pt x="281" y="236"/>
                    <a:pt x="281" y="236"/>
                    <a:pt x="295" y="247"/>
                  </a:cubicBezTo>
                  <a:lnTo>
                    <a:pt x="295" y="258"/>
                  </a:lnTo>
                  <a:lnTo>
                    <a:pt x="295" y="269"/>
                  </a:lnTo>
                  <a:cubicBezTo>
                    <a:pt x="281" y="269"/>
                    <a:pt x="281" y="280"/>
                    <a:pt x="281" y="294"/>
                  </a:cubicBezTo>
                  <a:lnTo>
                    <a:pt x="281" y="306"/>
                  </a:lnTo>
                  <a:cubicBezTo>
                    <a:pt x="295" y="328"/>
                    <a:pt x="306" y="339"/>
                    <a:pt x="306" y="350"/>
                  </a:cubicBezTo>
                  <a:cubicBezTo>
                    <a:pt x="306" y="364"/>
                    <a:pt x="317" y="375"/>
                    <a:pt x="339" y="387"/>
                  </a:cubicBezTo>
                  <a:cubicBezTo>
                    <a:pt x="364" y="398"/>
                    <a:pt x="376" y="398"/>
                    <a:pt x="398" y="398"/>
                  </a:cubicBezTo>
                  <a:cubicBezTo>
                    <a:pt x="409" y="398"/>
                    <a:pt x="420" y="398"/>
                    <a:pt x="434" y="409"/>
                  </a:cubicBezTo>
                  <a:cubicBezTo>
                    <a:pt x="434" y="409"/>
                    <a:pt x="446" y="420"/>
                    <a:pt x="457" y="434"/>
                  </a:cubicBezTo>
                  <a:cubicBezTo>
                    <a:pt x="457" y="457"/>
                    <a:pt x="468" y="479"/>
                    <a:pt x="490" y="490"/>
                  </a:cubicBezTo>
                  <a:cubicBezTo>
                    <a:pt x="515" y="504"/>
                    <a:pt x="527" y="504"/>
                    <a:pt x="538" y="504"/>
                  </a:cubicBezTo>
                  <a:lnTo>
                    <a:pt x="560" y="504"/>
                  </a:lnTo>
                  <a:cubicBezTo>
                    <a:pt x="574" y="504"/>
                    <a:pt x="574" y="515"/>
                    <a:pt x="574" y="515"/>
                  </a:cubicBezTo>
                  <a:lnTo>
                    <a:pt x="574" y="526"/>
                  </a:lnTo>
                  <a:lnTo>
                    <a:pt x="560" y="538"/>
                  </a:lnTo>
                  <a:lnTo>
                    <a:pt x="549" y="549"/>
                  </a:lnTo>
                  <a:lnTo>
                    <a:pt x="549" y="560"/>
                  </a:lnTo>
                  <a:cubicBezTo>
                    <a:pt x="549" y="574"/>
                    <a:pt x="560" y="585"/>
                    <a:pt x="560" y="596"/>
                  </a:cubicBezTo>
                  <a:lnTo>
                    <a:pt x="585" y="619"/>
                  </a:lnTo>
                  <a:lnTo>
                    <a:pt x="585" y="642"/>
                  </a:lnTo>
                  <a:lnTo>
                    <a:pt x="585" y="642"/>
                  </a:lnTo>
                  <a:cubicBezTo>
                    <a:pt x="573" y="638"/>
                    <a:pt x="554" y="630"/>
                    <a:pt x="538" y="630"/>
                  </a:cubicBezTo>
                  <a:lnTo>
                    <a:pt x="527" y="630"/>
                  </a:lnTo>
                  <a:cubicBezTo>
                    <a:pt x="515" y="630"/>
                    <a:pt x="515" y="630"/>
                    <a:pt x="504" y="644"/>
                  </a:cubicBezTo>
                  <a:cubicBezTo>
                    <a:pt x="490" y="644"/>
                    <a:pt x="479" y="655"/>
                    <a:pt x="479" y="666"/>
                  </a:cubicBezTo>
                  <a:cubicBezTo>
                    <a:pt x="468" y="677"/>
                    <a:pt x="468" y="677"/>
                    <a:pt x="468" y="689"/>
                  </a:cubicBezTo>
                  <a:cubicBezTo>
                    <a:pt x="468" y="700"/>
                    <a:pt x="457" y="714"/>
                    <a:pt x="457" y="714"/>
                  </a:cubicBezTo>
                  <a:lnTo>
                    <a:pt x="457" y="725"/>
                  </a:lnTo>
                  <a:lnTo>
                    <a:pt x="409" y="725"/>
                  </a:lnTo>
                  <a:lnTo>
                    <a:pt x="409" y="700"/>
                  </a:lnTo>
                  <a:cubicBezTo>
                    <a:pt x="409" y="700"/>
                    <a:pt x="409" y="689"/>
                    <a:pt x="398" y="689"/>
                  </a:cubicBezTo>
                  <a:cubicBezTo>
                    <a:pt x="398" y="677"/>
                    <a:pt x="398" y="666"/>
                    <a:pt x="387" y="666"/>
                  </a:cubicBezTo>
                  <a:cubicBezTo>
                    <a:pt x="376" y="655"/>
                    <a:pt x="376" y="655"/>
                    <a:pt x="364" y="655"/>
                  </a:cubicBezTo>
                  <a:lnTo>
                    <a:pt x="350" y="655"/>
                  </a:lnTo>
                  <a:lnTo>
                    <a:pt x="350" y="644"/>
                  </a:lnTo>
                  <a:cubicBezTo>
                    <a:pt x="339" y="630"/>
                    <a:pt x="339" y="619"/>
                    <a:pt x="339" y="607"/>
                  </a:cubicBezTo>
                  <a:lnTo>
                    <a:pt x="339" y="585"/>
                  </a:lnTo>
                  <a:cubicBezTo>
                    <a:pt x="350" y="574"/>
                    <a:pt x="350" y="574"/>
                    <a:pt x="350" y="560"/>
                  </a:cubicBezTo>
                  <a:lnTo>
                    <a:pt x="350" y="549"/>
                  </a:lnTo>
                  <a:cubicBezTo>
                    <a:pt x="350" y="549"/>
                    <a:pt x="339" y="538"/>
                    <a:pt x="339" y="526"/>
                  </a:cubicBezTo>
                  <a:cubicBezTo>
                    <a:pt x="339" y="526"/>
                    <a:pt x="328" y="515"/>
                    <a:pt x="317" y="515"/>
                  </a:cubicBezTo>
                  <a:cubicBezTo>
                    <a:pt x="317" y="515"/>
                    <a:pt x="317" y="504"/>
                    <a:pt x="306" y="504"/>
                  </a:cubicBezTo>
                  <a:cubicBezTo>
                    <a:pt x="306" y="490"/>
                    <a:pt x="317" y="490"/>
                    <a:pt x="328" y="490"/>
                  </a:cubicBezTo>
                  <a:cubicBezTo>
                    <a:pt x="339" y="479"/>
                    <a:pt x="350" y="457"/>
                    <a:pt x="350" y="445"/>
                  </a:cubicBezTo>
                  <a:cubicBezTo>
                    <a:pt x="350" y="434"/>
                    <a:pt x="350" y="420"/>
                    <a:pt x="339" y="409"/>
                  </a:cubicBezTo>
                  <a:cubicBezTo>
                    <a:pt x="328" y="409"/>
                    <a:pt x="328" y="398"/>
                    <a:pt x="328" y="398"/>
                  </a:cubicBezTo>
                  <a:cubicBezTo>
                    <a:pt x="317" y="387"/>
                    <a:pt x="306" y="375"/>
                    <a:pt x="295" y="364"/>
                  </a:cubicBezTo>
                  <a:cubicBezTo>
                    <a:pt x="258" y="328"/>
                    <a:pt x="225" y="317"/>
                    <a:pt x="188" y="294"/>
                  </a:cubicBezTo>
                  <a:cubicBezTo>
                    <a:pt x="177" y="280"/>
                    <a:pt x="166" y="269"/>
                    <a:pt x="155" y="269"/>
                  </a:cubicBezTo>
                  <a:cubicBezTo>
                    <a:pt x="155" y="258"/>
                    <a:pt x="141" y="247"/>
                    <a:pt x="141" y="224"/>
                  </a:cubicBezTo>
                  <a:cubicBezTo>
                    <a:pt x="130" y="224"/>
                    <a:pt x="130" y="210"/>
                    <a:pt x="130" y="199"/>
                  </a:cubicBezTo>
                  <a:cubicBezTo>
                    <a:pt x="130" y="188"/>
                    <a:pt x="118" y="177"/>
                    <a:pt x="107" y="166"/>
                  </a:cubicBezTo>
                  <a:cubicBezTo>
                    <a:pt x="107" y="155"/>
                    <a:pt x="96" y="155"/>
                    <a:pt x="85" y="155"/>
                  </a:cubicBezTo>
                  <a:cubicBezTo>
                    <a:pt x="71" y="141"/>
                    <a:pt x="60" y="141"/>
                    <a:pt x="60" y="129"/>
                  </a:cubicBezTo>
                  <a:cubicBezTo>
                    <a:pt x="48" y="118"/>
                    <a:pt x="48" y="107"/>
                    <a:pt x="48" y="107"/>
                  </a:cubicBezTo>
                  <a:cubicBezTo>
                    <a:pt x="48" y="96"/>
                    <a:pt x="48" y="85"/>
                    <a:pt x="60" y="71"/>
                  </a:cubicBezTo>
                  <a:cubicBezTo>
                    <a:pt x="60" y="71"/>
                    <a:pt x="60" y="59"/>
                    <a:pt x="71" y="59"/>
                  </a:cubicBezTo>
                  <a:cubicBezTo>
                    <a:pt x="71" y="59"/>
                    <a:pt x="85" y="48"/>
                    <a:pt x="96" y="48"/>
                  </a:cubicBezTo>
                  <a:close/>
                  <a:moveTo>
                    <a:pt x="96" y="1"/>
                  </a:moveTo>
                  <a:cubicBezTo>
                    <a:pt x="71" y="1"/>
                    <a:pt x="60" y="15"/>
                    <a:pt x="37" y="26"/>
                  </a:cubicBezTo>
                  <a:cubicBezTo>
                    <a:pt x="37" y="26"/>
                    <a:pt x="26" y="37"/>
                    <a:pt x="15" y="48"/>
                  </a:cubicBezTo>
                  <a:cubicBezTo>
                    <a:pt x="15" y="59"/>
                    <a:pt x="1" y="85"/>
                    <a:pt x="1" y="96"/>
                  </a:cubicBezTo>
                  <a:lnTo>
                    <a:pt x="1" y="107"/>
                  </a:lnTo>
                  <a:cubicBezTo>
                    <a:pt x="1" y="129"/>
                    <a:pt x="1" y="141"/>
                    <a:pt x="15" y="155"/>
                  </a:cubicBezTo>
                  <a:cubicBezTo>
                    <a:pt x="37" y="177"/>
                    <a:pt x="48" y="188"/>
                    <a:pt x="60" y="188"/>
                  </a:cubicBezTo>
                  <a:cubicBezTo>
                    <a:pt x="71" y="199"/>
                    <a:pt x="71" y="199"/>
                    <a:pt x="85" y="199"/>
                  </a:cubicBezTo>
                  <a:lnTo>
                    <a:pt x="85" y="210"/>
                  </a:lnTo>
                  <a:cubicBezTo>
                    <a:pt x="85" y="224"/>
                    <a:pt x="96" y="236"/>
                    <a:pt x="96" y="236"/>
                  </a:cubicBezTo>
                  <a:cubicBezTo>
                    <a:pt x="96" y="258"/>
                    <a:pt x="107" y="280"/>
                    <a:pt x="118" y="306"/>
                  </a:cubicBezTo>
                  <a:cubicBezTo>
                    <a:pt x="141" y="317"/>
                    <a:pt x="155" y="328"/>
                    <a:pt x="166" y="328"/>
                  </a:cubicBezTo>
                  <a:cubicBezTo>
                    <a:pt x="199" y="350"/>
                    <a:pt x="236" y="375"/>
                    <a:pt x="258" y="398"/>
                  </a:cubicBezTo>
                  <a:cubicBezTo>
                    <a:pt x="269" y="409"/>
                    <a:pt x="281" y="420"/>
                    <a:pt x="295" y="434"/>
                  </a:cubicBezTo>
                  <a:cubicBezTo>
                    <a:pt x="295" y="445"/>
                    <a:pt x="306" y="445"/>
                    <a:pt x="306" y="445"/>
                  </a:cubicBezTo>
                  <a:cubicBezTo>
                    <a:pt x="306" y="445"/>
                    <a:pt x="295" y="457"/>
                    <a:pt x="281" y="457"/>
                  </a:cubicBezTo>
                  <a:lnTo>
                    <a:pt x="269" y="457"/>
                  </a:lnTo>
                  <a:cubicBezTo>
                    <a:pt x="269" y="468"/>
                    <a:pt x="258" y="468"/>
                    <a:pt x="258" y="479"/>
                  </a:cubicBezTo>
                  <a:lnTo>
                    <a:pt x="258" y="490"/>
                  </a:lnTo>
                  <a:lnTo>
                    <a:pt x="258" y="504"/>
                  </a:lnTo>
                  <a:cubicBezTo>
                    <a:pt x="258" y="515"/>
                    <a:pt x="269" y="526"/>
                    <a:pt x="281" y="538"/>
                  </a:cubicBezTo>
                  <a:cubicBezTo>
                    <a:pt x="281" y="549"/>
                    <a:pt x="295" y="549"/>
                    <a:pt x="306" y="560"/>
                  </a:cubicBezTo>
                  <a:lnTo>
                    <a:pt x="306" y="574"/>
                  </a:lnTo>
                  <a:cubicBezTo>
                    <a:pt x="295" y="585"/>
                    <a:pt x="295" y="596"/>
                    <a:pt x="295" y="607"/>
                  </a:cubicBezTo>
                  <a:cubicBezTo>
                    <a:pt x="295" y="619"/>
                    <a:pt x="295" y="644"/>
                    <a:pt x="306" y="655"/>
                  </a:cubicBezTo>
                  <a:cubicBezTo>
                    <a:pt x="306" y="666"/>
                    <a:pt x="306" y="666"/>
                    <a:pt x="317" y="677"/>
                  </a:cubicBezTo>
                  <a:cubicBezTo>
                    <a:pt x="328" y="689"/>
                    <a:pt x="328" y="700"/>
                    <a:pt x="350" y="700"/>
                  </a:cubicBezTo>
                  <a:lnTo>
                    <a:pt x="364" y="700"/>
                  </a:lnTo>
                  <a:lnTo>
                    <a:pt x="364" y="725"/>
                  </a:lnTo>
                  <a:lnTo>
                    <a:pt x="364" y="736"/>
                  </a:lnTo>
                  <a:cubicBezTo>
                    <a:pt x="364" y="747"/>
                    <a:pt x="376" y="747"/>
                    <a:pt x="376" y="758"/>
                  </a:cubicBezTo>
                  <a:cubicBezTo>
                    <a:pt x="387" y="770"/>
                    <a:pt x="398" y="770"/>
                    <a:pt x="398" y="770"/>
                  </a:cubicBezTo>
                  <a:lnTo>
                    <a:pt x="434" y="770"/>
                  </a:lnTo>
                  <a:cubicBezTo>
                    <a:pt x="457" y="770"/>
                    <a:pt x="468" y="770"/>
                    <a:pt x="490" y="758"/>
                  </a:cubicBezTo>
                  <a:cubicBezTo>
                    <a:pt x="490" y="747"/>
                    <a:pt x="504" y="736"/>
                    <a:pt x="504" y="725"/>
                  </a:cubicBezTo>
                  <a:cubicBezTo>
                    <a:pt x="504" y="714"/>
                    <a:pt x="515" y="714"/>
                    <a:pt x="515" y="700"/>
                  </a:cubicBezTo>
                  <a:lnTo>
                    <a:pt x="515" y="689"/>
                  </a:lnTo>
                  <a:lnTo>
                    <a:pt x="515" y="677"/>
                  </a:lnTo>
                  <a:lnTo>
                    <a:pt x="538" y="677"/>
                  </a:lnTo>
                  <a:cubicBezTo>
                    <a:pt x="560" y="677"/>
                    <a:pt x="574" y="689"/>
                    <a:pt x="597" y="689"/>
                  </a:cubicBezTo>
                  <a:lnTo>
                    <a:pt x="608" y="689"/>
                  </a:lnTo>
                  <a:lnTo>
                    <a:pt x="619" y="677"/>
                  </a:lnTo>
                  <a:lnTo>
                    <a:pt x="630" y="666"/>
                  </a:lnTo>
                  <a:lnTo>
                    <a:pt x="630" y="655"/>
                  </a:lnTo>
                  <a:lnTo>
                    <a:pt x="630" y="644"/>
                  </a:lnTo>
                  <a:cubicBezTo>
                    <a:pt x="630" y="619"/>
                    <a:pt x="630" y="607"/>
                    <a:pt x="619" y="585"/>
                  </a:cubicBezTo>
                  <a:cubicBezTo>
                    <a:pt x="608" y="585"/>
                    <a:pt x="608" y="574"/>
                    <a:pt x="597" y="574"/>
                  </a:cubicBezTo>
                  <a:lnTo>
                    <a:pt x="597" y="560"/>
                  </a:lnTo>
                  <a:cubicBezTo>
                    <a:pt x="597" y="560"/>
                    <a:pt x="608" y="560"/>
                    <a:pt x="608" y="549"/>
                  </a:cubicBezTo>
                  <a:cubicBezTo>
                    <a:pt x="619" y="538"/>
                    <a:pt x="619" y="526"/>
                    <a:pt x="619" y="515"/>
                  </a:cubicBezTo>
                  <a:cubicBezTo>
                    <a:pt x="619" y="504"/>
                    <a:pt x="608" y="479"/>
                    <a:pt x="597" y="468"/>
                  </a:cubicBezTo>
                  <a:cubicBezTo>
                    <a:pt x="574" y="457"/>
                    <a:pt x="560" y="457"/>
                    <a:pt x="549" y="457"/>
                  </a:cubicBezTo>
                  <a:cubicBezTo>
                    <a:pt x="527" y="457"/>
                    <a:pt x="515" y="457"/>
                    <a:pt x="515" y="445"/>
                  </a:cubicBezTo>
                  <a:cubicBezTo>
                    <a:pt x="504" y="445"/>
                    <a:pt x="504" y="434"/>
                    <a:pt x="490" y="420"/>
                  </a:cubicBezTo>
                  <a:cubicBezTo>
                    <a:pt x="490" y="398"/>
                    <a:pt x="479" y="375"/>
                    <a:pt x="457" y="364"/>
                  </a:cubicBezTo>
                  <a:cubicBezTo>
                    <a:pt x="434" y="350"/>
                    <a:pt x="409" y="350"/>
                    <a:pt x="398" y="350"/>
                  </a:cubicBezTo>
                  <a:lnTo>
                    <a:pt x="364" y="350"/>
                  </a:lnTo>
                  <a:cubicBezTo>
                    <a:pt x="350" y="339"/>
                    <a:pt x="350" y="339"/>
                    <a:pt x="350" y="328"/>
                  </a:cubicBezTo>
                  <a:cubicBezTo>
                    <a:pt x="339" y="317"/>
                    <a:pt x="328" y="306"/>
                    <a:pt x="328" y="294"/>
                  </a:cubicBezTo>
                  <a:lnTo>
                    <a:pt x="339" y="280"/>
                  </a:lnTo>
                  <a:lnTo>
                    <a:pt x="339" y="247"/>
                  </a:lnTo>
                  <a:cubicBezTo>
                    <a:pt x="339" y="236"/>
                    <a:pt x="339" y="224"/>
                    <a:pt x="328" y="210"/>
                  </a:cubicBezTo>
                  <a:cubicBezTo>
                    <a:pt x="317" y="199"/>
                    <a:pt x="317" y="199"/>
                    <a:pt x="306" y="199"/>
                  </a:cubicBezTo>
                  <a:lnTo>
                    <a:pt x="295" y="188"/>
                  </a:lnTo>
                  <a:cubicBezTo>
                    <a:pt x="295" y="177"/>
                    <a:pt x="281" y="166"/>
                    <a:pt x="281" y="155"/>
                  </a:cubicBezTo>
                  <a:cubicBezTo>
                    <a:pt x="269" y="129"/>
                    <a:pt x="269" y="118"/>
                    <a:pt x="247" y="107"/>
                  </a:cubicBezTo>
                  <a:lnTo>
                    <a:pt x="236" y="96"/>
                  </a:lnTo>
                  <a:lnTo>
                    <a:pt x="225" y="85"/>
                  </a:lnTo>
                  <a:cubicBezTo>
                    <a:pt x="225" y="85"/>
                    <a:pt x="225" y="71"/>
                    <a:pt x="211" y="59"/>
                  </a:cubicBezTo>
                  <a:cubicBezTo>
                    <a:pt x="199" y="48"/>
                    <a:pt x="177" y="37"/>
                    <a:pt x="166" y="26"/>
                  </a:cubicBezTo>
                  <a:cubicBezTo>
                    <a:pt x="141" y="15"/>
                    <a:pt x="130" y="15"/>
                    <a:pt x="10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9" name="Google Shape;357;p17">
              <a:extLst>
                <a:ext uri="{FF2B5EF4-FFF2-40B4-BE49-F238E27FC236}">
                  <a16:creationId xmlns:a16="http://schemas.microsoft.com/office/drawing/2014/main" xmlns="" id="{21B973B8-939E-7610-9B40-C45F890E4D0A}"/>
                </a:ext>
              </a:extLst>
            </p:cNvPr>
            <p:cNvSpPr/>
            <p:nvPr/>
          </p:nvSpPr>
          <p:spPr>
            <a:xfrm>
              <a:off x="4097500" y="3077008"/>
              <a:ext cx="16369" cy="19136"/>
            </a:xfrm>
            <a:custGeom>
              <a:avLst/>
              <a:gdLst/>
              <a:ahLst/>
              <a:cxnLst/>
              <a:rect l="l" t="t" r="r" b="b"/>
              <a:pathLst>
                <a:path w="71" h="83" extrusionOk="0">
                  <a:moveTo>
                    <a:pt x="23" y="1"/>
                  </a:moveTo>
                  <a:cubicBezTo>
                    <a:pt x="12" y="1"/>
                    <a:pt x="12" y="12"/>
                    <a:pt x="1" y="12"/>
                  </a:cubicBezTo>
                  <a:lnTo>
                    <a:pt x="1" y="46"/>
                  </a:lnTo>
                  <a:lnTo>
                    <a:pt x="1" y="57"/>
                  </a:lnTo>
                  <a:cubicBezTo>
                    <a:pt x="1" y="71"/>
                    <a:pt x="12" y="71"/>
                    <a:pt x="12" y="71"/>
                  </a:cubicBezTo>
                  <a:cubicBezTo>
                    <a:pt x="23" y="82"/>
                    <a:pt x="37" y="82"/>
                    <a:pt x="37" y="82"/>
                  </a:cubicBezTo>
                  <a:cubicBezTo>
                    <a:pt x="48" y="82"/>
                    <a:pt x="59" y="82"/>
                    <a:pt x="59" y="71"/>
                  </a:cubicBezTo>
                  <a:cubicBezTo>
                    <a:pt x="71" y="57"/>
                    <a:pt x="71" y="57"/>
                    <a:pt x="71" y="46"/>
                  </a:cubicBezTo>
                  <a:lnTo>
                    <a:pt x="71" y="35"/>
                  </a:lnTo>
                  <a:lnTo>
                    <a:pt x="59" y="35"/>
                  </a:lnTo>
                  <a:cubicBezTo>
                    <a:pt x="59" y="23"/>
                    <a:pt x="59" y="12"/>
                    <a:pt x="48" y="12"/>
                  </a:cubicBezTo>
                  <a:cubicBezTo>
                    <a:pt x="48" y="1"/>
                    <a:pt x="48" y="1"/>
                    <a:pt x="3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0" name="Google Shape;358;p17">
              <a:extLst>
                <a:ext uri="{FF2B5EF4-FFF2-40B4-BE49-F238E27FC236}">
                  <a16:creationId xmlns:a16="http://schemas.microsoft.com/office/drawing/2014/main" xmlns="" id="{D73E018F-C966-6974-CB65-D684C9BC0CA2}"/>
                </a:ext>
              </a:extLst>
            </p:cNvPr>
            <p:cNvSpPr/>
            <p:nvPr/>
          </p:nvSpPr>
          <p:spPr>
            <a:xfrm>
              <a:off x="4092428" y="3071244"/>
              <a:ext cx="26744" cy="29972"/>
            </a:xfrm>
            <a:custGeom>
              <a:avLst/>
              <a:gdLst/>
              <a:ahLst/>
              <a:cxnLst/>
              <a:rect l="l" t="t" r="r" b="b"/>
              <a:pathLst>
                <a:path w="116" h="130" extrusionOk="0">
                  <a:moveTo>
                    <a:pt x="59" y="48"/>
                  </a:moveTo>
                  <a:cubicBezTo>
                    <a:pt x="59" y="48"/>
                    <a:pt x="59" y="60"/>
                    <a:pt x="70" y="71"/>
                  </a:cubicBezTo>
                  <a:lnTo>
                    <a:pt x="70" y="82"/>
                  </a:lnTo>
                  <a:cubicBezTo>
                    <a:pt x="59" y="82"/>
                    <a:pt x="59" y="82"/>
                    <a:pt x="45" y="71"/>
                  </a:cubicBezTo>
                  <a:lnTo>
                    <a:pt x="45" y="48"/>
                  </a:lnTo>
                  <a:close/>
                  <a:moveTo>
                    <a:pt x="45" y="1"/>
                  </a:moveTo>
                  <a:cubicBezTo>
                    <a:pt x="23" y="1"/>
                    <a:pt x="12" y="12"/>
                    <a:pt x="0" y="37"/>
                  </a:cubicBezTo>
                  <a:lnTo>
                    <a:pt x="0" y="60"/>
                  </a:lnTo>
                  <a:lnTo>
                    <a:pt x="0" y="71"/>
                  </a:lnTo>
                  <a:lnTo>
                    <a:pt x="0" y="96"/>
                  </a:lnTo>
                  <a:cubicBezTo>
                    <a:pt x="12" y="107"/>
                    <a:pt x="23" y="118"/>
                    <a:pt x="23" y="118"/>
                  </a:cubicBezTo>
                  <a:cubicBezTo>
                    <a:pt x="34" y="118"/>
                    <a:pt x="45" y="129"/>
                    <a:pt x="59" y="129"/>
                  </a:cubicBezTo>
                  <a:lnTo>
                    <a:pt x="81" y="129"/>
                  </a:lnTo>
                  <a:cubicBezTo>
                    <a:pt x="93" y="129"/>
                    <a:pt x="93" y="118"/>
                    <a:pt x="104" y="118"/>
                  </a:cubicBezTo>
                  <a:lnTo>
                    <a:pt x="104" y="107"/>
                  </a:lnTo>
                  <a:lnTo>
                    <a:pt x="104" y="96"/>
                  </a:lnTo>
                  <a:cubicBezTo>
                    <a:pt x="115" y="96"/>
                    <a:pt x="115" y="82"/>
                    <a:pt x="115" y="71"/>
                  </a:cubicBezTo>
                  <a:lnTo>
                    <a:pt x="115" y="60"/>
                  </a:lnTo>
                  <a:lnTo>
                    <a:pt x="104" y="48"/>
                  </a:lnTo>
                  <a:lnTo>
                    <a:pt x="104" y="37"/>
                  </a:lnTo>
                  <a:lnTo>
                    <a:pt x="93" y="26"/>
                  </a:lnTo>
                  <a:cubicBezTo>
                    <a:pt x="93" y="12"/>
                    <a:pt x="93" y="12"/>
                    <a:pt x="81" y="12"/>
                  </a:cubicBezTo>
                  <a:cubicBezTo>
                    <a:pt x="81" y="1"/>
                    <a:pt x="70" y="1"/>
                    <a:pt x="5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1" name="Google Shape;359;p17">
              <a:extLst>
                <a:ext uri="{FF2B5EF4-FFF2-40B4-BE49-F238E27FC236}">
                  <a16:creationId xmlns:a16="http://schemas.microsoft.com/office/drawing/2014/main" xmlns="" id="{0C6DC5D0-0424-CF78-CEFA-6C6C7EDC99E2}"/>
                </a:ext>
              </a:extLst>
            </p:cNvPr>
            <p:cNvSpPr/>
            <p:nvPr/>
          </p:nvSpPr>
          <p:spPr>
            <a:xfrm>
              <a:off x="4033176" y="2980406"/>
              <a:ext cx="43343" cy="35044"/>
            </a:xfrm>
            <a:custGeom>
              <a:avLst/>
              <a:gdLst/>
              <a:ahLst/>
              <a:cxnLst/>
              <a:rect l="l" t="t" r="r" b="b"/>
              <a:pathLst>
                <a:path w="188" h="152" extrusionOk="0">
                  <a:moveTo>
                    <a:pt x="36" y="1"/>
                  </a:moveTo>
                  <a:cubicBezTo>
                    <a:pt x="11" y="12"/>
                    <a:pt x="0" y="34"/>
                    <a:pt x="0" y="45"/>
                  </a:cubicBezTo>
                  <a:cubicBezTo>
                    <a:pt x="0" y="56"/>
                    <a:pt x="11" y="82"/>
                    <a:pt x="22" y="82"/>
                  </a:cubicBezTo>
                  <a:cubicBezTo>
                    <a:pt x="36" y="104"/>
                    <a:pt x="59" y="115"/>
                    <a:pt x="70" y="140"/>
                  </a:cubicBezTo>
                  <a:cubicBezTo>
                    <a:pt x="81" y="152"/>
                    <a:pt x="81" y="152"/>
                    <a:pt x="92" y="152"/>
                  </a:cubicBezTo>
                  <a:lnTo>
                    <a:pt x="106" y="152"/>
                  </a:lnTo>
                  <a:lnTo>
                    <a:pt x="106" y="126"/>
                  </a:lnTo>
                  <a:cubicBezTo>
                    <a:pt x="106" y="115"/>
                    <a:pt x="92" y="115"/>
                    <a:pt x="92" y="115"/>
                  </a:cubicBezTo>
                  <a:lnTo>
                    <a:pt x="92" y="93"/>
                  </a:lnTo>
                  <a:cubicBezTo>
                    <a:pt x="92" y="89"/>
                    <a:pt x="96" y="88"/>
                    <a:pt x="102" y="88"/>
                  </a:cubicBezTo>
                  <a:cubicBezTo>
                    <a:pt x="114" y="88"/>
                    <a:pt x="132" y="93"/>
                    <a:pt x="140" y="93"/>
                  </a:cubicBezTo>
                  <a:cubicBezTo>
                    <a:pt x="146" y="98"/>
                    <a:pt x="151" y="101"/>
                    <a:pt x="155" y="101"/>
                  </a:cubicBezTo>
                  <a:cubicBezTo>
                    <a:pt x="160" y="101"/>
                    <a:pt x="162" y="98"/>
                    <a:pt x="162" y="93"/>
                  </a:cubicBezTo>
                  <a:cubicBezTo>
                    <a:pt x="187" y="56"/>
                    <a:pt x="162" y="23"/>
                    <a:pt x="140" y="12"/>
                  </a:cubicBezTo>
                  <a:lnTo>
                    <a:pt x="106" y="12"/>
                  </a:lnTo>
                  <a:cubicBezTo>
                    <a:pt x="92" y="1"/>
                    <a:pt x="81" y="1"/>
                    <a:pt x="5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2" name="Google Shape;360;p17">
              <a:extLst>
                <a:ext uri="{FF2B5EF4-FFF2-40B4-BE49-F238E27FC236}">
                  <a16:creationId xmlns:a16="http://schemas.microsoft.com/office/drawing/2014/main" xmlns="" id="{B34EEBDA-D481-2491-AE84-42F969CB10D6}"/>
                </a:ext>
              </a:extLst>
            </p:cNvPr>
            <p:cNvSpPr/>
            <p:nvPr/>
          </p:nvSpPr>
          <p:spPr>
            <a:xfrm>
              <a:off x="4027873" y="2974642"/>
              <a:ext cx="51182" cy="45880"/>
            </a:xfrm>
            <a:custGeom>
              <a:avLst/>
              <a:gdLst/>
              <a:ahLst/>
              <a:cxnLst/>
              <a:rect l="l" t="t" r="r" b="b"/>
              <a:pathLst>
                <a:path w="222" h="199" extrusionOk="0">
                  <a:moveTo>
                    <a:pt x="82" y="48"/>
                  </a:moveTo>
                  <a:cubicBezTo>
                    <a:pt x="93" y="48"/>
                    <a:pt x="104" y="48"/>
                    <a:pt x="115" y="59"/>
                  </a:cubicBezTo>
                  <a:lnTo>
                    <a:pt x="152" y="59"/>
                  </a:lnTo>
                  <a:cubicBezTo>
                    <a:pt x="163" y="59"/>
                    <a:pt x="163" y="70"/>
                    <a:pt x="163" y="70"/>
                  </a:cubicBezTo>
                  <a:cubicBezTo>
                    <a:pt x="174" y="81"/>
                    <a:pt x="174" y="81"/>
                    <a:pt x="174" y="95"/>
                  </a:cubicBezTo>
                  <a:lnTo>
                    <a:pt x="104" y="95"/>
                  </a:lnTo>
                  <a:cubicBezTo>
                    <a:pt x="93" y="107"/>
                    <a:pt x="93" y="107"/>
                    <a:pt x="93" y="118"/>
                  </a:cubicBezTo>
                  <a:lnTo>
                    <a:pt x="93" y="132"/>
                  </a:lnTo>
                  <a:lnTo>
                    <a:pt x="93" y="132"/>
                  </a:lnTo>
                  <a:cubicBezTo>
                    <a:pt x="79" y="120"/>
                    <a:pt x="67" y="110"/>
                    <a:pt x="59" y="95"/>
                  </a:cubicBezTo>
                  <a:cubicBezTo>
                    <a:pt x="45" y="81"/>
                    <a:pt x="45" y="81"/>
                    <a:pt x="45" y="70"/>
                  </a:cubicBezTo>
                  <a:cubicBezTo>
                    <a:pt x="45" y="59"/>
                    <a:pt x="59" y="48"/>
                    <a:pt x="59" y="48"/>
                  </a:cubicBezTo>
                  <a:close/>
                  <a:moveTo>
                    <a:pt x="45" y="0"/>
                  </a:moveTo>
                  <a:cubicBezTo>
                    <a:pt x="23" y="12"/>
                    <a:pt x="1" y="37"/>
                    <a:pt x="1" y="70"/>
                  </a:cubicBezTo>
                  <a:cubicBezTo>
                    <a:pt x="1" y="95"/>
                    <a:pt x="12" y="118"/>
                    <a:pt x="23" y="129"/>
                  </a:cubicBezTo>
                  <a:cubicBezTo>
                    <a:pt x="45" y="151"/>
                    <a:pt x="59" y="165"/>
                    <a:pt x="82" y="177"/>
                  </a:cubicBezTo>
                  <a:lnTo>
                    <a:pt x="82" y="188"/>
                  </a:lnTo>
                  <a:cubicBezTo>
                    <a:pt x="93" y="199"/>
                    <a:pt x="93" y="199"/>
                    <a:pt x="104" y="199"/>
                  </a:cubicBezTo>
                  <a:lnTo>
                    <a:pt x="141" y="199"/>
                  </a:lnTo>
                  <a:cubicBezTo>
                    <a:pt x="141" y="188"/>
                    <a:pt x="141" y="188"/>
                    <a:pt x="152" y="177"/>
                  </a:cubicBezTo>
                  <a:lnTo>
                    <a:pt x="152" y="165"/>
                  </a:lnTo>
                  <a:lnTo>
                    <a:pt x="152" y="140"/>
                  </a:lnTo>
                  <a:lnTo>
                    <a:pt x="185" y="140"/>
                  </a:lnTo>
                  <a:cubicBezTo>
                    <a:pt x="199" y="140"/>
                    <a:pt x="210" y="129"/>
                    <a:pt x="210" y="129"/>
                  </a:cubicBezTo>
                  <a:cubicBezTo>
                    <a:pt x="222" y="118"/>
                    <a:pt x="222" y="107"/>
                    <a:pt x="222" y="95"/>
                  </a:cubicBezTo>
                  <a:cubicBezTo>
                    <a:pt x="222" y="70"/>
                    <a:pt x="210" y="59"/>
                    <a:pt x="210" y="48"/>
                  </a:cubicBezTo>
                  <a:cubicBezTo>
                    <a:pt x="199" y="37"/>
                    <a:pt x="185" y="26"/>
                    <a:pt x="174" y="12"/>
                  </a:cubicBezTo>
                  <a:lnTo>
                    <a:pt x="129" y="12"/>
                  </a:lnTo>
                  <a:cubicBezTo>
                    <a:pt x="115" y="0"/>
                    <a:pt x="104" y="0"/>
                    <a:pt x="9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3" name="Google Shape;361;p17">
              <a:extLst>
                <a:ext uri="{FF2B5EF4-FFF2-40B4-BE49-F238E27FC236}">
                  <a16:creationId xmlns:a16="http://schemas.microsoft.com/office/drawing/2014/main" xmlns="" id="{481E51DD-EB73-F75D-9D0A-A336ED63AE0A}"/>
                </a:ext>
              </a:extLst>
            </p:cNvPr>
            <p:cNvSpPr/>
            <p:nvPr/>
          </p:nvSpPr>
          <p:spPr>
            <a:xfrm>
              <a:off x="3936345" y="3023059"/>
              <a:ext cx="27435" cy="38272"/>
            </a:xfrm>
            <a:custGeom>
              <a:avLst/>
              <a:gdLst/>
              <a:ahLst/>
              <a:cxnLst/>
              <a:rect l="l" t="t" r="r" b="b"/>
              <a:pathLst>
                <a:path w="119" h="166" extrusionOk="0">
                  <a:moveTo>
                    <a:pt x="37" y="0"/>
                  </a:moveTo>
                  <a:cubicBezTo>
                    <a:pt x="23" y="0"/>
                    <a:pt x="23" y="11"/>
                    <a:pt x="23" y="25"/>
                  </a:cubicBezTo>
                  <a:lnTo>
                    <a:pt x="23" y="59"/>
                  </a:lnTo>
                  <a:lnTo>
                    <a:pt x="23" y="70"/>
                  </a:lnTo>
                  <a:cubicBezTo>
                    <a:pt x="12" y="81"/>
                    <a:pt x="1" y="95"/>
                    <a:pt x="1" y="106"/>
                  </a:cubicBezTo>
                  <a:cubicBezTo>
                    <a:pt x="1" y="118"/>
                    <a:pt x="12" y="129"/>
                    <a:pt x="23" y="129"/>
                  </a:cubicBezTo>
                  <a:cubicBezTo>
                    <a:pt x="37" y="129"/>
                    <a:pt x="48" y="129"/>
                    <a:pt x="59" y="140"/>
                  </a:cubicBezTo>
                  <a:cubicBezTo>
                    <a:pt x="71" y="140"/>
                    <a:pt x="82" y="151"/>
                    <a:pt x="93" y="151"/>
                  </a:cubicBezTo>
                  <a:cubicBezTo>
                    <a:pt x="93" y="165"/>
                    <a:pt x="107" y="165"/>
                    <a:pt x="118" y="165"/>
                  </a:cubicBezTo>
                  <a:lnTo>
                    <a:pt x="118" y="129"/>
                  </a:lnTo>
                  <a:cubicBezTo>
                    <a:pt x="118" y="118"/>
                    <a:pt x="107" y="118"/>
                    <a:pt x="107" y="106"/>
                  </a:cubicBezTo>
                  <a:cubicBezTo>
                    <a:pt x="82" y="81"/>
                    <a:pt x="71" y="48"/>
                    <a:pt x="48" y="25"/>
                  </a:cubicBezTo>
                  <a:cubicBezTo>
                    <a:pt x="48" y="11"/>
                    <a:pt x="48" y="11"/>
                    <a:pt x="3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4" name="Google Shape;362;p17">
              <a:extLst>
                <a:ext uri="{FF2B5EF4-FFF2-40B4-BE49-F238E27FC236}">
                  <a16:creationId xmlns:a16="http://schemas.microsoft.com/office/drawing/2014/main" xmlns="" id="{601EE53A-3A0E-50EE-E822-2BD7BAAB0710}"/>
                </a:ext>
              </a:extLst>
            </p:cNvPr>
            <p:cNvSpPr/>
            <p:nvPr/>
          </p:nvSpPr>
          <p:spPr>
            <a:xfrm>
              <a:off x="3931272" y="3017756"/>
              <a:ext cx="37580" cy="48647"/>
            </a:xfrm>
            <a:custGeom>
              <a:avLst/>
              <a:gdLst/>
              <a:ahLst/>
              <a:cxnLst/>
              <a:rect l="l" t="t" r="r" b="b"/>
              <a:pathLst>
                <a:path w="163" h="211" extrusionOk="0">
                  <a:moveTo>
                    <a:pt x="70" y="80"/>
                  </a:moveTo>
                  <a:cubicBezTo>
                    <a:pt x="82" y="101"/>
                    <a:pt x="96" y="124"/>
                    <a:pt x="104" y="141"/>
                  </a:cubicBezTo>
                  <a:cubicBezTo>
                    <a:pt x="108" y="144"/>
                    <a:pt x="110" y="147"/>
                    <a:pt x="112" y="149"/>
                  </a:cubicBezTo>
                  <a:lnTo>
                    <a:pt x="112" y="149"/>
                  </a:lnTo>
                  <a:cubicBezTo>
                    <a:pt x="105" y="144"/>
                    <a:pt x="99" y="141"/>
                    <a:pt x="93" y="141"/>
                  </a:cubicBezTo>
                  <a:cubicBezTo>
                    <a:pt x="70" y="129"/>
                    <a:pt x="59" y="129"/>
                    <a:pt x="45" y="129"/>
                  </a:cubicBezTo>
                  <a:lnTo>
                    <a:pt x="70" y="104"/>
                  </a:lnTo>
                  <a:lnTo>
                    <a:pt x="70" y="93"/>
                  </a:lnTo>
                  <a:lnTo>
                    <a:pt x="70" y="82"/>
                  </a:lnTo>
                  <a:lnTo>
                    <a:pt x="70" y="80"/>
                  </a:lnTo>
                  <a:close/>
                  <a:moveTo>
                    <a:pt x="59" y="1"/>
                  </a:moveTo>
                  <a:cubicBezTo>
                    <a:pt x="45" y="1"/>
                    <a:pt x="45" y="12"/>
                    <a:pt x="34" y="12"/>
                  </a:cubicBezTo>
                  <a:lnTo>
                    <a:pt x="23" y="23"/>
                  </a:lnTo>
                  <a:lnTo>
                    <a:pt x="23" y="48"/>
                  </a:lnTo>
                  <a:lnTo>
                    <a:pt x="23" y="71"/>
                  </a:lnTo>
                  <a:lnTo>
                    <a:pt x="23" y="82"/>
                  </a:lnTo>
                  <a:lnTo>
                    <a:pt x="23" y="93"/>
                  </a:lnTo>
                  <a:lnTo>
                    <a:pt x="11" y="93"/>
                  </a:lnTo>
                  <a:cubicBezTo>
                    <a:pt x="11" y="104"/>
                    <a:pt x="0" y="104"/>
                    <a:pt x="0" y="118"/>
                  </a:cubicBezTo>
                  <a:lnTo>
                    <a:pt x="0" y="129"/>
                  </a:lnTo>
                  <a:cubicBezTo>
                    <a:pt x="0" y="141"/>
                    <a:pt x="0" y="152"/>
                    <a:pt x="11" y="163"/>
                  </a:cubicBezTo>
                  <a:cubicBezTo>
                    <a:pt x="23" y="174"/>
                    <a:pt x="34" y="174"/>
                    <a:pt x="45" y="174"/>
                  </a:cubicBezTo>
                  <a:cubicBezTo>
                    <a:pt x="59" y="174"/>
                    <a:pt x="70" y="174"/>
                    <a:pt x="81" y="188"/>
                  </a:cubicBezTo>
                  <a:cubicBezTo>
                    <a:pt x="81" y="188"/>
                    <a:pt x="93" y="188"/>
                    <a:pt x="93" y="199"/>
                  </a:cubicBezTo>
                  <a:cubicBezTo>
                    <a:pt x="104" y="199"/>
                    <a:pt x="115" y="210"/>
                    <a:pt x="140" y="210"/>
                  </a:cubicBezTo>
                  <a:lnTo>
                    <a:pt x="162" y="210"/>
                  </a:lnTo>
                  <a:lnTo>
                    <a:pt x="162" y="188"/>
                  </a:lnTo>
                  <a:lnTo>
                    <a:pt x="162" y="174"/>
                  </a:lnTo>
                  <a:lnTo>
                    <a:pt x="162" y="141"/>
                  </a:lnTo>
                  <a:cubicBezTo>
                    <a:pt x="162" y="141"/>
                    <a:pt x="151" y="129"/>
                    <a:pt x="151" y="118"/>
                  </a:cubicBezTo>
                  <a:cubicBezTo>
                    <a:pt x="129" y="93"/>
                    <a:pt x="115" y="59"/>
                    <a:pt x="93" y="23"/>
                  </a:cubicBezTo>
                  <a:lnTo>
                    <a:pt x="81" y="12"/>
                  </a:lnTo>
                  <a:cubicBezTo>
                    <a:pt x="81" y="12"/>
                    <a:pt x="70" y="12"/>
                    <a:pt x="5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5" name="Google Shape;363;p17">
              <a:extLst>
                <a:ext uri="{FF2B5EF4-FFF2-40B4-BE49-F238E27FC236}">
                  <a16:creationId xmlns:a16="http://schemas.microsoft.com/office/drawing/2014/main" xmlns="" id="{7F61BB87-8E56-84CE-39F9-03E91C16D515}"/>
                </a:ext>
              </a:extLst>
            </p:cNvPr>
            <p:cNvSpPr/>
            <p:nvPr/>
          </p:nvSpPr>
          <p:spPr>
            <a:xfrm>
              <a:off x="3941647" y="3069400"/>
              <a:ext cx="48415" cy="47955"/>
            </a:xfrm>
            <a:custGeom>
              <a:avLst/>
              <a:gdLst/>
              <a:ahLst/>
              <a:cxnLst/>
              <a:rect l="l" t="t" r="r" b="b"/>
              <a:pathLst>
                <a:path w="210" h="208" extrusionOk="0">
                  <a:moveTo>
                    <a:pt x="19" y="0"/>
                  </a:moveTo>
                  <a:cubicBezTo>
                    <a:pt x="13" y="0"/>
                    <a:pt x="7" y="3"/>
                    <a:pt x="0" y="9"/>
                  </a:cubicBezTo>
                  <a:lnTo>
                    <a:pt x="0" y="20"/>
                  </a:lnTo>
                  <a:cubicBezTo>
                    <a:pt x="0" y="45"/>
                    <a:pt x="14" y="56"/>
                    <a:pt x="25" y="68"/>
                  </a:cubicBezTo>
                  <a:cubicBezTo>
                    <a:pt x="36" y="79"/>
                    <a:pt x="36" y="79"/>
                    <a:pt x="48" y="90"/>
                  </a:cubicBezTo>
                  <a:cubicBezTo>
                    <a:pt x="48" y="90"/>
                    <a:pt x="59" y="104"/>
                    <a:pt x="59" y="115"/>
                  </a:cubicBezTo>
                  <a:cubicBezTo>
                    <a:pt x="59" y="115"/>
                    <a:pt x="48" y="126"/>
                    <a:pt x="36" y="137"/>
                  </a:cubicBezTo>
                  <a:cubicBezTo>
                    <a:pt x="25" y="137"/>
                    <a:pt x="25" y="149"/>
                    <a:pt x="14" y="149"/>
                  </a:cubicBezTo>
                  <a:cubicBezTo>
                    <a:pt x="14" y="160"/>
                    <a:pt x="0" y="160"/>
                    <a:pt x="0" y="160"/>
                  </a:cubicBezTo>
                  <a:lnTo>
                    <a:pt x="0" y="174"/>
                  </a:lnTo>
                  <a:lnTo>
                    <a:pt x="0" y="207"/>
                  </a:lnTo>
                  <a:cubicBezTo>
                    <a:pt x="14" y="207"/>
                    <a:pt x="25" y="196"/>
                    <a:pt x="36" y="196"/>
                  </a:cubicBezTo>
                  <a:cubicBezTo>
                    <a:pt x="48" y="185"/>
                    <a:pt x="59" y="174"/>
                    <a:pt x="70" y="174"/>
                  </a:cubicBezTo>
                  <a:cubicBezTo>
                    <a:pt x="84" y="160"/>
                    <a:pt x="95" y="160"/>
                    <a:pt x="106" y="149"/>
                  </a:cubicBezTo>
                  <a:cubicBezTo>
                    <a:pt x="129" y="149"/>
                    <a:pt x="140" y="149"/>
                    <a:pt x="154" y="137"/>
                  </a:cubicBezTo>
                  <a:lnTo>
                    <a:pt x="165" y="126"/>
                  </a:lnTo>
                  <a:lnTo>
                    <a:pt x="165" y="79"/>
                  </a:lnTo>
                  <a:cubicBezTo>
                    <a:pt x="176" y="68"/>
                    <a:pt x="199" y="68"/>
                    <a:pt x="199" y="56"/>
                  </a:cubicBezTo>
                  <a:cubicBezTo>
                    <a:pt x="210" y="45"/>
                    <a:pt x="210" y="34"/>
                    <a:pt x="210" y="20"/>
                  </a:cubicBezTo>
                  <a:lnTo>
                    <a:pt x="199" y="9"/>
                  </a:lnTo>
                  <a:cubicBezTo>
                    <a:pt x="176" y="9"/>
                    <a:pt x="165" y="20"/>
                    <a:pt x="140" y="34"/>
                  </a:cubicBezTo>
                  <a:cubicBezTo>
                    <a:pt x="129" y="34"/>
                    <a:pt x="129" y="45"/>
                    <a:pt x="117" y="45"/>
                  </a:cubicBezTo>
                  <a:cubicBezTo>
                    <a:pt x="106" y="45"/>
                    <a:pt x="84" y="45"/>
                    <a:pt x="84" y="34"/>
                  </a:cubicBezTo>
                  <a:cubicBezTo>
                    <a:pt x="70" y="34"/>
                    <a:pt x="70" y="20"/>
                    <a:pt x="70" y="9"/>
                  </a:cubicBezTo>
                  <a:lnTo>
                    <a:pt x="36" y="9"/>
                  </a:lnTo>
                  <a:cubicBezTo>
                    <a:pt x="31" y="3"/>
                    <a:pt x="25" y="0"/>
                    <a:pt x="1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6" name="Google Shape;364;p17">
              <a:extLst>
                <a:ext uri="{FF2B5EF4-FFF2-40B4-BE49-F238E27FC236}">
                  <a16:creationId xmlns:a16="http://schemas.microsoft.com/office/drawing/2014/main" xmlns="" id="{ABA99711-C170-ECC3-AF5F-6EA0ED351712}"/>
                </a:ext>
              </a:extLst>
            </p:cNvPr>
            <p:cNvSpPr/>
            <p:nvPr/>
          </p:nvSpPr>
          <p:spPr>
            <a:xfrm>
              <a:off x="3936345" y="3063636"/>
              <a:ext cx="59482" cy="58792"/>
            </a:xfrm>
            <a:custGeom>
              <a:avLst/>
              <a:gdLst/>
              <a:ahLst/>
              <a:cxnLst/>
              <a:rect l="l" t="t" r="r" b="b"/>
              <a:pathLst>
                <a:path w="258" h="255" extrusionOk="0">
                  <a:moveTo>
                    <a:pt x="48" y="45"/>
                  </a:moveTo>
                  <a:cubicBezTo>
                    <a:pt x="48" y="45"/>
                    <a:pt x="59" y="45"/>
                    <a:pt x="59" y="59"/>
                  </a:cubicBezTo>
                  <a:lnTo>
                    <a:pt x="71" y="59"/>
                  </a:lnTo>
                  <a:cubicBezTo>
                    <a:pt x="71" y="59"/>
                    <a:pt x="82" y="70"/>
                    <a:pt x="82" y="81"/>
                  </a:cubicBezTo>
                  <a:cubicBezTo>
                    <a:pt x="93" y="93"/>
                    <a:pt x="118" y="93"/>
                    <a:pt x="129" y="93"/>
                  </a:cubicBezTo>
                  <a:lnTo>
                    <a:pt x="140" y="93"/>
                  </a:lnTo>
                  <a:cubicBezTo>
                    <a:pt x="152" y="81"/>
                    <a:pt x="163" y="81"/>
                    <a:pt x="177" y="70"/>
                  </a:cubicBezTo>
                  <a:cubicBezTo>
                    <a:pt x="192" y="70"/>
                    <a:pt x="202" y="65"/>
                    <a:pt x="210" y="62"/>
                  </a:cubicBezTo>
                  <a:lnTo>
                    <a:pt x="210" y="62"/>
                  </a:lnTo>
                  <a:lnTo>
                    <a:pt x="210" y="70"/>
                  </a:lnTo>
                  <a:lnTo>
                    <a:pt x="199" y="70"/>
                  </a:lnTo>
                  <a:cubicBezTo>
                    <a:pt x="188" y="81"/>
                    <a:pt x="177" y="81"/>
                    <a:pt x="177" y="93"/>
                  </a:cubicBezTo>
                  <a:cubicBezTo>
                    <a:pt x="163" y="104"/>
                    <a:pt x="163" y="115"/>
                    <a:pt x="163" y="115"/>
                  </a:cubicBezTo>
                  <a:lnTo>
                    <a:pt x="163" y="129"/>
                  </a:lnTo>
                  <a:lnTo>
                    <a:pt x="163" y="140"/>
                  </a:lnTo>
                  <a:cubicBezTo>
                    <a:pt x="152" y="151"/>
                    <a:pt x="140" y="151"/>
                    <a:pt x="129" y="162"/>
                  </a:cubicBezTo>
                  <a:cubicBezTo>
                    <a:pt x="118" y="162"/>
                    <a:pt x="107" y="162"/>
                    <a:pt x="82" y="174"/>
                  </a:cubicBezTo>
                  <a:cubicBezTo>
                    <a:pt x="78" y="174"/>
                    <a:pt x="74" y="175"/>
                    <a:pt x="70" y="177"/>
                  </a:cubicBezTo>
                  <a:lnTo>
                    <a:pt x="70" y="177"/>
                  </a:lnTo>
                  <a:cubicBezTo>
                    <a:pt x="70" y="176"/>
                    <a:pt x="71" y="175"/>
                    <a:pt x="71" y="174"/>
                  </a:cubicBezTo>
                  <a:cubicBezTo>
                    <a:pt x="82" y="174"/>
                    <a:pt x="82" y="174"/>
                    <a:pt x="93" y="162"/>
                  </a:cubicBezTo>
                  <a:cubicBezTo>
                    <a:pt x="93" y="162"/>
                    <a:pt x="107" y="151"/>
                    <a:pt x="107" y="140"/>
                  </a:cubicBezTo>
                  <a:lnTo>
                    <a:pt x="107" y="129"/>
                  </a:lnTo>
                  <a:cubicBezTo>
                    <a:pt x="107" y="115"/>
                    <a:pt x="93" y="104"/>
                    <a:pt x="82" y="93"/>
                  </a:cubicBezTo>
                  <a:cubicBezTo>
                    <a:pt x="71" y="93"/>
                    <a:pt x="71" y="81"/>
                    <a:pt x="59" y="81"/>
                  </a:cubicBezTo>
                  <a:cubicBezTo>
                    <a:pt x="48" y="70"/>
                    <a:pt x="48" y="59"/>
                    <a:pt x="48" y="45"/>
                  </a:cubicBezTo>
                  <a:close/>
                  <a:moveTo>
                    <a:pt x="48" y="0"/>
                  </a:moveTo>
                  <a:cubicBezTo>
                    <a:pt x="37" y="0"/>
                    <a:pt x="23" y="11"/>
                    <a:pt x="12" y="11"/>
                  </a:cubicBezTo>
                  <a:lnTo>
                    <a:pt x="1" y="23"/>
                  </a:lnTo>
                  <a:lnTo>
                    <a:pt x="1" y="34"/>
                  </a:lnTo>
                  <a:lnTo>
                    <a:pt x="1" y="45"/>
                  </a:lnTo>
                  <a:cubicBezTo>
                    <a:pt x="1" y="70"/>
                    <a:pt x="12" y="93"/>
                    <a:pt x="37" y="115"/>
                  </a:cubicBezTo>
                  <a:lnTo>
                    <a:pt x="48" y="129"/>
                  </a:lnTo>
                  <a:lnTo>
                    <a:pt x="59" y="129"/>
                  </a:lnTo>
                  <a:lnTo>
                    <a:pt x="48" y="140"/>
                  </a:lnTo>
                  <a:cubicBezTo>
                    <a:pt x="37" y="151"/>
                    <a:pt x="23" y="151"/>
                    <a:pt x="23" y="162"/>
                  </a:cubicBezTo>
                  <a:cubicBezTo>
                    <a:pt x="23" y="162"/>
                    <a:pt x="12" y="162"/>
                    <a:pt x="1" y="185"/>
                  </a:cubicBezTo>
                  <a:lnTo>
                    <a:pt x="1" y="199"/>
                  </a:lnTo>
                  <a:lnTo>
                    <a:pt x="1" y="232"/>
                  </a:lnTo>
                  <a:lnTo>
                    <a:pt x="1" y="244"/>
                  </a:lnTo>
                  <a:lnTo>
                    <a:pt x="23" y="255"/>
                  </a:lnTo>
                  <a:lnTo>
                    <a:pt x="37" y="255"/>
                  </a:lnTo>
                  <a:cubicBezTo>
                    <a:pt x="48" y="255"/>
                    <a:pt x="71" y="244"/>
                    <a:pt x="82" y="232"/>
                  </a:cubicBezTo>
                  <a:cubicBezTo>
                    <a:pt x="93" y="221"/>
                    <a:pt x="93" y="221"/>
                    <a:pt x="107" y="210"/>
                  </a:cubicBezTo>
                  <a:cubicBezTo>
                    <a:pt x="118" y="210"/>
                    <a:pt x="129" y="210"/>
                    <a:pt x="140" y="199"/>
                  </a:cubicBezTo>
                  <a:cubicBezTo>
                    <a:pt x="152" y="199"/>
                    <a:pt x="177" y="185"/>
                    <a:pt x="188" y="185"/>
                  </a:cubicBezTo>
                  <a:cubicBezTo>
                    <a:pt x="188" y="174"/>
                    <a:pt x="199" y="174"/>
                    <a:pt x="210" y="151"/>
                  </a:cubicBezTo>
                  <a:lnTo>
                    <a:pt x="210" y="129"/>
                  </a:lnTo>
                  <a:lnTo>
                    <a:pt x="210" y="115"/>
                  </a:lnTo>
                  <a:cubicBezTo>
                    <a:pt x="210" y="115"/>
                    <a:pt x="222" y="115"/>
                    <a:pt x="222" y="104"/>
                  </a:cubicBezTo>
                  <a:cubicBezTo>
                    <a:pt x="233" y="104"/>
                    <a:pt x="233" y="104"/>
                    <a:pt x="247" y="93"/>
                  </a:cubicBezTo>
                  <a:cubicBezTo>
                    <a:pt x="258" y="81"/>
                    <a:pt x="258" y="70"/>
                    <a:pt x="258" y="59"/>
                  </a:cubicBezTo>
                  <a:lnTo>
                    <a:pt x="258" y="45"/>
                  </a:lnTo>
                  <a:lnTo>
                    <a:pt x="258" y="34"/>
                  </a:lnTo>
                  <a:lnTo>
                    <a:pt x="247" y="23"/>
                  </a:lnTo>
                  <a:lnTo>
                    <a:pt x="247" y="11"/>
                  </a:lnTo>
                  <a:lnTo>
                    <a:pt x="222" y="11"/>
                  </a:lnTo>
                  <a:cubicBezTo>
                    <a:pt x="199" y="11"/>
                    <a:pt x="177" y="23"/>
                    <a:pt x="152" y="34"/>
                  </a:cubicBezTo>
                  <a:cubicBezTo>
                    <a:pt x="140" y="34"/>
                    <a:pt x="140" y="45"/>
                    <a:pt x="129" y="45"/>
                  </a:cubicBezTo>
                  <a:lnTo>
                    <a:pt x="118" y="45"/>
                  </a:lnTo>
                  <a:lnTo>
                    <a:pt x="118" y="34"/>
                  </a:lnTo>
                  <a:lnTo>
                    <a:pt x="107" y="23"/>
                  </a:lnTo>
                  <a:cubicBezTo>
                    <a:pt x="93" y="11"/>
                    <a:pt x="71" y="11"/>
                    <a:pt x="71" y="11"/>
                  </a:cubicBezTo>
                  <a:cubicBezTo>
                    <a:pt x="59" y="11"/>
                    <a:pt x="48" y="0"/>
                    <a:pt x="4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7" name="Google Shape;365;p17">
              <a:extLst>
                <a:ext uri="{FF2B5EF4-FFF2-40B4-BE49-F238E27FC236}">
                  <a16:creationId xmlns:a16="http://schemas.microsoft.com/office/drawing/2014/main" xmlns="" id="{F73DCFDC-C174-EEA3-E21D-8F5C828101FC}"/>
                </a:ext>
              </a:extLst>
            </p:cNvPr>
            <p:cNvSpPr/>
            <p:nvPr/>
          </p:nvSpPr>
          <p:spPr>
            <a:xfrm>
              <a:off x="3860954" y="3044961"/>
              <a:ext cx="38271" cy="53719"/>
            </a:xfrm>
            <a:custGeom>
              <a:avLst/>
              <a:gdLst/>
              <a:ahLst/>
              <a:cxnLst/>
              <a:rect l="l" t="t" r="r" b="b"/>
              <a:pathLst>
                <a:path w="166" h="233" extrusionOk="0">
                  <a:moveTo>
                    <a:pt x="26" y="0"/>
                  </a:moveTo>
                  <a:cubicBezTo>
                    <a:pt x="15" y="11"/>
                    <a:pt x="15" y="23"/>
                    <a:pt x="15" y="34"/>
                  </a:cubicBezTo>
                  <a:cubicBezTo>
                    <a:pt x="1" y="45"/>
                    <a:pt x="15" y="56"/>
                    <a:pt x="15" y="70"/>
                  </a:cubicBezTo>
                  <a:cubicBezTo>
                    <a:pt x="26" y="70"/>
                    <a:pt x="37" y="70"/>
                    <a:pt x="37" y="81"/>
                  </a:cubicBezTo>
                  <a:cubicBezTo>
                    <a:pt x="48" y="92"/>
                    <a:pt x="48" y="104"/>
                    <a:pt x="37" y="115"/>
                  </a:cubicBezTo>
                  <a:cubicBezTo>
                    <a:pt x="37" y="115"/>
                    <a:pt x="26" y="115"/>
                    <a:pt x="26" y="126"/>
                  </a:cubicBezTo>
                  <a:cubicBezTo>
                    <a:pt x="15" y="140"/>
                    <a:pt x="15" y="151"/>
                    <a:pt x="1" y="174"/>
                  </a:cubicBezTo>
                  <a:cubicBezTo>
                    <a:pt x="1" y="185"/>
                    <a:pt x="1" y="196"/>
                    <a:pt x="15" y="210"/>
                  </a:cubicBezTo>
                  <a:cubicBezTo>
                    <a:pt x="15" y="232"/>
                    <a:pt x="37" y="232"/>
                    <a:pt x="59" y="232"/>
                  </a:cubicBezTo>
                  <a:lnTo>
                    <a:pt x="84" y="232"/>
                  </a:lnTo>
                  <a:cubicBezTo>
                    <a:pt x="84" y="232"/>
                    <a:pt x="96" y="232"/>
                    <a:pt x="96" y="221"/>
                  </a:cubicBezTo>
                  <a:cubicBezTo>
                    <a:pt x="107" y="210"/>
                    <a:pt x="118" y="174"/>
                    <a:pt x="107" y="151"/>
                  </a:cubicBezTo>
                  <a:cubicBezTo>
                    <a:pt x="107" y="151"/>
                    <a:pt x="96" y="140"/>
                    <a:pt x="96" y="126"/>
                  </a:cubicBezTo>
                  <a:cubicBezTo>
                    <a:pt x="84" y="126"/>
                    <a:pt x="84" y="115"/>
                    <a:pt x="84" y="104"/>
                  </a:cubicBezTo>
                  <a:cubicBezTo>
                    <a:pt x="96" y="92"/>
                    <a:pt x="96" y="92"/>
                    <a:pt x="107" y="92"/>
                  </a:cubicBezTo>
                  <a:cubicBezTo>
                    <a:pt x="118" y="104"/>
                    <a:pt x="118" y="115"/>
                    <a:pt x="129" y="140"/>
                  </a:cubicBezTo>
                  <a:lnTo>
                    <a:pt x="140" y="140"/>
                  </a:lnTo>
                  <a:cubicBezTo>
                    <a:pt x="165" y="126"/>
                    <a:pt x="165" y="104"/>
                    <a:pt x="154" y="81"/>
                  </a:cubicBezTo>
                  <a:cubicBezTo>
                    <a:pt x="154" y="56"/>
                    <a:pt x="140" y="34"/>
                    <a:pt x="118" y="11"/>
                  </a:cubicBezTo>
                  <a:cubicBezTo>
                    <a:pt x="96" y="0"/>
                    <a:pt x="70" y="0"/>
                    <a:pt x="4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8" name="Google Shape;366;p17">
              <a:extLst>
                <a:ext uri="{FF2B5EF4-FFF2-40B4-BE49-F238E27FC236}">
                  <a16:creationId xmlns:a16="http://schemas.microsoft.com/office/drawing/2014/main" xmlns="" id="{7FCFC1FE-AEAD-A584-226A-EAEC7DE068E4}"/>
                </a:ext>
              </a:extLst>
            </p:cNvPr>
            <p:cNvSpPr/>
            <p:nvPr/>
          </p:nvSpPr>
          <p:spPr>
            <a:xfrm>
              <a:off x="3855882" y="3039197"/>
              <a:ext cx="48415" cy="64555"/>
            </a:xfrm>
            <a:custGeom>
              <a:avLst/>
              <a:gdLst/>
              <a:ahLst/>
              <a:cxnLst/>
              <a:rect l="l" t="t" r="r" b="b"/>
              <a:pathLst>
                <a:path w="210" h="280" extrusionOk="0">
                  <a:moveTo>
                    <a:pt x="81" y="48"/>
                  </a:moveTo>
                  <a:cubicBezTo>
                    <a:pt x="92" y="48"/>
                    <a:pt x="118" y="48"/>
                    <a:pt x="129" y="59"/>
                  </a:cubicBezTo>
                  <a:cubicBezTo>
                    <a:pt x="140" y="70"/>
                    <a:pt x="151" y="95"/>
                    <a:pt x="162" y="106"/>
                  </a:cubicBezTo>
                  <a:lnTo>
                    <a:pt x="162" y="117"/>
                  </a:lnTo>
                  <a:cubicBezTo>
                    <a:pt x="162" y="119"/>
                    <a:pt x="162" y="121"/>
                    <a:pt x="162" y="122"/>
                  </a:cubicBezTo>
                  <a:lnTo>
                    <a:pt x="162" y="122"/>
                  </a:lnTo>
                  <a:cubicBezTo>
                    <a:pt x="159" y="116"/>
                    <a:pt x="156" y="111"/>
                    <a:pt x="151" y="106"/>
                  </a:cubicBezTo>
                  <a:lnTo>
                    <a:pt x="140" y="95"/>
                  </a:lnTo>
                  <a:lnTo>
                    <a:pt x="129" y="95"/>
                  </a:lnTo>
                  <a:cubicBezTo>
                    <a:pt x="118" y="95"/>
                    <a:pt x="106" y="95"/>
                    <a:pt x="106" y="106"/>
                  </a:cubicBezTo>
                  <a:cubicBezTo>
                    <a:pt x="99" y="106"/>
                    <a:pt x="95" y="110"/>
                    <a:pt x="92" y="113"/>
                  </a:cubicBezTo>
                  <a:lnTo>
                    <a:pt x="92" y="113"/>
                  </a:lnTo>
                  <a:cubicBezTo>
                    <a:pt x="91" y="109"/>
                    <a:pt x="88" y="102"/>
                    <a:pt x="81" y="95"/>
                  </a:cubicBezTo>
                  <a:cubicBezTo>
                    <a:pt x="70" y="81"/>
                    <a:pt x="70" y="81"/>
                    <a:pt x="59" y="81"/>
                  </a:cubicBezTo>
                  <a:lnTo>
                    <a:pt x="59" y="70"/>
                  </a:lnTo>
                  <a:lnTo>
                    <a:pt x="59" y="59"/>
                  </a:lnTo>
                  <a:lnTo>
                    <a:pt x="59" y="48"/>
                  </a:lnTo>
                  <a:close/>
                  <a:moveTo>
                    <a:pt x="83" y="149"/>
                  </a:moveTo>
                  <a:cubicBezTo>
                    <a:pt x="86" y="157"/>
                    <a:pt x="92" y="165"/>
                    <a:pt x="92" y="165"/>
                  </a:cubicBezTo>
                  <a:cubicBezTo>
                    <a:pt x="92" y="176"/>
                    <a:pt x="106" y="187"/>
                    <a:pt x="106" y="187"/>
                  </a:cubicBezTo>
                  <a:lnTo>
                    <a:pt x="106" y="210"/>
                  </a:lnTo>
                  <a:lnTo>
                    <a:pt x="106" y="235"/>
                  </a:lnTo>
                  <a:lnTo>
                    <a:pt x="59" y="235"/>
                  </a:lnTo>
                  <a:cubicBezTo>
                    <a:pt x="59" y="235"/>
                    <a:pt x="59" y="221"/>
                    <a:pt x="48" y="221"/>
                  </a:cubicBezTo>
                  <a:lnTo>
                    <a:pt x="48" y="210"/>
                  </a:lnTo>
                  <a:lnTo>
                    <a:pt x="48" y="199"/>
                  </a:lnTo>
                  <a:cubicBezTo>
                    <a:pt x="48" y="187"/>
                    <a:pt x="59" y="187"/>
                    <a:pt x="59" y="176"/>
                  </a:cubicBezTo>
                  <a:lnTo>
                    <a:pt x="59" y="165"/>
                  </a:lnTo>
                  <a:cubicBezTo>
                    <a:pt x="59" y="165"/>
                    <a:pt x="70" y="165"/>
                    <a:pt x="81" y="151"/>
                  </a:cubicBezTo>
                  <a:cubicBezTo>
                    <a:pt x="82" y="150"/>
                    <a:pt x="83" y="150"/>
                    <a:pt x="83" y="149"/>
                  </a:cubicBezTo>
                  <a:close/>
                  <a:moveTo>
                    <a:pt x="70" y="0"/>
                  </a:moveTo>
                  <a:cubicBezTo>
                    <a:pt x="59" y="0"/>
                    <a:pt x="48" y="0"/>
                    <a:pt x="23" y="11"/>
                  </a:cubicBezTo>
                  <a:cubicBezTo>
                    <a:pt x="11" y="25"/>
                    <a:pt x="11" y="48"/>
                    <a:pt x="11" y="59"/>
                  </a:cubicBezTo>
                  <a:lnTo>
                    <a:pt x="11" y="70"/>
                  </a:lnTo>
                  <a:cubicBezTo>
                    <a:pt x="11" y="81"/>
                    <a:pt x="11" y="95"/>
                    <a:pt x="23" y="106"/>
                  </a:cubicBezTo>
                  <a:cubicBezTo>
                    <a:pt x="23" y="117"/>
                    <a:pt x="37" y="117"/>
                    <a:pt x="37" y="117"/>
                  </a:cubicBezTo>
                  <a:lnTo>
                    <a:pt x="48" y="117"/>
                  </a:lnTo>
                  <a:lnTo>
                    <a:pt x="48" y="129"/>
                  </a:lnTo>
                  <a:lnTo>
                    <a:pt x="37" y="129"/>
                  </a:lnTo>
                  <a:cubicBezTo>
                    <a:pt x="23" y="140"/>
                    <a:pt x="11" y="151"/>
                    <a:pt x="11" y="165"/>
                  </a:cubicBezTo>
                  <a:cubicBezTo>
                    <a:pt x="11" y="176"/>
                    <a:pt x="0" y="187"/>
                    <a:pt x="0" y="199"/>
                  </a:cubicBezTo>
                  <a:lnTo>
                    <a:pt x="0" y="210"/>
                  </a:lnTo>
                  <a:cubicBezTo>
                    <a:pt x="0" y="221"/>
                    <a:pt x="0" y="235"/>
                    <a:pt x="11" y="246"/>
                  </a:cubicBezTo>
                  <a:cubicBezTo>
                    <a:pt x="11" y="257"/>
                    <a:pt x="23" y="268"/>
                    <a:pt x="37" y="280"/>
                  </a:cubicBezTo>
                  <a:lnTo>
                    <a:pt x="118" y="280"/>
                  </a:lnTo>
                  <a:cubicBezTo>
                    <a:pt x="129" y="268"/>
                    <a:pt x="129" y="268"/>
                    <a:pt x="140" y="257"/>
                  </a:cubicBezTo>
                  <a:cubicBezTo>
                    <a:pt x="151" y="246"/>
                    <a:pt x="151" y="221"/>
                    <a:pt x="151" y="210"/>
                  </a:cubicBezTo>
                  <a:lnTo>
                    <a:pt x="151" y="187"/>
                  </a:lnTo>
                  <a:lnTo>
                    <a:pt x="176" y="187"/>
                  </a:lnTo>
                  <a:lnTo>
                    <a:pt x="176" y="176"/>
                  </a:lnTo>
                  <a:cubicBezTo>
                    <a:pt x="199" y="165"/>
                    <a:pt x="210" y="140"/>
                    <a:pt x="210" y="117"/>
                  </a:cubicBezTo>
                  <a:cubicBezTo>
                    <a:pt x="210" y="117"/>
                    <a:pt x="210" y="106"/>
                    <a:pt x="199" y="95"/>
                  </a:cubicBezTo>
                  <a:cubicBezTo>
                    <a:pt x="199" y="70"/>
                    <a:pt x="176" y="36"/>
                    <a:pt x="151" y="25"/>
                  </a:cubicBezTo>
                  <a:cubicBezTo>
                    <a:pt x="129" y="0"/>
                    <a:pt x="106" y="0"/>
                    <a:pt x="8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9" name="Google Shape;367;p17">
              <a:extLst>
                <a:ext uri="{FF2B5EF4-FFF2-40B4-BE49-F238E27FC236}">
                  <a16:creationId xmlns:a16="http://schemas.microsoft.com/office/drawing/2014/main" xmlns="" id="{FA67491B-7A2A-087E-0401-3524AE632F14}"/>
                </a:ext>
              </a:extLst>
            </p:cNvPr>
            <p:cNvSpPr/>
            <p:nvPr/>
          </p:nvSpPr>
          <p:spPr>
            <a:xfrm>
              <a:off x="3839744" y="3025595"/>
              <a:ext cx="13602" cy="11067"/>
            </a:xfrm>
            <a:custGeom>
              <a:avLst/>
              <a:gdLst/>
              <a:ahLst/>
              <a:cxnLst/>
              <a:rect l="l" t="t" r="r" b="b"/>
              <a:pathLst>
                <a:path w="59" h="48" extrusionOk="0">
                  <a:moveTo>
                    <a:pt x="11" y="0"/>
                  </a:moveTo>
                  <a:lnTo>
                    <a:pt x="0" y="14"/>
                  </a:lnTo>
                  <a:cubicBezTo>
                    <a:pt x="0" y="25"/>
                    <a:pt x="0" y="25"/>
                    <a:pt x="11" y="37"/>
                  </a:cubicBezTo>
                  <a:lnTo>
                    <a:pt x="23" y="48"/>
                  </a:lnTo>
                  <a:lnTo>
                    <a:pt x="48" y="48"/>
                  </a:lnTo>
                  <a:cubicBezTo>
                    <a:pt x="59" y="37"/>
                    <a:pt x="59" y="25"/>
                    <a:pt x="59" y="14"/>
                  </a:cubicBezTo>
                  <a:cubicBezTo>
                    <a:pt x="48" y="14"/>
                    <a:pt x="37" y="0"/>
                    <a:pt x="1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0" name="Google Shape;368;p17">
              <a:extLst>
                <a:ext uri="{FF2B5EF4-FFF2-40B4-BE49-F238E27FC236}">
                  <a16:creationId xmlns:a16="http://schemas.microsoft.com/office/drawing/2014/main" xmlns="" id="{CBF9A079-6C16-2BC0-5A47-AB65BEA671B1}"/>
                </a:ext>
              </a:extLst>
            </p:cNvPr>
            <p:cNvSpPr/>
            <p:nvPr/>
          </p:nvSpPr>
          <p:spPr>
            <a:xfrm>
              <a:off x="3834441" y="3020292"/>
              <a:ext cx="24208" cy="21672"/>
            </a:xfrm>
            <a:custGeom>
              <a:avLst/>
              <a:gdLst/>
              <a:ahLst/>
              <a:cxnLst/>
              <a:rect l="l" t="t" r="r" b="b"/>
              <a:pathLst>
                <a:path w="105" h="94" extrusionOk="0">
                  <a:moveTo>
                    <a:pt x="34" y="1"/>
                  </a:moveTo>
                  <a:lnTo>
                    <a:pt x="23" y="12"/>
                  </a:lnTo>
                  <a:lnTo>
                    <a:pt x="12" y="12"/>
                  </a:lnTo>
                  <a:lnTo>
                    <a:pt x="12" y="23"/>
                  </a:lnTo>
                  <a:lnTo>
                    <a:pt x="1" y="23"/>
                  </a:lnTo>
                  <a:lnTo>
                    <a:pt x="1" y="37"/>
                  </a:lnTo>
                  <a:lnTo>
                    <a:pt x="1" y="48"/>
                  </a:lnTo>
                  <a:cubicBezTo>
                    <a:pt x="1" y="60"/>
                    <a:pt x="1" y="71"/>
                    <a:pt x="12" y="71"/>
                  </a:cubicBezTo>
                  <a:cubicBezTo>
                    <a:pt x="23" y="82"/>
                    <a:pt x="34" y="82"/>
                    <a:pt x="46" y="93"/>
                  </a:cubicBezTo>
                  <a:lnTo>
                    <a:pt x="82" y="93"/>
                  </a:lnTo>
                  <a:lnTo>
                    <a:pt x="93" y="82"/>
                  </a:lnTo>
                  <a:cubicBezTo>
                    <a:pt x="93" y="71"/>
                    <a:pt x="104" y="60"/>
                    <a:pt x="104" y="48"/>
                  </a:cubicBezTo>
                  <a:lnTo>
                    <a:pt x="104" y="37"/>
                  </a:lnTo>
                  <a:lnTo>
                    <a:pt x="104" y="23"/>
                  </a:lnTo>
                  <a:lnTo>
                    <a:pt x="93" y="23"/>
                  </a:lnTo>
                  <a:cubicBezTo>
                    <a:pt x="82" y="12"/>
                    <a:pt x="60" y="1"/>
                    <a:pt x="3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1" name="Google Shape;369;p17">
              <a:extLst>
                <a:ext uri="{FF2B5EF4-FFF2-40B4-BE49-F238E27FC236}">
                  <a16:creationId xmlns:a16="http://schemas.microsoft.com/office/drawing/2014/main" xmlns="" id="{8976351B-2DE3-8720-1C24-0DF41CC19F48}"/>
                </a:ext>
              </a:extLst>
            </p:cNvPr>
            <p:cNvSpPr/>
            <p:nvPr/>
          </p:nvSpPr>
          <p:spPr>
            <a:xfrm>
              <a:off x="1833486" y="881215"/>
              <a:ext cx="1112173" cy="818240"/>
            </a:xfrm>
            <a:custGeom>
              <a:avLst/>
              <a:gdLst/>
              <a:ahLst/>
              <a:cxnLst/>
              <a:rect l="l" t="t" r="r" b="b"/>
              <a:pathLst>
                <a:path w="4824" h="3549" extrusionOk="0">
                  <a:moveTo>
                    <a:pt x="3138" y="1"/>
                  </a:moveTo>
                  <a:cubicBezTo>
                    <a:pt x="3133" y="1"/>
                    <a:pt x="3128" y="2"/>
                    <a:pt x="3121" y="4"/>
                  </a:cubicBezTo>
                  <a:cubicBezTo>
                    <a:pt x="3087" y="4"/>
                    <a:pt x="3051" y="40"/>
                    <a:pt x="3029" y="40"/>
                  </a:cubicBezTo>
                  <a:cubicBezTo>
                    <a:pt x="3022" y="42"/>
                    <a:pt x="3016" y="43"/>
                    <a:pt x="3010" y="43"/>
                  </a:cubicBezTo>
                  <a:cubicBezTo>
                    <a:pt x="2988" y="43"/>
                    <a:pt x="2977" y="27"/>
                    <a:pt x="2959" y="18"/>
                  </a:cubicBezTo>
                  <a:cubicBezTo>
                    <a:pt x="2936" y="18"/>
                    <a:pt x="2819" y="29"/>
                    <a:pt x="2797" y="51"/>
                  </a:cubicBezTo>
                  <a:cubicBezTo>
                    <a:pt x="2760" y="63"/>
                    <a:pt x="2727" y="132"/>
                    <a:pt x="2713" y="144"/>
                  </a:cubicBezTo>
                  <a:cubicBezTo>
                    <a:pt x="2713" y="169"/>
                    <a:pt x="2657" y="180"/>
                    <a:pt x="2620" y="180"/>
                  </a:cubicBezTo>
                  <a:cubicBezTo>
                    <a:pt x="2582" y="180"/>
                    <a:pt x="2560" y="194"/>
                    <a:pt x="2542" y="194"/>
                  </a:cubicBezTo>
                  <a:cubicBezTo>
                    <a:pt x="2537" y="194"/>
                    <a:pt x="2533" y="193"/>
                    <a:pt x="2528" y="191"/>
                  </a:cubicBezTo>
                  <a:cubicBezTo>
                    <a:pt x="2492" y="191"/>
                    <a:pt x="2528" y="180"/>
                    <a:pt x="2458" y="180"/>
                  </a:cubicBezTo>
                  <a:cubicBezTo>
                    <a:pt x="2419" y="180"/>
                    <a:pt x="2411" y="185"/>
                    <a:pt x="2393" y="185"/>
                  </a:cubicBezTo>
                  <a:cubicBezTo>
                    <a:pt x="2383" y="185"/>
                    <a:pt x="2372" y="184"/>
                    <a:pt x="2352" y="180"/>
                  </a:cubicBezTo>
                  <a:cubicBezTo>
                    <a:pt x="2307" y="158"/>
                    <a:pt x="2293" y="144"/>
                    <a:pt x="2237" y="144"/>
                  </a:cubicBezTo>
                  <a:cubicBezTo>
                    <a:pt x="2167" y="144"/>
                    <a:pt x="2072" y="158"/>
                    <a:pt x="2050" y="158"/>
                  </a:cubicBezTo>
                  <a:cubicBezTo>
                    <a:pt x="2042" y="153"/>
                    <a:pt x="2033" y="152"/>
                    <a:pt x="2024" y="152"/>
                  </a:cubicBezTo>
                  <a:cubicBezTo>
                    <a:pt x="1977" y="152"/>
                    <a:pt x="1918" y="197"/>
                    <a:pt x="1899" y="228"/>
                  </a:cubicBezTo>
                  <a:cubicBezTo>
                    <a:pt x="1874" y="261"/>
                    <a:pt x="1863" y="297"/>
                    <a:pt x="1863" y="331"/>
                  </a:cubicBezTo>
                  <a:cubicBezTo>
                    <a:pt x="1863" y="367"/>
                    <a:pt x="1874" y="401"/>
                    <a:pt x="1874" y="437"/>
                  </a:cubicBezTo>
                  <a:cubicBezTo>
                    <a:pt x="1888" y="493"/>
                    <a:pt x="1874" y="577"/>
                    <a:pt x="1829" y="622"/>
                  </a:cubicBezTo>
                  <a:cubicBezTo>
                    <a:pt x="1818" y="622"/>
                    <a:pt x="1818" y="633"/>
                    <a:pt x="1818" y="633"/>
                  </a:cubicBezTo>
                  <a:cubicBezTo>
                    <a:pt x="1813" y="636"/>
                    <a:pt x="1808" y="637"/>
                    <a:pt x="1804" y="637"/>
                  </a:cubicBezTo>
                  <a:cubicBezTo>
                    <a:pt x="1788" y="637"/>
                    <a:pt x="1779" y="619"/>
                    <a:pt x="1770" y="611"/>
                  </a:cubicBezTo>
                  <a:cubicBezTo>
                    <a:pt x="1770" y="588"/>
                    <a:pt x="1770" y="563"/>
                    <a:pt x="1759" y="552"/>
                  </a:cubicBezTo>
                  <a:cubicBezTo>
                    <a:pt x="1749" y="547"/>
                    <a:pt x="1737" y="545"/>
                    <a:pt x="1725" y="545"/>
                  </a:cubicBezTo>
                  <a:cubicBezTo>
                    <a:pt x="1708" y="545"/>
                    <a:pt x="1691" y="550"/>
                    <a:pt x="1678" y="563"/>
                  </a:cubicBezTo>
                  <a:cubicBezTo>
                    <a:pt x="1664" y="577"/>
                    <a:pt x="1653" y="611"/>
                    <a:pt x="1642" y="633"/>
                  </a:cubicBezTo>
                  <a:cubicBezTo>
                    <a:pt x="1631" y="658"/>
                    <a:pt x="1608" y="681"/>
                    <a:pt x="1583" y="681"/>
                  </a:cubicBezTo>
                  <a:cubicBezTo>
                    <a:pt x="1578" y="682"/>
                    <a:pt x="1573" y="682"/>
                    <a:pt x="1568" y="682"/>
                  </a:cubicBezTo>
                  <a:cubicBezTo>
                    <a:pt x="1533" y="682"/>
                    <a:pt x="1497" y="656"/>
                    <a:pt x="1467" y="656"/>
                  </a:cubicBezTo>
                  <a:cubicBezTo>
                    <a:pt x="1463" y="656"/>
                    <a:pt x="1459" y="657"/>
                    <a:pt x="1454" y="658"/>
                  </a:cubicBezTo>
                  <a:cubicBezTo>
                    <a:pt x="1432" y="658"/>
                    <a:pt x="1432" y="669"/>
                    <a:pt x="1410" y="681"/>
                  </a:cubicBezTo>
                  <a:cubicBezTo>
                    <a:pt x="1399" y="685"/>
                    <a:pt x="1389" y="688"/>
                    <a:pt x="1380" y="688"/>
                  </a:cubicBezTo>
                  <a:cubicBezTo>
                    <a:pt x="1366" y="688"/>
                    <a:pt x="1353" y="682"/>
                    <a:pt x="1340" y="669"/>
                  </a:cubicBezTo>
                  <a:cubicBezTo>
                    <a:pt x="1329" y="658"/>
                    <a:pt x="1315" y="647"/>
                    <a:pt x="1303" y="633"/>
                  </a:cubicBezTo>
                  <a:cubicBezTo>
                    <a:pt x="1298" y="627"/>
                    <a:pt x="1287" y="625"/>
                    <a:pt x="1274" y="625"/>
                  </a:cubicBezTo>
                  <a:cubicBezTo>
                    <a:pt x="1261" y="625"/>
                    <a:pt x="1246" y="627"/>
                    <a:pt x="1234" y="633"/>
                  </a:cubicBezTo>
                  <a:cubicBezTo>
                    <a:pt x="1215" y="644"/>
                    <a:pt x="1197" y="661"/>
                    <a:pt x="1172" y="661"/>
                  </a:cubicBezTo>
                  <a:cubicBezTo>
                    <a:pt x="1166" y="661"/>
                    <a:pt x="1159" y="660"/>
                    <a:pt x="1152" y="658"/>
                  </a:cubicBezTo>
                  <a:cubicBezTo>
                    <a:pt x="1164" y="647"/>
                    <a:pt x="1152" y="622"/>
                    <a:pt x="1130" y="611"/>
                  </a:cubicBezTo>
                  <a:cubicBezTo>
                    <a:pt x="1105" y="611"/>
                    <a:pt x="1083" y="611"/>
                    <a:pt x="1071" y="588"/>
                  </a:cubicBezTo>
                  <a:cubicBezTo>
                    <a:pt x="1060" y="588"/>
                    <a:pt x="1060" y="577"/>
                    <a:pt x="1060" y="563"/>
                  </a:cubicBezTo>
                  <a:cubicBezTo>
                    <a:pt x="1035" y="530"/>
                    <a:pt x="1001" y="518"/>
                    <a:pt x="965" y="518"/>
                  </a:cubicBezTo>
                  <a:cubicBezTo>
                    <a:pt x="943" y="518"/>
                    <a:pt x="909" y="541"/>
                    <a:pt x="884" y="563"/>
                  </a:cubicBezTo>
                  <a:cubicBezTo>
                    <a:pt x="862" y="588"/>
                    <a:pt x="839" y="622"/>
                    <a:pt x="814" y="647"/>
                  </a:cubicBezTo>
                  <a:cubicBezTo>
                    <a:pt x="799" y="657"/>
                    <a:pt x="782" y="662"/>
                    <a:pt x="766" y="662"/>
                  </a:cubicBezTo>
                  <a:cubicBezTo>
                    <a:pt x="746" y="662"/>
                    <a:pt x="728" y="653"/>
                    <a:pt x="722" y="633"/>
                  </a:cubicBezTo>
                  <a:cubicBezTo>
                    <a:pt x="711" y="611"/>
                    <a:pt x="722" y="599"/>
                    <a:pt x="711" y="588"/>
                  </a:cubicBezTo>
                  <a:cubicBezTo>
                    <a:pt x="706" y="578"/>
                    <a:pt x="697" y="574"/>
                    <a:pt x="687" y="574"/>
                  </a:cubicBezTo>
                  <a:cubicBezTo>
                    <a:pt x="674" y="574"/>
                    <a:pt x="658" y="582"/>
                    <a:pt x="652" y="588"/>
                  </a:cubicBezTo>
                  <a:cubicBezTo>
                    <a:pt x="630" y="588"/>
                    <a:pt x="616" y="611"/>
                    <a:pt x="593" y="611"/>
                  </a:cubicBezTo>
                  <a:lnTo>
                    <a:pt x="546" y="611"/>
                  </a:lnTo>
                  <a:cubicBezTo>
                    <a:pt x="523" y="622"/>
                    <a:pt x="512" y="658"/>
                    <a:pt x="490" y="669"/>
                  </a:cubicBezTo>
                  <a:cubicBezTo>
                    <a:pt x="465" y="681"/>
                    <a:pt x="442" y="681"/>
                    <a:pt x="406" y="692"/>
                  </a:cubicBezTo>
                  <a:cubicBezTo>
                    <a:pt x="372" y="717"/>
                    <a:pt x="395" y="787"/>
                    <a:pt x="372" y="832"/>
                  </a:cubicBezTo>
                  <a:cubicBezTo>
                    <a:pt x="350" y="868"/>
                    <a:pt x="314" y="879"/>
                    <a:pt x="291" y="901"/>
                  </a:cubicBezTo>
                  <a:cubicBezTo>
                    <a:pt x="255" y="927"/>
                    <a:pt x="232" y="960"/>
                    <a:pt x="210" y="997"/>
                  </a:cubicBezTo>
                  <a:lnTo>
                    <a:pt x="210" y="1008"/>
                  </a:lnTo>
                  <a:cubicBezTo>
                    <a:pt x="196" y="1030"/>
                    <a:pt x="185" y="1052"/>
                    <a:pt x="163" y="1078"/>
                  </a:cubicBezTo>
                  <a:cubicBezTo>
                    <a:pt x="174" y="1089"/>
                    <a:pt x="185" y="1100"/>
                    <a:pt x="196" y="1122"/>
                  </a:cubicBezTo>
                  <a:cubicBezTo>
                    <a:pt x="221" y="1148"/>
                    <a:pt x="232" y="1170"/>
                    <a:pt x="221" y="1206"/>
                  </a:cubicBezTo>
                  <a:cubicBezTo>
                    <a:pt x="209" y="1229"/>
                    <a:pt x="185" y="1234"/>
                    <a:pt x="159" y="1234"/>
                  </a:cubicBezTo>
                  <a:cubicBezTo>
                    <a:pt x="132" y="1234"/>
                    <a:pt x="104" y="1229"/>
                    <a:pt x="81" y="1229"/>
                  </a:cubicBezTo>
                  <a:cubicBezTo>
                    <a:pt x="56" y="1229"/>
                    <a:pt x="34" y="1229"/>
                    <a:pt x="23" y="1251"/>
                  </a:cubicBezTo>
                  <a:cubicBezTo>
                    <a:pt x="0" y="1287"/>
                    <a:pt x="34" y="1310"/>
                    <a:pt x="45" y="1346"/>
                  </a:cubicBezTo>
                  <a:cubicBezTo>
                    <a:pt x="56" y="1368"/>
                    <a:pt x="23" y="1416"/>
                    <a:pt x="45" y="1438"/>
                  </a:cubicBezTo>
                  <a:cubicBezTo>
                    <a:pt x="56" y="1461"/>
                    <a:pt x="81" y="1449"/>
                    <a:pt x="104" y="1461"/>
                  </a:cubicBezTo>
                  <a:cubicBezTo>
                    <a:pt x="174" y="1497"/>
                    <a:pt x="126" y="1589"/>
                    <a:pt x="174" y="1637"/>
                  </a:cubicBezTo>
                  <a:cubicBezTo>
                    <a:pt x="221" y="1696"/>
                    <a:pt x="336" y="1659"/>
                    <a:pt x="361" y="1729"/>
                  </a:cubicBezTo>
                  <a:cubicBezTo>
                    <a:pt x="372" y="1788"/>
                    <a:pt x="280" y="1835"/>
                    <a:pt x="302" y="1891"/>
                  </a:cubicBezTo>
                  <a:cubicBezTo>
                    <a:pt x="314" y="1939"/>
                    <a:pt x="372" y="1950"/>
                    <a:pt x="361" y="1998"/>
                  </a:cubicBezTo>
                  <a:cubicBezTo>
                    <a:pt x="361" y="2009"/>
                    <a:pt x="361" y="2020"/>
                    <a:pt x="350" y="2031"/>
                  </a:cubicBezTo>
                  <a:cubicBezTo>
                    <a:pt x="314" y="2090"/>
                    <a:pt x="372" y="2196"/>
                    <a:pt x="442" y="2196"/>
                  </a:cubicBezTo>
                  <a:cubicBezTo>
                    <a:pt x="459" y="2196"/>
                    <a:pt x="474" y="2193"/>
                    <a:pt x="487" y="2193"/>
                  </a:cubicBezTo>
                  <a:cubicBezTo>
                    <a:pt x="500" y="2193"/>
                    <a:pt x="512" y="2196"/>
                    <a:pt x="523" y="2207"/>
                  </a:cubicBezTo>
                  <a:cubicBezTo>
                    <a:pt x="534" y="2218"/>
                    <a:pt x="534" y="2230"/>
                    <a:pt x="546" y="2241"/>
                  </a:cubicBezTo>
                  <a:cubicBezTo>
                    <a:pt x="565" y="2268"/>
                    <a:pt x="595" y="2281"/>
                    <a:pt x="629" y="2281"/>
                  </a:cubicBezTo>
                  <a:cubicBezTo>
                    <a:pt x="640" y="2281"/>
                    <a:pt x="651" y="2280"/>
                    <a:pt x="663" y="2277"/>
                  </a:cubicBezTo>
                  <a:cubicBezTo>
                    <a:pt x="674" y="2277"/>
                    <a:pt x="685" y="2277"/>
                    <a:pt x="699" y="2288"/>
                  </a:cubicBezTo>
                  <a:cubicBezTo>
                    <a:pt x="733" y="2300"/>
                    <a:pt x="699" y="2358"/>
                    <a:pt x="711" y="2406"/>
                  </a:cubicBezTo>
                  <a:cubicBezTo>
                    <a:pt x="722" y="2428"/>
                    <a:pt x="755" y="2451"/>
                    <a:pt x="781" y="2465"/>
                  </a:cubicBezTo>
                  <a:cubicBezTo>
                    <a:pt x="839" y="2509"/>
                    <a:pt x="850" y="2616"/>
                    <a:pt x="803" y="2674"/>
                  </a:cubicBezTo>
                  <a:cubicBezTo>
                    <a:pt x="781" y="2697"/>
                    <a:pt x="733" y="2719"/>
                    <a:pt x="711" y="2755"/>
                  </a:cubicBezTo>
                  <a:cubicBezTo>
                    <a:pt x="699" y="2778"/>
                    <a:pt x="699" y="2800"/>
                    <a:pt x="711" y="2825"/>
                  </a:cubicBezTo>
                  <a:cubicBezTo>
                    <a:pt x="711" y="2836"/>
                    <a:pt x="733" y="2848"/>
                    <a:pt x="744" y="2848"/>
                  </a:cubicBezTo>
                  <a:cubicBezTo>
                    <a:pt x="775" y="2848"/>
                    <a:pt x="796" y="2823"/>
                    <a:pt x="824" y="2823"/>
                  </a:cubicBezTo>
                  <a:cubicBezTo>
                    <a:pt x="829" y="2823"/>
                    <a:pt x="834" y="2824"/>
                    <a:pt x="839" y="2825"/>
                  </a:cubicBezTo>
                  <a:cubicBezTo>
                    <a:pt x="850" y="2870"/>
                    <a:pt x="839" y="2918"/>
                    <a:pt x="850" y="2965"/>
                  </a:cubicBezTo>
                  <a:cubicBezTo>
                    <a:pt x="860" y="3002"/>
                    <a:pt x="894" y="3041"/>
                    <a:pt x="930" y="3041"/>
                  </a:cubicBezTo>
                  <a:cubicBezTo>
                    <a:pt x="938" y="3041"/>
                    <a:pt x="946" y="3039"/>
                    <a:pt x="954" y="3035"/>
                  </a:cubicBezTo>
                  <a:cubicBezTo>
                    <a:pt x="990" y="3010"/>
                    <a:pt x="979" y="2954"/>
                    <a:pt x="1001" y="2918"/>
                  </a:cubicBezTo>
                  <a:cubicBezTo>
                    <a:pt x="1010" y="2893"/>
                    <a:pt x="1038" y="2879"/>
                    <a:pt x="1066" y="2879"/>
                  </a:cubicBezTo>
                  <a:cubicBezTo>
                    <a:pt x="1075" y="2879"/>
                    <a:pt x="1085" y="2880"/>
                    <a:pt x="1094" y="2884"/>
                  </a:cubicBezTo>
                  <a:cubicBezTo>
                    <a:pt x="1141" y="2918"/>
                    <a:pt x="1119" y="2987"/>
                    <a:pt x="1105" y="3035"/>
                  </a:cubicBezTo>
                  <a:cubicBezTo>
                    <a:pt x="1083" y="3080"/>
                    <a:pt x="1083" y="3150"/>
                    <a:pt x="1130" y="3175"/>
                  </a:cubicBezTo>
                  <a:cubicBezTo>
                    <a:pt x="1142" y="3183"/>
                    <a:pt x="1157" y="3185"/>
                    <a:pt x="1172" y="3185"/>
                  </a:cubicBezTo>
                  <a:cubicBezTo>
                    <a:pt x="1188" y="3185"/>
                    <a:pt x="1205" y="3183"/>
                    <a:pt x="1220" y="3183"/>
                  </a:cubicBezTo>
                  <a:cubicBezTo>
                    <a:pt x="1229" y="3183"/>
                    <a:pt x="1237" y="3183"/>
                    <a:pt x="1245" y="3186"/>
                  </a:cubicBezTo>
                  <a:cubicBezTo>
                    <a:pt x="1292" y="3208"/>
                    <a:pt x="1292" y="3289"/>
                    <a:pt x="1340" y="3303"/>
                  </a:cubicBezTo>
                  <a:lnTo>
                    <a:pt x="1362" y="3303"/>
                  </a:lnTo>
                  <a:cubicBezTo>
                    <a:pt x="1384" y="3315"/>
                    <a:pt x="1384" y="3337"/>
                    <a:pt x="1398" y="3359"/>
                  </a:cubicBezTo>
                  <a:cubicBezTo>
                    <a:pt x="1414" y="3400"/>
                    <a:pt x="1457" y="3418"/>
                    <a:pt x="1501" y="3418"/>
                  </a:cubicBezTo>
                  <a:cubicBezTo>
                    <a:pt x="1522" y="3418"/>
                    <a:pt x="1542" y="3414"/>
                    <a:pt x="1561" y="3407"/>
                  </a:cubicBezTo>
                  <a:cubicBezTo>
                    <a:pt x="1583" y="3396"/>
                    <a:pt x="1608" y="3373"/>
                    <a:pt x="1642" y="3348"/>
                  </a:cubicBezTo>
                  <a:cubicBezTo>
                    <a:pt x="1631" y="3348"/>
                    <a:pt x="1619" y="3337"/>
                    <a:pt x="1608" y="3326"/>
                  </a:cubicBezTo>
                  <a:cubicBezTo>
                    <a:pt x="1594" y="3315"/>
                    <a:pt x="1583" y="3289"/>
                    <a:pt x="1572" y="3267"/>
                  </a:cubicBezTo>
                  <a:cubicBezTo>
                    <a:pt x="1561" y="3245"/>
                    <a:pt x="1538" y="3220"/>
                    <a:pt x="1524" y="3186"/>
                  </a:cubicBezTo>
                  <a:cubicBezTo>
                    <a:pt x="1513" y="3175"/>
                    <a:pt x="1513" y="3150"/>
                    <a:pt x="1513" y="3127"/>
                  </a:cubicBezTo>
                  <a:cubicBezTo>
                    <a:pt x="1513" y="3094"/>
                    <a:pt x="1513" y="3069"/>
                    <a:pt x="1502" y="3035"/>
                  </a:cubicBezTo>
                  <a:cubicBezTo>
                    <a:pt x="1491" y="3010"/>
                    <a:pt x="1468" y="2976"/>
                    <a:pt x="1468" y="2954"/>
                  </a:cubicBezTo>
                  <a:cubicBezTo>
                    <a:pt x="1480" y="2906"/>
                    <a:pt x="1513" y="2884"/>
                    <a:pt x="1538" y="2848"/>
                  </a:cubicBezTo>
                  <a:cubicBezTo>
                    <a:pt x="1594" y="2778"/>
                    <a:pt x="1594" y="2660"/>
                    <a:pt x="1642" y="2579"/>
                  </a:cubicBezTo>
                  <a:cubicBezTo>
                    <a:pt x="1653" y="2557"/>
                    <a:pt x="1678" y="2534"/>
                    <a:pt x="1689" y="2509"/>
                  </a:cubicBezTo>
                  <a:cubicBezTo>
                    <a:pt x="1700" y="2487"/>
                    <a:pt x="1700" y="2451"/>
                    <a:pt x="1689" y="2428"/>
                  </a:cubicBezTo>
                  <a:cubicBezTo>
                    <a:pt x="1664" y="2406"/>
                    <a:pt x="1631" y="2395"/>
                    <a:pt x="1619" y="2358"/>
                  </a:cubicBezTo>
                  <a:cubicBezTo>
                    <a:pt x="1608" y="2336"/>
                    <a:pt x="1631" y="2311"/>
                    <a:pt x="1608" y="2300"/>
                  </a:cubicBezTo>
                  <a:cubicBezTo>
                    <a:pt x="1608" y="2288"/>
                    <a:pt x="1594" y="2288"/>
                    <a:pt x="1583" y="2277"/>
                  </a:cubicBezTo>
                  <a:cubicBezTo>
                    <a:pt x="1561" y="2266"/>
                    <a:pt x="1561" y="2230"/>
                    <a:pt x="1572" y="2207"/>
                  </a:cubicBezTo>
                  <a:lnTo>
                    <a:pt x="1572" y="2207"/>
                  </a:lnTo>
                  <a:cubicBezTo>
                    <a:pt x="1598" y="2224"/>
                    <a:pt x="1624" y="2234"/>
                    <a:pt x="1649" y="2234"/>
                  </a:cubicBezTo>
                  <a:cubicBezTo>
                    <a:pt x="1659" y="2234"/>
                    <a:pt x="1668" y="2233"/>
                    <a:pt x="1678" y="2230"/>
                  </a:cubicBezTo>
                  <a:cubicBezTo>
                    <a:pt x="1700" y="2218"/>
                    <a:pt x="1734" y="2185"/>
                    <a:pt x="1712" y="2149"/>
                  </a:cubicBezTo>
                  <a:cubicBezTo>
                    <a:pt x="1712" y="2137"/>
                    <a:pt x="1689" y="2126"/>
                    <a:pt x="1678" y="2115"/>
                  </a:cubicBezTo>
                  <a:cubicBezTo>
                    <a:pt x="1664" y="2101"/>
                    <a:pt x="1664" y="2079"/>
                    <a:pt x="1678" y="2067"/>
                  </a:cubicBezTo>
                  <a:lnTo>
                    <a:pt x="1700" y="2067"/>
                  </a:lnTo>
                  <a:cubicBezTo>
                    <a:pt x="1723" y="2079"/>
                    <a:pt x="1748" y="2101"/>
                    <a:pt x="1770" y="2126"/>
                  </a:cubicBezTo>
                  <a:cubicBezTo>
                    <a:pt x="1777" y="2133"/>
                    <a:pt x="1792" y="2139"/>
                    <a:pt x="1807" y="2139"/>
                  </a:cubicBezTo>
                  <a:cubicBezTo>
                    <a:pt x="1819" y="2139"/>
                    <a:pt x="1831" y="2136"/>
                    <a:pt x="1840" y="2126"/>
                  </a:cubicBezTo>
                  <a:cubicBezTo>
                    <a:pt x="1851" y="2101"/>
                    <a:pt x="1829" y="2079"/>
                    <a:pt x="1818" y="2056"/>
                  </a:cubicBezTo>
                  <a:cubicBezTo>
                    <a:pt x="1818" y="2020"/>
                    <a:pt x="1851" y="1998"/>
                    <a:pt x="1888" y="1998"/>
                  </a:cubicBezTo>
                  <a:cubicBezTo>
                    <a:pt x="1895" y="1994"/>
                    <a:pt x="1904" y="1993"/>
                    <a:pt x="1914" y="1993"/>
                  </a:cubicBezTo>
                  <a:cubicBezTo>
                    <a:pt x="1933" y="1993"/>
                    <a:pt x="1956" y="1998"/>
                    <a:pt x="1980" y="1998"/>
                  </a:cubicBezTo>
                  <a:cubicBezTo>
                    <a:pt x="2014" y="1998"/>
                    <a:pt x="2050" y="1975"/>
                    <a:pt x="2050" y="1950"/>
                  </a:cubicBezTo>
                  <a:cubicBezTo>
                    <a:pt x="2050" y="1928"/>
                    <a:pt x="2028" y="1905"/>
                    <a:pt x="2028" y="1880"/>
                  </a:cubicBezTo>
                  <a:cubicBezTo>
                    <a:pt x="2014" y="1835"/>
                    <a:pt x="2061" y="1810"/>
                    <a:pt x="2109" y="1799"/>
                  </a:cubicBezTo>
                  <a:cubicBezTo>
                    <a:pt x="2121" y="1795"/>
                    <a:pt x="2135" y="1792"/>
                    <a:pt x="2149" y="1792"/>
                  </a:cubicBezTo>
                  <a:cubicBezTo>
                    <a:pt x="2174" y="1792"/>
                    <a:pt x="2198" y="1800"/>
                    <a:pt x="2212" y="1821"/>
                  </a:cubicBezTo>
                  <a:cubicBezTo>
                    <a:pt x="2223" y="1869"/>
                    <a:pt x="2167" y="1928"/>
                    <a:pt x="2190" y="1975"/>
                  </a:cubicBezTo>
                  <a:cubicBezTo>
                    <a:pt x="2212" y="1998"/>
                    <a:pt x="2260" y="1998"/>
                    <a:pt x="2271" y="2031"/>
                  </a:cubicBezTo>
                  <a:cubicBezTo>
                    <a:pt x="2282" y="2056"/>
                    <a:pt x="2260" y="2079"/>
                    <a:pt x="2237" y="2090"/>
                  </a:cubicBezTo>
                  <a:cubicBezTo>
                    <a:pt x="2189" y="2120"/>
                    <a:pt x="2148" y="2140"/>
                    <a:pt x="2102" y="2140"/>
                  </a:cubicBezTo>
                  <a:cubicBezTo>
                    <a:pt x="2093" y="2140"/>
                    <a:pt x="2083" y="2139"/>
                    <a:pt x="2072" y="2137"/>
                  </a:cubicBezTo>
                  <a:cubicBezTo>
                    <a:pt x="2055" y="2129"/>
                    <a:pt x="2028" y="2111"/>
                    <a:pt x="2007" y="2111"/>
                  </a:cubicBezTo>
                  <a:cubicBezTo>
                    <a:pt x="2001" y="2111"/>
                    <a:pt x="1996" y="2112"/>
                    <a:pt x="1991" y="2115"/>
                  </a:cubicBezTo>
                  <a:cubicBezTo>
                    <a:pt x="1969" y="2137"/>
                    <a:pt x="1980" y="2171"/>
                    <a:pt x="1991" y="2196"/>
                  </a:cubicBezTo>
                  <a:cubicBezTo>
                    <a:pt x="2014" y="2230"/>
                    <a:pt x="2050" y="2255"/>
                    <a:pt x="2061" y="2277"/>
                  </a:cubicBezTo>
                  <a:cubicBezTo>
                    <a:pt x="2098" y="2336"/>
                    <a:pt x="2084" y="2395"/>
                    <a:pt x="2084" y="2451"/>
                  </a:cubicBezTo>
                  <a:cubicBezTo>
                    <a:pt x="2116" y="2438"/>
                    <a:pt x="2148" y="2429"/>
                    <a:pt x="2178" y="2429"/>
                  </a:cubicBezTo>
                  <a:cubicBezTo>
                    <a:pt x="2203" y="2429"/>
                    <a:pt x="2227" y="2435"/>
                    <a:pt x="2249" y="2451"/>
                  </a:cubicBezTo>
                  <a:cubicBezTo>
                    <a:pt x="2307" y="2476"/>
                    <a:pt x="2330" y="2534"/>
                    <a:pt x="2363" y="2568"/>
                  </a:cubicBezTo>
                  <a:cubicBezTo>
                    <a:pt x="2447" y="2660"/>
                    <a:pt x="2573" y="2685"/>
                    <a:pt x="2690" y="2719"/>
                  </a:cubicBezTo>
                  <a:cubicBezTo>
                    <a:pt x="2738" y="2744"/>
                    <a:pt x="2797" y="2767"/>
                    <a:pt x="2830" y="2814"/>
                  </a:cubicBezTo>
                  <a:cubicBezTo>
                    <a:pt x="2853" y="2870"/>
                    <a:pt x="2867" y="2940"/>
                    <a:pt x="2841" y="2999"/>
                  </a:cubicBezTo>
                  <a:cubicBezTo>
                    <a:pt x="2830" y="3024"/>
                    <a:pt x="2819" y="3046"/>
                    <a:pt x="2819" y="3069"/>
                  </a:cubicBezTo>
                  <a:cubicBezTo>
                    <a:pt x="2819" y="3094"/>
                    <a:pt x="2841" y="3127"/>
                    <a:pt x="2867" y="3150"/>
                  </a:cubicBezTo>
                  <a:cubicBezTo>
                    <a:pt x="2889" y="3164"/>
                    <a:pt x="2911" y="3186"/>
                    <a:pt x="2922" y="3208"/>
                  </a:cubicBezTo>
                  <a:cubicBezTo>
                    <a:pt x="2959" y="3245"/>
                    <a:pt x="2959" y="3303"/>
                    <a:pt x="2936" y="3348"/>
                  </a:cubicBezTo>
                  <a:cubicBezTo>
                    <a:pt x="2922" y="3359"/>
                    <a:pt x="2911" y="3384"/>
                    <a:pt x="2911" y="3407"/>
                  </a:cubicBezTo>
                  <a:cubicBezTo>
                    <a:pt x="2911" y="3429"/>
                    <a:pt x="2948" y="3454"/>
                    <a:pt x="2970" y="3454"/>
                  </a:cubicBezTo>
                  <a:cubicBezTo>
                    <a:pt x="3006" y="3443"/>
                    <a:pt x="3029" y="3429"/>
                    <a:pt x="3051" y="3418"/>
                  </a:cubicBezTo>
                  <a:cubicBezTo>
                    <a:pt x="3076" y="3407"/>
                    <a:pt x="3099" y="3396"/>
                    <a:pt x="3121" y="3396"/>
                  </a:cubicBezTo>
                  <a:cubicBezTo>
                    <a:pt x="3157" y="3396"/>
                    <a:pt x="3168" y="3407"/>
                    <a:pt x="3191" y="3418"/>
                  </a:cubicBezTo>
                  <a:cubicBezTo>
                    <a:pt x="3299" y="3492"/>
                    <a:pt x="3425" y="3548"/>
                    <a:pt x="3553" y="3548"/>
                  </a:cubicBezTo>
                  <a:cubicBezTo>
                    <a:pt x="3565" y="3548"/>
                    <a:pt x="3576" y="3548"/>
                    <a:pt x="3588" y="3547"/>
                  </a:cubicBezTo>
                  <a:cubicBezTo>
                    <a:pt x="3599" y="3547"/>
                    <a:pt x="3610" y="3535"/>
                    <a:pt x="3621" y="3524"/>
                  </a:cubicBezTo>
                  <a:cubicBezTo>
                    <a:pt x="3647" y="3513"/>
                    <a:pt x="3647" y="3488"/>
                    <a:pt x="3635" y="3488"/>
                  </a:cubicBezTo>
                  <a:cubicBezTo>
                    <a:pt x="3623" y="3477"/>
                    <a:pt x="3611" y="3474"/>
                    <a:pt x="3599" y="3474"/>
                  </a:cubicBezTo>
                  <a:cubicBezTo>
                    <a:pt x="3588" y="3474"/>
                    <a:pt x="3577" y="3477"/>
                    <a:pt x="3566" y="3477"/>
                  </a:cubicBezTo>
                  <a:cubicBezTo>
                    <a:pt x="3529" y="3466"/>
                    <a:pt x="3540" y="3418"/>
                    <a:pt x="3518" y="3384"/>
                  </a:cubicBezTo>
                  <a:cubicBezTo>
                    <a:pt x="3507" y="3359"/>
                    <a:pt x="3459" y="3348"/>
                    <a:pt x="3426" y="3337"/>
                  </a:cubicBezTo>
                  <a:cubicBezTo>
                    <a:pt x="3356" y="3326"/>
                    <a:pt x="3286" y="3303"/>
                    <a:pt x="3227" y="3267"/>
                  </a:cubicBezTo>
                  <a:cubicBezTo>
                    <a:pt x="3180" y="3245"/>
                    <a:pt x="3132" y="3220"/>
                    <a:pt x="3121" y="3186"/>
                  </a:cubicBezTo>
                  <a:cubicBezTo>
                    <a:pt x="3110" y="3164"/>
                    <a:pt x="3110" y="3138"/>
                    <a:pt x="3099" y="3116"/>
                  </a:cubicBezTo>
                  <a:cubicBezTo>
                    <a:pt x="3087" y="3069"/>
                    <a:pt x="3076" y="3035"/>
                    <a:pt x="3051" y="3010"/>
                  </a:cubicBezTo>
                  <a:cubicBezTo>
                    <a:pt x="3040" y="2999"/>
                    <a:pt x="3029" y="2987"/>
                    <a:pt x="3029" y="2987"/>
                  </a:cubicBezTo>
                  <a:cubicBezTo>
                    <a:pt x="3017" y="2987"/>
                    <a:pt x="3006" y="2987"/>
                    <a:pt x="2992" y="2976"/>
                  </a:cubicBezTo>
                  <a:cubicBezTo>
                    <a:pt x="2936" y="2965"/>
                    <a:pt x="2889" y="2906"/>
                    <a:pt x="2900" y="2848"/>
                  </a:cubicBezTo>
                  <a:cubicBezTo>
                    <a:pt x="2900" y="2789"/>
                    <a:pt x="2936" y="2730"/>
                    <a:pt x="2981" y="2697"/>
                  </a:cubicBezTo>
                  <a:cubicBezTo>
                    <a:pt x="2992" y="2685"/>
                    <a:pt x="3006" y="2685"/>
                    <a:pt x="3006" y="2685"/>
                  </a:cubicBezTo>
                  <a:cubicBezTo>
                    <a:pt x="3017" y="2685"/>
                    <a:pt x="3017" y="2697"/>
                    <a:pt x="3029" y="2697"/>
                  </a:cubicBezTo>
                  <a:cubicBezTo>
                    <a:pt x="3032" y="2700"/>
                    <a:pt x="3036" y="2702"/>
                    <a:pt x="3040" y="2702"/>
                  </a:cubicBezTo>
                  <a:cubicBezTo>
                    <a:pt x="3049" y="2702"/>
                    <a:pt x="3059" y="2697"/>
                    <a:pt x="3076" y="2697"/>
                  </a:cubicBezTo>
                  <a:cubicBezTo>
                    <a:pt x="3132" y="2697"/>
                    <a:pt x="3180" y="2767"/>
                    <a:pt x="3238" y="2789"/>
                  </a:cubicBezTo>
                  <a:cubicBezTo>
                    <a:pt x="3272" y="2800"/>
                    <a:pt x="3308" y="2800"/>
                    <a:pt x="3342" y="2800"/>
                  </a:cubicBezTo>
                  <a:cubicBezTo>
                    <a:pt x="3448" y="2800"/>
                    <a:pt x="3540" y="2859"/>
                    <a:pt x="3588" y="2954"/>
                  </a:cubicBezTo>
                  <a:cubicBezTo>
                    <a:pt x="3610" y="2976"/>
                    <a:pt x="3621" y="3024"/>
                    <a:pt x="3647" y="3046"/>
                  </a:cubicBezTo>
                  <a:cubicBezTo>
                    <a:pt x="3669" y="3080"/>
                    <a:pt x="3705" y="3105"/>
                    <a:pt x="3717" y="3150"/>
                  </a:cubicBezTo>
                  <a:cubicBezTo>
                    <a:pt x="3739" y="3197"/>
                    <a:pt x="3717" y="3267"/>
                    <a:pt x="3750" y="3303"/>
                  </a:cubicBezTo>
                  <a:cubicBezTo>
                    <a:pt x="3786" y="3326"/>
                    <a:pt x="3831" y="3303"/>
                    <a:pt x="3868" y="3337"/>
                  </a:cubicBezTo>
                  <a:cubicBezTo>
                    <a:pt x="3890" y="3359"/>
                    <a:pt x="3879" y="3396"/>
                    <a:pt x="3890" y="3418"/>
                  </a:cubicBezTo>
                  <a:cubicBezTo>
                    <a:pt x="3901" y="3443"/>
                    <a:pt x="3937" y="3466"/>
                    <a:pt x="3960" y="3466"/>
                  </a:cubicBezTo>
                  <a:cubicBezTo>
                    <a:pt x="3966" y="3468"/>
                    <a:pt x="3973" y="3469"/>
                    <a:pt x="3978" y="3469"/>
                  </a:cubicBezTo>
                  <a:cubicBezTo>
                    <a:pt x="4004" y="3469"/>
                    <a:pt x="4023" y="3450"/>
                    <a:pt x="4041" y="3429"/>
                  </a:cubicBezTo>
                  <a:cubicBezTo>
                    <a:pt x="4055" y="3407"/>
                    <a:pt x="4055" y="3384"/>
                    <a:pt x="4077" y="3359"/>
                  </a:cubicBezTo>
                  <a:cubicBezTo>
                    <a:pt x="4088" y="3348"/>
                    <a:pt x="4111" y="3337"/>
                    <a:pt x="4111" y="3315"/>
                  </a:cubicBezTo>
                  <a:cubicBezTo>
                    <a:pt x="4111" y="3303"/>
                    <a:pt x="4100" y="3303"/>
                    <a:pt x="4100" y="3289"/>
                  </a:cubicBezTo>
                  <a:cubicBezTo>
                    <a:pt x="4088" y="3256"/>
                    <a:pt x="4111" y="3220"/>
                    <a:pt x="4088" y="3197"/>
                  </a:cubicBezTo>
                  <a:cubicBezTo>
                    <a:pt x="4077" y="3186"/>
                    <a:pt x="4066" y="3175"/>
                    <a:pt x="4066" y="3164"/>
                  </a:cubicBezTo>
                  <a:cubicBezTo>
                    <a:pt x="4055" y="3150"/>
                    <a:pt x="4066" y="3138"/>
                    <a:pt x="4066" y="3116"/>
                  </a:cubicBezTo>
                  <a:cubicBezTo>
                    <a:pt x="4077" y="3080"/>
                    <a:pt x="4066" y="3046"/>
                    <a:pt x="4041" y="3024"/>
                  </a:cubicBezTo>
                  <a:cubicBezTo>
                    <a:pt x="4007" y="2999"/>
                    <a:pt x="3971" y="2976"/>
                    <a:pt x="3937" y="2965"/>
                  </a:cubicBezTo>
                  <a:cubicBezTo>
                    <a:pt x="3901" y="2954"/>
                    <a:pt x="3868" y="2940"/>
                    <a:pt x="3820" y="2918"/>
                  </a:cubicBezTo>
                  <a:cubicBezTo>
                    <a:pt x="3798" y="2906"/>
                    <a:pt x="3775" y="2906"/>
                    <a:pt x="3761" y="2884"/>
                  </a:cubicBezTo>
                  <a:cubicBezTo>
                    <a:pt x="3728" y="2848"/>
                    <a:pt x="3728" y="2800"/>
                    <a:pt x="3691" y="2767"/>
                  </a:cubicBezTo>
                  <a:cubicBezTo>
                    <a:pt x="3669" y="2755"/>
                    <a:pt x="3647" y="2755"/>
                    <a:pt x="3621" y="2744"/>
                  </a:cubicBezTo>
                  <a:cubicBezTo>
                    <a:pt x="3588" y="2730"/>
                    <a:pt x="3566" y="2697"/>
                    <a:pt x="3552" y="2660"/>
                  </a:cubicBezTo>
                  <a:cubicBezTo>
                    <a:pt x="3540" y="2627"/>
                    <a:pt x="3566" y="2579"/>
                    <a:pt x="3588" y="2546"/>
                  </a:cubicBezTo>
                  <a:cubicBezTo>
                    <a:pt x="3599" y="2534"/>
                    <a:pt x="3621" y="2520"/>
                    <a:pt x="3635" y="2520"/>
                  </a:cubicBezTo>
                  <a:cubicBezTo>
                    <a:pt x="3643" y="2517"/>
                    <a:pt x="3649" y="2515"/>
                    <a:pt x="3655" y="2515"/>
                  </a:cubicBezTo>
                  <a:cubicBezTo>
                    <a:pt x="3667" y="2515"/>
                    <a:pt x="3676" y="2520"/>
                    <a:pt x="3691" y="2520"/>
                  </a:cubicBezTo>
                  <a:cubicBezTo>
                    <a:pt x="3699" y="2525"/>
                    <a:pt x="3707" y="2526"/>
                    <a:pt x="3716" y="2526"/>
                  </a:cubicBezTo>
                  <a:cubicBezTo>
                    <a:pt x="3736" y="2526"/>
                    <a:pt x="3758" y="2517"/>
                    <a:pt x="3775" y="2509"/>
                  </a:cubicBezTo>
                  <a:cubicBezTo>
                    <a:pt x="3786" y="2498"/>
                    <a:pt x="3798" y="2498"/>
                    <a:pt x="3809" y="2487"/>
                  </a:cubicBezTo>
                  <a:cubicBezTo>
                    <a:pt x="3827" y="2481"/>
                    <a:pt x="3844" y="2479"/>
                    <a:pt x="3862" y="2479"/>
                  </a:cubicBezTo>
                  <a:cubicBezTo>
                    <a:pt x="3879" y="2479"/>
                    <a:pt x="3897" y="2481"/>
                    <a:pt x="3915" y="2487"/>
                  </a:cubicBezTo>
                  <a:cubicBezTo>
                    <a:pt x="3937" y="2498"/>
                    <a:pt x="3971" y="2487"/>
                    <a:pt x="4007" y="2509"/>
                  </a:cubicBezTo>
                  <a:cubicBezTo>
                    <a:pt x="4041" y="2534"/>
                    <a:pt x="4055" y="2579"/>
                    <a:pt x="4088" y="2604"/>
                  </a:cubicBezTo>
                  <a:cubicBezTo>
                    <a:pt x="4136" y="2649"/>
                    <a:pt x="4217" y="2660"/>
                    <a:pt x="4287" y="2674"/>
                  </a:cubicBezTo>
                  <a:cubicBezTo>
                    <a:pt x="4321" y="2674"/>
                    <a:pt x="4357" y="2674"/>
                    <a:pt x="4390" y="2697"/>
                  </a:cubicBezTo>
                  <a:cubicBezTo>
                    <a:pt x="4438" y="2730"/>
                    <a:pt x="4427" y="2836"/>
                    <a:pt x="4486" y="2870"/>
                  </a:cubicBezTo>
                  <a:cubicBezTo>
                    <a:pt x="4508" y="2895"/>
                    <a:pt x="4555" y="2906"/>
                    <a:pt x="4567" y="2929"/>
                  </a:cubicBezTo>
                  <a:cubicBezTo>
                    <a:pt x="4578" y="2965"/>
                    <a:pt x="4567" y="3010"/>
                    <a:pt x="4589" y="3035"/>
                  </a:cubicBezTo>
                  <a:cubicBezTo>
                    <a:pt x="4596" y="3048"/>
                    <a:pt x="4611" y="3053"/>
                    <a:pt x="4627" y="3053"/>
                  </a:cubicBezTo>
                  <a:cubicBezTo>
                    <a:pt x="4638" y="3053"/>
                    <a:pt x="4650" y="3051"/>
                    <a:pt x="4659" y="3046"/>
                  </a:cubicBezTo>
                  <a:lnTo>
                    <a:pt x="4695" y="3046"/>
                  </a:lnTo>
                  <a:cubicBezTo>
                    <a:pt x="4729" y="3035"/>
                    <a:pt x="4754" y="3035"/>
                    <a:pt x="4776" y="3010"/>
                  </a:cubicBezTo>
                  <a:cubicBezTo>
                    <a:pt x="4799" y="2999"/>
                    <a:pt x="4824" y="2976"/>
                    <a:pt x="4810" y="2954"/>
                  </a:cubicBezTo>
                  <a:cubicBezTo>
                    <a:pt x="4810" y="2929"/>
                    <a:pt x="4799" y="2906"/>
                    <a:pt x="4776" y="2895"/>
                  </a:cubicBezTo>
                  <a:cubicBezTo>
                    <a:pt x="4740" y="2859"/>
                    <a:pt x="4695" y="2836"/>
                    <a:pt x="4659" y="2814"/>
                  </a:cubicBezTo>
                  <a:cubicBezTo>
                    <a:pt x="4625" y="2767"/>
                    <a:pt x="4614" y="2730"/>
                    <a:pt x="4589" y="2685"/>
                  </a:cubicBezTo>
                  <a:cubicBezTo>
                    <a:pt x="4578" y="2638"/>
                    <a:pt x="4555" y="2590"/>
                    <a:pt x="4497" y="2568"/>
                  </a:cubicBezTo>
                  <a:cubicBezTo>
                    <a:pt x="4474" y="2568"/>
                    <a:pt x="4449" y="2568"/>
                    <a:pt x="4427" y="2557"/>
                  </a:cubicBezTo>
                  <a:cubicBezTo>
                    <a:pt x="4416" y="2534"/>
                    <a:pt x="4416" y="2498"/>
                    <a:pt x="4390" y="2487"/>
                  </a:cubicBezTo>
                  <a:cubicBezTo>
                    <a:pt x="4382" y="2471"/>
                    <a:pt x="4368" y="2459"/>
                    <a:pt x="4353" y="2459"/>
                  </a:cubicBezTo>
                  <a:cubicBezTo>
                    <a:pt x="4347" y="2459"/>
                    <a:pt x="4341" y="2461"/>
                    <a:pt x="4335" y="2465"/>
                  </a:cubicBezTo>
                  <a:lnTo>
                    <a:pt x="4265" y="2465"/>
                  </a:lnTo>
                  <a:cubicBezTo>
                    <a:pt x="4217" y="2451"/>
                    <a:pt x="4195" y="2428"/>
                    <a:pt x="4170" y="2395"/>
                  </a:cubicBezTo>
                  <a:cubicBezTo>
                    <a:pt x="4147" y="2369"/>
                    <a:pt x="4136" y="2336"/>
                    <a:pt x="4125" y="2300"/>
                  </a:cubicBezTo>
                  <a:cubicBezTo>
                    <a:pt x="4125" y="2277"/>
                    <a:pt x="4111" y="2266"/>
                    <a:pt x="4100" y="2255"/>
                  </a:cubicBezTo>
                  <a:cubicBezTo>
                    <a:pt x="4094" y="2248"/>
                    <a:pt x="4086" y="2244"/>
                    <a:pt x="4077" y="2244"/>
                  </a:cubicBezTo>
                  <a:cubicBezTo>
                    <a:pt x="4069" y="2244"/>
                    <a:pt x="4060" y="2248"/>
                    <a:pt x="4055" y="2255"/>
                  </a:cubicBezTo>
                  <a:cubicBezTo>
                    <a:pt x="4041" y="2300"/>
                    <a:pt x="4100" y="2347"/>
                    <a:pt x="4088" y="2395"/>
                  </a:cubicBezTo>
                  <a:cubicBezTo>
                    <a:pt x="4077" y="2428"/>
                    <a:pt x="4019" y="2439"/>
                    <a:pt x="3985" y="2439"/>
                  </a:cubicBezTo>
                  <a:cubicBezTo>
                    <a:pt x="3868" y="2417"/>
                    <a:pt x="3775" y="2311"/>
                    <a:pt x="3761" y="2196"/>
                  </a:cubicBezTo>
                  <a:cubicBezTo>
                    <a:pt x="3761" y="2185"/>
                    <a:pt x="3761" y="2171"/>
                    <a:pt x="3775" y="2160"/>
                  </a:cubicBezTo>
                  <a:cubicBezTo>
                    <a:pt x="3786" y="2137"/>
                    <a:pt x="3809" y="2126"/>
                    <a:pt x="3831" y="2126"/>
                  </a:cubicBezTo>
                  <a:lnTo>
                    <a:pt x="3915" y="2126"/>
                  </a:lnTo>
                  <a:cubicBezTo>
                    <a:pt x="3937" y="2115"/>
                    <a:pt x="3971" y="2090"/>
                    <a:pt x="3960" y="2067"/>
                  </a:cubicBezTo>
                  <a:cubicBezTo>
                    <a:pt x="3960" y="2045"/>
                    <a:pt x="3937" y="2031"/>
                    <a:pt x="3915" y="2020"/>
                  </a:cubicBezTo>
                  <a:cubicBezTo>
                    <a:pt x="3845" y="1998"/>
                    <a:pt x="3761" y="1998"/>
                    <a:pt x="3728" y="1939"/>
                  </a:cubicBezTo>
                  <a:cubicBezTo>
                    <a:pt x="3691" y="1891"/>
                    <a:pt x="3691" y="1847"/>
                    <a:pt x="3658" y="1810"/>
                  </a:cubicBezTo>
                  <a:cubicBezTo>
                    <a:pt x="3635" y="1788"/>
                    <a:pt x="3588" y="1777"/>
                    <a:pt x="3577" y="1751"/>
                  </a:cubicBezTo>
                  <a:cubicBezTo>
                    <a:pt x="3540" y="1707"/>
                    <a:pt x="3552" y="1648"/>
                    <a:pt x="3588" y="1612"/>
                  </a:cubicBezTo>
                  <a:cubicBezTo>
                    <a:pt x="3610" y="1578"/>
                    <a:pt x="3635" y="1542"/>
                    <a:pt x="3680" y="1519"/>
                  </a:cubicBezTo>
                  <a:cubicBezTo>
                    <a:pt x="3698" y="1514"/>
                    <a:pt x="3719" y="1511"/>
                    <a:pt x="3740" y="1511"/>
                  </a:cubicBezTo>
                  <a:cubicBezTo>
                    <a:pt x="3762" y="1511"/>
                    <a:pt x="3785" y="1514"/>
                    <a:pt x="3809" y="1519"/>
                  </a:cubicBezTo>
                  <a:cubicBezTo>
                    <a:pt x="3820" y="1461"/>
                    <a:pt x="3845" y="1427"/>
                    <a:pt x="3901" y="1427"/>
                  </a:cubicBezTo>
                  <a:cubicBezTo>
                    <a:pt x="3915" y="1427"/>
                    <a:pt x="3926" y="1427"/>
                    <a:pt x="3937" y="1416"/>
                  </a:cubicBezTo>
                  <a:cubicBezTo>
                    <a:pt x="3949" y="1416"/>
                    <a:pt x="3960" y="1402"/>
                    <a:pt x="3960" y="1391"/>
                  </a:cubicBezTo>
                  <a:cubicBezTo>
                    <a:pt x="3985" y="1368"/>
                    <a:pt x="4030" y="1368"/>
                    <a:pt x="4055" y="1357"/>
                  </a:cubicBezTo>
                  <a:cubicBezTo>
                    <a:pt x="4088" y="1321"/>
                    <a:pt x="4088" y="1262"/>
                    <a:pt x="4136" y="1240"/>
                  </a:cubicBezTo>
                  <a:cubicBezTo>
                    <a:pt x="4158" y="1217"/>
                    <a:pt x="4195" y="1229"/>
                    <a:pt x="4217" y="1217"/>
                  </a:cubicBezTo>
                  <a:cubicBezTo>
                    <a:pt x="4265" y="1181"/>
                    <a:pt x="4228" y="1066"/>
                    <a:pt x="4287" y="1041"/>
                  </a:cubicBezTo>
                  <a:cubicBezTo>
                    <a:pt x="4298" y="983"/>
                    <a:pt x="4276" y="927"/>
                    <a:pt x="4217" y="901"/>
                  </a:cubicBezTo>
                  <a:cubicBezTo>
                    <a:pt x="4181" y="890"/>
                    <a:pt x="4147" y="879"/>
                    <a:pt x="4136" y="843"/>
                  </a:cubicBezTo>
                  <a:cubicBezTo>
                    <a:pt x="4136" y="832"/>
                    <a:pt x="4147" y="820"/>
                    <a:pt x="4136" y="798"/>
                  </a:cubicBezTo>
                  <a:cubicBezTo>
                    <a:pt x="4136" y="787"/>
                    <a:pt x="4111" y="787"/>
                    <a:pt x="4088" y="787"/>
                  </a:cubicBezTo>
                  <a:cubicBezTo>
                    <a:pt x="4100" y="762"/>
                    <a:pt x="4100" y="739"/>
                    <a:pt x="4077" y="728"/>
                  </a:cubicBezTo>
                  <a:cubicBezTo>
                    <a:pt x="4069" y="720"/>
                    <a:pt x="4055" y="711"/>
                    <a:pt x="4043" y="711"/>
                  </a:cubicBezTo>
                  <a:cubicBezTo>
                    <a:pt x="4038" y="711"/>
                    <a:pt x="4033" y="713"/>
                    <a:pt x="4030" y="717"/>
                  </a:cubicBezTo>
                  <a:cubicBezTo>
                    <a:pt x="4007" y="728"/>
                    <a:pt x="3996" y="762"/>
                    <a:pt x="3985" y="762"/>
                  </a:cubicBezTo>
                  <a:cubicBezTo>
                    <a:pt x="3977" y="767"/>
                    <a:pt x="3968" y="770"/>
                    <a:pt x="3960" y="770"/>
                  </a:cubicBezTo>
                  <a:cubicBezTo>
                    <a:pt x="3933" y="770"/>
                    <a:pt x="3909" y="743"/>
                    <a:pt x="3890" y="717"/>
                  </a:cubicBezTo>
                  <a:cubicBezTo>
                    <a:pt x="3879" y="692"/>
                    <a:pt x="3856" y="647"/>
                    <a:pt x="3820" y="647"/>
                  </a:cubicBezTo>
                  <a:cubicBezTo>
                    <a:pt x="3815" y="644"/>
                    <a:pt x="3809" y="643"/>
                    <a:pt x="3803" y="643"/>
                  </a:cubicBezTo>
                  <a:cubicBezTo>
                    <a:pt x="3787" y="643"/>
                    <a:pt x="3769" y="650"/>
                    <a:pt x="3753" y="650"/>
                  </a:cubicBezTo>
                  <a:cubicBezTo>
                    <a:pt x="3748" y="650"/>
                    <a:pt x="3743" y="649"/>
                    <a:pt x="3739" y="647"/>
                  </a:cubicBezTo>
                  <a:cubicBezTo>
                    <a:pt x="3705" y="622"/>
                    <a:pt x="3705" y="577"/>
                    <a:pt x="3680" y="577"/>
                  </a:cubicBezTo>
                  <a:cubicBezTo>
                    <a:pt x="3669" y="570"/>
                    <a:pt x="3661" y="570"/>
                    <a:pt x="3652" y="570"/>
                  </a:cubicBezTo>
                  <a:cubicBezTo>
                    <a:pt x="3643" y="570"/>
                    <a:pt x="3634" y="570"/>
                    <a:pt x="3621" y="563"/>
                  </a:cubicBezTo>
                  <a:cubicBezTo>
                    <a:pt x="3599" y="552"/>
                    <a:pt x="3610" y="518"/>
                    <a:pt x="3599" y="493"/>
                  </a:cubicBezTo>
                  <a:cubicBezTo>
                    <a:pt x="3588" y="460"/>
                    <a:pt x="3552" y="448"/>
                    <a:pt x="3540" y="423"/>
                  </a:cubicBezTo>
                  <a:cubicBezTo>
                    <a:pt x="3529" y="367"/>
                    <a:pt x="3610" y="331"/>
                    <a:pt x="3599" y="283"/>
                  </a:cubicBezTo>
                  <a:cubicBezTo>
                    <a:pt x="3588" y="250"/>
                    <a:pt x="3540" y="239"/>
                    <a:pt x="3507" y="239"/>
                  </a:cubicBezTo>
                  <a:cubicBezTo>
                    <a:pt x="3470" y="228"/>
                    <a:pt x="3437" y="228"/>
                    <a:pt x="3426" y="191"/>
                  </a:cubicBezTo>
                  <a:cubicBezTo>
                    <a:pt x="3401" y="158"/>
                    <a:pt x="3437" y="121"/>
                    <a:pt x="3459" y="88"/>
                  </a:cubicBezTo>
                  <a:lnTo>
                    <a:pt x="3459" y="51"/>
                  </a:lnTo>
                  <a:cubicBezTo>
                    <a:pt x="3412" y="51"/>
                    <a:pt x="3412" y="40"/>
                    <a:pt x="3389" y="29"/>
                  </a:cubicBezTo>
                  <a:cubicBezTo>
                    <a:pt x="3356" y="18"/>
                    <a:pt x="3319" y="4"/>
                    <a:pt x="3286" y="4"/>
                  </a:cubicBezTo>
                  <a:cubicBezTo>
                    <a:pt x="3261" y="4"/>
                    <a:pt x="3191" y="18"/>
                    <a:pt x="3180" y="18"/>
                  </a:cubicBezTo>
                  <a:cubicBezTo>
                    <a:pt x="3171" y="18"/>
                    <a:pt x="3161" y="1"/>
                    <a:pt x="313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2" name="Google Shape;370;p17">
              <a:extLst>
                <a:ext uri="{FF2B5EF4-FFF2-40B4-BE49-F238E27FC236}">
                  <a16:creationId xmlns:a16="http://schemas.microsoft.com/office/drawing/2014/main" xmlns="" id="{C96E922F-EAED-631D-3A5E-4AE8133CFEDF}"/>
                </a:ext>
              </a:extLst>
            </p:cNvPr>
            <p:cNvSpPr/>
            <p:nvPr/>
          </p:nvSpPr>
          <p:spPr>
            <a:xfrm>
              <a:off x="1830259" y="876835"/>
              <a:ext cx="1118168" cy="827462"/>
            </a:xfrm>
            <a:custGeom>
              <a:avLst/>
              <a:gdLst/>
              <a:ahLst/>
              <a:cxnLst/>
              <a:rect l="l" t="t" r="r" b="b"/>
              <a:pathLst>
                <a:path w="4850" h="3589" extrusionOk="0">
                  <a:moveTo>
                    <a:pt x="3311" y="48"/>
                  </a:moveTo>
                  <a:cubicBezTo>
                    <a:pt x="3311" y="48"/>
                    <a:pt x="3333" y="48"/>
                    <a:pt x="3345" y="59"/>
                  </a:cubicBezTo>
                  <a:cubicBezTo>
                    <a:pt x="3356" y="59"/>
                    <a:pt x="3381" y="70"/>
                    <a:pt x="3392" y="70"/>
                  </a:cubicBezTo>
                  <a:cubicBezTo>
                    <a:pt x="3403" y="70"/>
                    <a:pt x="3415" y="82"/>
                    <a:pt x="3426" y="82"/>
                  </a:cubicBezTo>
                  <a:cubicBezTo>
                    <a:pt x="3434" y="88"/>
                    <a:pt x="3442" y="91"/>
                    <a:pt x="3451" y="92"/>
                  </a:cubicBezTo>
                  <a:lnTo>
                    <a:pt x="3451" y="92"/>
                  </a:lnTo>
                  <a:lnTo>
                    <a:pt x="3451" y="93"/>
                  </a:lnTo>
                  <a:cubicBezTo>
                    <a:pt x="3440" y="107"/>
                    <a:pt x="3440" y="118"/>
                    <a:pt x="3426" y="140"/>
                  </a:cubicBezTo>
                  <a:cubicBezTo>
                    <a:pt x="3415" y="151"/>
                    <a:pt x="3403" y="177"/>
                    <a:pt x="3403" y="199"/>
                  </a:cubicBezTo>
                  <a:cubicBezTo>
                    <a:pt x="3403" y="199"/>
                    <a:pt x="3403" y="210"/>
                    <a:pt x="3415" y="221"/>
                  </a:cubicBezTo>
                  <a:cubicBezTo>
                    <a:pt x="3426" y="247"/>
                    <a:pt x="3440" y="258"/>
                    <a:pt x="3462" y="269"/>
                  </a:cubicBezTo>
                  <a:cubicBezTo>
                    <a:pt x="3484" y="269"/>
                    <a:pt x="3510" y="280"/>
                    <a:pt x="3521" y="280"/>
                  </a:cubicBezTo>
                  <a:lnTo>
                    <a:pt x="3566" y="280"/>
                  </a:lnTo>
                  <a:cubicBezTo>
                    <a:pt x="3580" y="291"/>
                    <a:pt x="3580" y="291"/>
                    <a:pt x="3591" y="302"/>
                  </a:cubicBezTo>
                  <a:lnTo>
                    <a:pt x="3591" y="316"/>
                  </a:lnTo>
                  <a:cubicBezTo>
                    <a:pt x="3591" y="316"/>
                    <a:pt x="3591" y="328"/>
                    <a:pt x="3580" y="328"/>
                  </a:cubicBezTo>
                  <a:cubicBezTo>
                    <a:pt x="3580" y="339"/>
                    <a:pt x="3566" y="350"/>
                    <a:pt x="3554" y="372"/>
                  </a:cubicBezTo>
                  <a:cubicBezTo>
                    <a:pt x="3543" y="386"/>
                    <a:pt x="3532" y="409"/>
                    <a:pt x="3532" y="431"/>
                  </a:cubicBezTo>
                  <a:lnTo>
                    <a:pt x="3532" y="442"/>
                  </a:lnTo>
                  <a:cubicBezTo>
                    <a:pt x="3543" y="467"/>
                    <a:pt x="3554" y="479"/>
                    <a:pt x="3566" y="490"/>
                  </a:cubicBezTo>
                  <a:cubicBezTo>
                    <a:pt x="3580" y="501"/>
                    <a:pt x="3591" y="512"/>
                    <a:pt x="3591" y="526"/>
                  </a:cubicBezTo>
                  <a:cubicBezTo>
                    <a:pt x="3591" y="526"/>
                    <a:pt x="3591" y="537"/>
                    <a:pt x="3602" y="560"/>
                  </a:cubicBezTo>
                  <a:lnTo>
                    <a:pt x="3602" y="582"/>
                  </a:lnTo>
                  <a:cubicBezTo>
                    <a:pt x="3613" y="596"/>
                    <a:pt x="3624" y="607"/>
                    <a:pt x="3635" y="607"/>
                  </a:cubicBezTo>
                  <a:cubicBezTo>
                    <a:pt x="3635" y="618"/>
                    <a:pt x="3649" y="618"/>
                    <a:pt x="3661" y="618"/>
                  </a:cubicBezTo>
                  <a:lnTo>
                    <a:pt x="3694" y="618"/>
                  </a:lnTo>
                  <a:cubicBezTo>
                    <a:pt x="3694" y="618"/>
                    <a:pt x="3705" y="630"/>
                    <a:pt x="3705" y="641"/>
                  </a:cubicBezTo>
                  <a:cubicBezTo>
                    <a:pt x="3719" y="652"/>
                    <a:pt x="3719" y="677"/>
                    <a:pt x="3742" y="677"/>
                  </a:cubicBezTo>
                  <a:cubicBezTo>
                    <a:pt x="3753" y="688"/>
                    <a:pt x="3764" y="688"/>
                    <a:pt x="3775" y="688"/>
                  </a:cubicBezTo>
                  <a:lnTo>
                    <a:pt x="3834" y="688"/>
                  </a:lnTo>
                  <a:cubicBezTo>
                    <a:pt x="3834" y="688"/>
                    <a:pt x="3845" y="688"/>
                    <a:pt x="3859" y="711"/>
                  </a:cubicBezTo>
                  <a:cubicBezTo>
                    <a:pt x="3870" y="722"/>
                    <a:pt x="3882" y="736"/>
                    <a:pt x="3882" y="747"/>
                  </a:cubicBezTo>
                  <a:cubicBezTo>
                    <a:pt x="3893" y="769"/>
                    <a:pt x="3904" y="781"/>
                    <a:pt x="3915" y="792"/>
                  </a:cubicBezTo>
                  <a:cubicBezTo>
                    <a:pt x="3940" y="806"/>
                    <a:pt x="3951" y="817"/>
                    <a:pt x="3974" y="817"/>
                  </a:cubicBezTo>
                  <a:cubicBezTo>
                    <a:pt x="3985" y="817"/>
                    <a:pt x="3999" y="817"/>
                    <a:pt x="3999" y="806"/>
                  </a:cubicBezTo>
                  <a:cubicBezTo>
                    <a:pt x="4021" y="806"/>
                    <a:pt x="4033" y="781"/>
                    <a:pt x="4033" y="781"/>
                  </a:cubicBezTo>
                  <a:cubicBezTo>
                    <a:pt x="4044" y="769"/>
                    <a:pt x="4044" y="758"/>
                    <a:pt x="4055" y="758"/>
                  </a:cubicBezTo>
                  <a:lnTo>
                    <a:pt x="4080" y="758"/>
                  </a:lnTo>
                  <a:cubicBezTo>
                    <a:pt x="4080" y="769"/>
                    <a:pt x="4091" y="769"/>
                    <a:pt x="4091" y="781"/>
                  </a:cubicBezTo>
                  <a:lnTo>
                    <a:pt x="4080" y="792"/>
                  </a:lnTo>
                  <a:lnTo>
                    <a:pt x="4069" y="828"/>
                  </a:lnTo>
                  <a:lnTo>
                    <a:pt x="4125" y="828"/>
                  </a:lnTo>
                  <a:lnTo>
                    <a:pt x="4125" y="839"/>
                  </a:lnTo>
                  <a:lnTo>
                    <a:pt x="4125" y="862"/>
                  </a:lnTo>
                  <a:lnTo>
                    <a:pt x="4125" y="876"/>
                  </a:lnTo>
                  <a:cubicBezTo>
                    <a:pt x="4139" y="887"/>
                    <a:pt x="4139" y="898"/>
                    <a:pt x="4150" y="898"/>
                  </a:cubicBezTo>
                  <a:cubicBezTo>
                    <a:pt x="4161" y="909"/>
                    <a:pt x="4172" y="920"/>
                    <a:pt x="4184" y="920"/>
                  </a:cubicBezTo>
                  <a:cubicBezTo>
                    <a:pt x="4195" y="932"/>
                    <a:pt x="4209" y="932"/>
                    <a:pt x="4220" y="946"/>
                  </a:cubicBezTo>
                  <a:cubicBezTo>
                    <a:pt x="4253" y="957"/>
                    <a:pt x="4279" y="990"/>
                    <a:pt x="4279" y="1038"/>
                  </a:cubicBezTo>
                  <a:lnTo>
                    <a:pt x="4279" y="1044"/>
                  </a:lnTo>
                  <a:lnTo>
                    <a:pt x="4279" y="1044"/>
                  </a:lnTo>
                  <a:cubicBezTo>
                    <a:pt x="4261" y="1056"/>
                    <a:pt x="4253" y="1074"/>
                    <a:pt x="4253" y="1085"/>
                  </a:cubicBezTo>
                  <a:cubicBezTo>
                    <a:pt x="4242" y="1119"/>
                    <a:pt x="4242" y="1141"/>
                    <a:pt x="4231" y="1167"/>
                  </a:cubicBezTo>
                  <a:lnTo>
                    <a:pt x="4231" y="1200"/>
                  </a:lnTo>
                  <a:cubicBezTo>
                    <a:pt x="4220" y="1200"/>
                    <a:pt x="4220" y="1211"/>
                    <a:pt x="4220" y="1211"/>
                  </a:cubicBezTo>
                  <a:cubicBezTo>
                    <a:pt x="4209" y="1211"/>
                    <a:pt x="4195" y="1225"/>
                    <a:pt x="4184" y="1225"/>
                  </a:cubicBezTo>
                  <a:cubicBezTo>
                    <a:pt x="4172" y="1225"/>
                    <a:pt x="4150" y="1225"/>
                    <a:pt x="4139" y="1236"/>
                  </a:cubicBezTo>
                  <a:cubicBezTo>
                    <a:pt x="4114" y="1248"/>
                    <a:pt x="4114" y="1259"/>
                    <a:pt x="4102" y="1270"/>
                  </a:cubicBezTo>
                  <a:cubicBezTo>
                    <a:pt x="4091" y="1281"/>
                    <a:pt x="4080" y="1306"/>
                    <a:pt x="4080" y="1318"/>
                  </a:cubicBezTo>
                  <a:cubicBezTo>
                    <a:pt x="4069" y="1340"/>
                    <a:pt x="4055" y="1351"/>
                    <a:pt x="4055" y="1351"/>
                  </a:cubicBezTo>
                  <a:cubicBezTo>
                    <a:pt x="4044" y="1365"/>
                    <a:pt x="4033" y="1365"/>
                    <a:pt x="4010" y="1365"/>
                  </a:cubicBezTo>
                  <a:cubicBezTo>
                    <a:pt x="3999" y="1376"/>
                    <a:pt x="3974" y="1376"/>
                    <a:pt x="3963" y="1399"/>
                  </a:cubicBezTo>
                  <a:lnTo>
                    <a:pt x="3951" y="1410"/>
                  </a:lnTo>
                  <a:lnTo>
                    <a:pt x="3940" y="1421"/>
                  </a:lnTo>
                  <a:lnTo>
                    <a:pt x="3915" y="1421"/>
                  </a:lnTo>
                  <a:cubicBezTo>
                    <a:pt x="3882" y="1421"/>
                    <a:pt x="3859" y="1435"/>
                    <a:pt x="3834" y="1457"/>
                  </a:cubicBezTo>
                  <a:cubicBezTo>
                    <a:pt x="3817" y="1466"/>
                    <a:pt x="3807" y="1488"/>
                    <a:pt x="3803" y="1508"/>
                  </a:cubicBezTo>
                  <a:lnTo>
                    <a:pt x="3803" y="1508"/>
                  </a:lnTo>
                  <a:cubicBezTo>
                    <a:pt x="3791" y="1505"/>
                    <a:pt x="3781" y="1505"/>
                    <a:pt x="3764" y="1505"/>
                  </a:cubicBezTo>
                  <a:cubicBezTo>
                    <a:pt x="3742" y="1505"/>
                    <a:pt x="3705" y="1516"/>
                    <a:pt x="3683" y="1527"/>
                  </a:cubicBezTo>
                  <a:cubicBezTo>
                    <a:pt x="3635" y="1538"/>
                    <a:pt x="3602" y="1586"/>
                    <a:pt x="3580" y="1619"/>
                  </a:cubicBezTo>
                  <a:cubicBezTo>
                    <a:pt x="3554" y="1645"/>
                    <a:pt x="3543" y="1678"/>
                    <a:pt x="3543" y="1715"/>
                  </a:cubicBezTo>
                  <a:cubicBezTo>
                    <a:pt x="3543" y="1737"/>
                    <a:pt x="3554" y="1759"/>
                    <a:pt x="3566" y="1784"/>
                  </a:cubicBezTo>
                  <a:cubicBezTo>
                    <a:pt x="3580" y="1807"/>
                    <a:pt x="3602" y="1818"/>
                    <a:pt x="3613" y="1818"/>
                  </a:cubicBezTo>
                  <a:cubicBezTo>
                    <a:pt x="3635" y="1829"/>
                    <a:pt x="3649" y="1840"/>
                    <a:pt x="3661" y="1854"/>
                  </a:cubicBezTo>
                  <a:cubicBezTo>
                    <a:pt x="3672" y="1866"/>
                    <a:pt x="3683" y="1877"/>
                    <a:pt x="3683" y="1899"/>
                  </a:cubicBezTo>
                  <a:cubicBezTo>
                    <a:pt x="3694" y="1924"/>
                    <a:pt x="3705" y="1947"/>
                    <a:pt x="3719" y="1969"/>
                  </a:cubicBezTo>
                  <a:cubicBezTo>
                    <a:pt x="3742" y="2005"/>
                    <a:pt x="3775" y="2017"/>
                    <a:pt x="3823" y="2039"/>
                  </a:cubicBezTo>
                  <a:cubicBezTo>
                    <a:pt x="3859" y="2050"/>
                    <a:pt x="3893" y="2050"/>
                    <a:pt x="3915" y="2064"/>
                  </a:cubicBezTo>
                  <a:cubicBezTo>
                    <a:pt x="3929" y="2075"/>
                    <a:pt x="3940" y="2075"/>
                    <a:pt x="3940" y="2075"/>
                  </a:cubicBezTo>
                  <a:lnTo>
                    <a:pt x="3951" y="2086"/>
                  </a:lnTo>
                  <a:lnTo>
                    <a:pt x="3951" y="2098"/>
                  </a:lnTo>
                  <a:lnTo>
                    <a:pt x="3951" y="2109"/>
                  </a:lnTo>
                  <a:cubicBezTo>
                    <a:pt x="3940" y="2109"/>
                    <a:pt x="3929" y="2120"/>
                    <a:pt x="3929" y="2120"/>
                  </a:cubicBezTo>
                  <a:lnTo>
                    <a:pt x="3845" y="2120"/>
                  </a:lnTo>
                  <a:cubicBezTo>
                    <a:pt x="3834" y="2120"/>
                    <a:pt x="3812" y="2120"/>
                    <a:pt x="3800" y="2134"/>
                  </a:cubicBezTo>
                  <a:cubicBezTo>
                    <a:pt x="3789" y="2145"/>
                    <a:pt x="3764" y="2156"/>
                    <a:pt x="3764" y="2168"/>
                  </a:cubicBezTo>
                  <a:cubicBezTo>
                    <a:pt x="3753" y="2179"/>
                    <a:pt x="3753" y="2190"/>
                    <a:pt x="3753" y="2204"/>
                  </a:cubicBezTo>
                  <a:lnTo>
                    <a:pt x="3753" y="2215"/>
                  </a:lnTo>
                  <a:cubicBezTo>
                    <a:pt x="3764" y="2344"/>
                    <a:pt x="3870" y="2458"/>
                    <a:pt x="3985" y="2470"/>
                  </a:cubicBezTo>
                  <a:cubicBezTo>
                    <a:pt x="3999" y="2484"/>
                    <a:pt x="4010" y="2484"/>
                    <a:pt x="4021" y="2484"/>
                  </a:cubicBezTo>
                  <a:cubicBezTo>
                    <a:pt x="4033" y="2484"/>
                    <a:pt x="4055" y="2470"/>
                    <a:pt x="4080" y="2470"/>
                  </a:cubicBezTo>
                  <a:cubicBezTo>
                    <a:pt x="4091" y="2458"/>
                    <a:pt x="4114" y="2436"/>
                    <a:pt x="4125" y="2414"/>
                  </a:cubicBezTo>
                  <a:lnTo>
                    <a:pt x="4125" y="2388"/>
                  </a:lnTo>
                  <a:cubicBezTo>
                    <a:pt x="4125" y="2366"/>
                    <a:pt x="4114" y="2344"/>
                    <a:pt x="4102" y="2330"/>
                  </a:cubicBezTo>
                  <a:cubicBezTo>
                    <a:pt x="4102" y="2307"/>
                    <a:pt x="4091" y="2296"/>
                    <a:pt x="4091" y="2285"/>
                  </a:cubicBezTo>
                  <a:lnTo>
                    <a:pt x="4091" y="2285"/>
                  </a:lnTo>
                  <a:lnTo>
                    <a:pt x="4102" y="2296"/>
                  </a:lnTo>
                  <a:cubicBezTo>
                    <a:pt x="4114" y="2296"/>
                    <a:pt x="4114" y="2307"/>
                    <a:pt x="4114" y="2319"/>
                  </a:cubicBezTo>
                  <a:cubicBezTo>
                    <a:pt x="4139" y="2355"/>
                    <a:pt x="4150" y="2388"/>
                    <a:pt x="4161" y="2425"/>
                  </a:cubicBezTo>
                  <a:cubicBezTo>
                    <a:pt x="4184" y="2458"/>
                    <a:pt x="4220" y="2495"/>
                    <a:pt x="4265" y="2506"/>
                  </a:cubicBezTo>
                  <a:lnTo>
                    <a:pt x="4382" y="2506"/>
                  </a:lnTo>
                  <a:cubicBezTo>
                    <a:pt x="4382" y="2506"/>
                    <a:pt x="4393" y="2506"/>
                    <a:pt x="4393" y="2517"/>
                  </a:cubicBezTo>
                  <a:cubicBezTo>
                    <a:pt x="4393" y="2517"/>
                    <a:pt x="4393" y="2528"/>
                    <a:pt x="4404" y="2539"/>
                  </a:cubicBezTo>
                  <a:cubicBezTo>
                    <a:pt x="4404" y="2553"/>
                    <a:pt x="4418" y="2576"/>
                    <a:pt x="4430" y="2587"/>
                  </a:cubicBezTo>
                  <a:cubicBezTo>
                    <a:pt x="4441" y="2598"/>
                    <a:pt x="4463" y="2609"/>
                    <a:pt x="4474" y="2609"/>
                  </a:cubicBezTo>
                  <a:lnTo>
                    <a:pt x="4511" y="2609"/>
                  </a:lnTo>
                  <a:cubicBezTo>
                    <a:pt x="4522" y="2623"/>
                    <a:pt x="4544" y="2635"/>
                    <a:pt x="4558" y="2646"/>
                  </a:cubicBezTo>
                  <a:cubicBezTo>
                    <a:pt x="4569" y="2668"/>
                    <a:pt x="4569" y="2693"/>
                    <a:pt x="4581" y="2704"/>
                  </a:cubicBezTo>
                  <a:cubicBezTo>
                    <a:pt x="4592" y="2727"/>
                    <a:pt x="4603" y="2749"/>
                    <a:pt x="4614" y="2774"/>
                  </a:cubicBezTo>
                  <a:cubicBezTo>
                    <a:pt x="4628" y="2797"/>
                    <a:pt x="4639" y="2819"/>
                    <a:pt x="4662" y="2844"/>
                  </a:cubicBezTo>
                  <a:cubicBezTo>
                    <a:pt x="4698" y="2878"/>
                    <a:pt x="4743" y="2903"/>
                    <a:pt x="4779" y="2925"/>
                  </a:cubicBezTo>
                  <a:cubicBezTo>
                    <a:pt x="4779" y="2937"/>
                    <a:pt x="4790" y="2937"/>
                    <a:pt x="4802" y="2948"/>
                  </a:cubicBezTo>
                  <a:lnTo>
                    <a:pt x="4802" y="2973"/>
                  </a:lnTo>
                  <a:cubicBezTo>
                    <a:pt x="4802" y="2984"/>
                    <a:pt x="4790" y="3006"/>
                    <a:pt x="4779" y="3018"/>
                  </a:cubicBezTo>
                  <a:cubicBezTo>
                    <a:pt x="4768" y="3029"/>
                    <a:pt x="4732" y="3029"/>
                    <a:pt x="4709" y="3043"/>
                  </a:cubicBezTo>
                  <a:lnTo>
                    <a:pt x="4614" y="3043"/>
                  </a:lnTo>
                  <a:lnTo>
                    <a:pt x="4614" y="3006"/>
                  </a:lnTo>
                  <a:lnTo>
                    <a:pt x="4614" y="2984"/>
                  </a:lnTo>
                  <a:cubicBezTo>
                    <a:pt x="4614" y="2973"/>
                    <a:pt x="4614" y="2959"/>
                    <a:pt x="4603" y="2937"/>
                  </a:cubicBezTo>
                  <a:cubicBezTo>
                    <a:pt x="4592" y="2914"/>
                    <a:pt x="4569" y="2903"/>
                    <a:pt x="4558" y="2903"/>
                  </a:cubicBezTo>
                  <a:cubicBezTo>
                    <a:pt x="4533" y="2889"/>
                    <a:pt x="4522" y="2889"/>
                    <a:pt x="4511" y="2878"/>
                  </a:cubicBezTo>
                  <a:cubicBezTo>
                    <a:pt x="4500" y="2867"/>
                    <a:pt x="4500" y="2855"/>
                    <a:pt x="4488" y="2844"/>
                  </a:cubicBezTo>
                  <a:cubicBezTo>
                    <a:pt x="4474" y="2819"/>
                    <a:pt x="4474" y="2797"/>
                    <a:pt x="4463" y="2774"/>
                  </a:cubicBezTo>
                  <a:cubicBezTo>
                    <a:pt x="4452" y="2738"/>
                    <a:pt x="4441" y="2716"/>
                    <a:pt x="4418" y="2693"/>
                  </a:cubicBezTo>
                  <a:cubicBezTo>
                    <a:pt x="4393" y="2679"/>
                    <a:pt x="4371" y="2668"/>
                    <a:pt x="4360" y="2668"/>
                  </a:cubicBezTo>
                  <a:lnTo>
                    <a:pt x="4301" y="2668"/>
                  </a:lnTo>
                  <a:cubicBezTo>
                    <a:pt x="4231" y="2668"/>
                    <a:pt x="4161" y="2646"/>
                    <a:pt x="4114" y="2609"/>
                  </a:cubicBezTo>
                  <a:cubicBezTo>
                    <a:pt x="4102" y="2598"/>
                    <a:pt x="4091" y="2576"/>
                    <a:pt x="4080" y="2565"/>
                  </a:cubicBezTo>
                  <a:cubicBezTo>
                    <a:pt x="4069" y="2539"/>
                    <a:pt x="4055" y="2517"/>
                    <a:pt x="4033" y="2506"/>
                  </a:cubicBezTo>
                  <a:cubicBezTo>
                    <a:pt x="4010" y="2495"/>
                    <a:pt x="3999" y="2495"/>
                    <a:pt x="3974" y="2495"/>
                  </a:cubicBezTo>
                  <a:cubicBezTo>
                    <a:pt x="3963" y="2484"/>
                    <a:pt x="3940" y="2484"/>
                    <a:pt x="3929" y="2484"/>
                  </a:cubicBezTo>
                  <a:cubicBezTo>
                    <a:pt x="3915" y="2470"/>
                    <a:pt x="3893" y="2470"/>
                    <a:pt x="3882" y="2470"/>
                  </a:cubicBezTo>
                  <a:cubicBezTo>
                    <a:pt x="3859" y="2470"/>
                    <a:pt x="3834" y="2484"/>
                    <a:pt x="3812" y="2484"/>
                  </a:cubicBezTo>
                  <a:cubicBezTo>
                    <a:pt x="3800" y="2495"/>
                    <a:pt x="3789" y="2506"/>
                    <a:pt x="3775" y="2506"/>
                  </a:cubicBezTo>
                  <a:cubicBezTo>
                    <a:pt x="3764" y="2517"/>
                    <a:pt x="3742" y="2517"/>
                    <a:pt x="3731" y="2517"/>
                  </a:cubicBezTo>
                  <a:lnTo>
                    <a:pt x="3649" y="2517"/>
                  </a:lnTo>
                  <a:cubicBezTo>
                    <a:pt x="3624" y="2517"/>
                    <a:pt x="3602" y="2528"/>
                    <a:pt x="3591" y="2553"/>
                  </a:cubicBezTo>
                  <a:cubicBezTo>
                    <a:pt x="3566" y="2576"/>
                    <a:pt x="3543" y="2609"/>
                    <a:pt x="3543" y="2657"/>
                  </a:cubicBezTo>
                  <a:lnTo>
                    <a:pt x="3543" y="2693"/>
                  </a:lnTo>
                  <a:cubicBezTo>
                    <a:pt x="3554" y="2727"/>
                    <a:pt x="3591" y="2774"/>
                    <a:pt x="3624" y="2786"/>
                  </a:cubicBezTo>
                  <a:cubicBezTo>
                    <a:pt x="3635" y="2797"/>
                    <a:pt x="3661" y="2797"/>
                    <a:pt x="3661" y="2797"/>
                  </a:cubicBezTo>
                  <a:cubicBezTo>
                    <a:pt x="3672" y="2797"/>
                    <a:pt x="3683" y="2808"/>
                    <a:pt x="3694" y="2808"/>
                  </a:cubicBezTo>
                  <a:cubicBezTo>
                    <a:pt x="3705" y="2819"/>
                    <a:pt x="3705" y="2833"/>
                    <a:pt x="3719" y="2855"/>
                  </a:cubicBezTo>
                  <a:cubicBezTo>
                    <a:pt x="3731" y="2867"/>
                    <a:pt x="3742" y="2903"/>
                    <a:pt x="3753" y="2914"/>
                  </a:cubicBezTo>
                  <a:cubicBezTo>
                    <a:pt x="3775" y="2937"/>
                    <a:pt x="3800" y="2948"/>
                    <a:pt x="3823" y="2959"/>
                  </a:cubicBezTo>
                  <a:cubicBezTo>
                    <a:pt x="3870" y="2973"/>
                    <a:pt x="3904" y="2995"/>
                    <a:pt x="3940" y="3006"/>
                  </a:cubicBezTo>
                  <a:cubicBezTo>
                    <a:pt x="3974" y="3018"/>
                    <a:pt x="4010" y="3029"/>
                    <a:pt x="4033" y="3054"/>
                  </a:cubicBezTo>
                  <a:cubicBezTo>
                    <a:pt x="4055" y="3076"/>
                    <a:pt x="4069" y="3099"/>
                    <a:pt x="4069" y="3113"/>
                  </a:cubicBezTo>
                  <a:cubicBezTo>
                    <a:pt x="4069" y="3124"/>
                    <a:pt x="4069" y="3124"/>
                    <a:pt x="4055" y="3135"/>
                  </a:cubicBezTo>
                  <a:lnTo>
                    <a:pt x="4055" y="3169"/>
                  </a:lnTo>
                  <a:lnTo>
                    <a:pt x="4055" y="3194"/>
                  </a:lnTo>
                  <a:cubicBezTo>
                    <a:pt x="4055" y="3205"/>
                    <a:pt x="4069" y="3216"/>
                    <a:pt x="4080" y="3216"/>
                  </a:cubicBezTo>
                  <a:lnTo>
                    <a:pt x="4091" y="3227"/>
                  </a:lnTo>
                  <a:lnTo>
                    <a:pt x="4091" y="3239"/>
                  </a:lnTo>
                  <a:lnTo>
                    <a:pt x="4091" y="3286"/>
                  </a:lnTo>
                  <a:lnTo>
                    <a:pt x="4091" y="3322"/>
                  </a:lnTo>
                  <a:lnTo>
                    <a:pt x="4102" y="3334"/>
                  </a:lnTo>
                  <a:cubicBezTo>
                    <a:pt x="4102" y="3334"/>
                    <a:pt x="4102" y="3345"/>
                    <a:pt x="4091" y="3345"/>
                  </a:cubicBezTo>
                  <a:cubicBezTo>
                    <a:pt x="4091" y="3345"/>
                    <a:pt x="4080" y="3356"/>
                    <a:pt x="4069" y="3367"/>
                  </a:cubicBezTo>
                  <a:cubicBezTo>
                    <a:pt x="4055" y="3378"/>
                    <a:pt x="4055" y="3392"/>
                    <a:pt x="4044" y="3403"/>
                  </a:cubicBezTo>
                  <a:cubicBezTo>
                    <a:pt x="4044" y="3415"/>
                    <a:pt x="4033" y="3426"/>
                    <a:pt x="4033" y="3437"/>
                  </a:cubicBezTo>
                  <a:cubicBezTo>
                    <a:pt x="4021" y="3448"/>
                    <a:pt x="3999" y="3462"/>
                    <a:pt x="3985" y="3462"/>
                  </a:cubicBezTo>
                  <a:lnTo>
                    <a:pt x="3974" y="3462"/>
                  </a:lnTo>
                  <a:cubicBezTo>
                    <a:pt x="3963" y="3462"/>
                    <a:pt x="3940" y="3448"/>
                    <a:pt x="3929" y="3426"/>
                  </a:cubicBezTo>
                  <a:cubicBezTo>
                    <a:pt x="3929" y="3426"/>
                    <a:pt x="3929" y="3403"/>
                    <a:pt x="3915" y="3392"/>
                  </a:cubicBezTo>
                  <a:cubicBezTo>
                    <a:pt x="3915" y="3378"/>
                    <a:pt x="3915" y="3356"/>
                    <a:pt x="3893" y="3345"/>
                  </a:cubicBezTo>
                  <a:cubicBezTo>
                    <a:pt x="3870" y="3322"/>
                    <a:pt x="3845" y="3308"/>
                    <a:pt x="3823" y="3308"/>
                  </a:cubicBezTo>
                  <a:cubicBezTo>
                    <a:pt x="3812" y="3308"/>
                    <a:pt x="3789" y="3308"/>
                    <a:pt x="3775" y="3297"/>
                  </a:cubicBezTo>
                  <a:cubicBezTo>
                    <a:pt x="3775" y="3297"/>
                    <a:pt x="3775" y="3286"/>
                    <a:pt x="3764" y="3275"/>
                  </a:cubicBezTo>
                  <a:lnTo>
                    <a:pt x="3764" y="3227"/>
                  </a:lnTo>
                  <a:cubicBezTo>
                    <a:pt x="3764" y="3205"/>
                    <a:pt x="3764" y="3183"/>
                    <a:pt x="3753" y="3157"/>
                  </a:cubicBezTo>
                  <a:cubicBezTo>
                    <a:pt x="3753" y="3135"/>
                    <a:pt x="3731" y="3124"/>
                    <a:pt x="3719" y="3099"/>
                  </a:cubicBezTo>
                  <a:cubicBezTo>
                    <a:pt x="3705" y="3088"/>
                    <a:pt x="3694" y="3065"/>
                    <a:pt x="3683" y="3054"/>
                  </a:cubicBezTo>
                  <a:cubicBezTo>
                    <a:pt x="3661" y="3029"/>
                    <a:pt x="3649" y="2995"/>
                    <a:pt x="3624" y="2959"/>
                  </a:cubicBezTo>
                  <a:cubicBezTo>
                    <a:pt x="3566" y="2867"/>
                    <a:pt x="3462" y="2797"/>
                    <a:pt x="3356" y="2797"/>
                  </a:cubicBezTo>
                  <a:cubicBezTo>
                    <a:pt x="3322" y="2797"/>
                    <a:pt x="3286" y="2797"/>
                    <a:pt x="3264" y="2786"/>
                  </a:cubicBezTo>
                  <a:cubicBezTo>
                    <a:pt x="3241" y="2774"/>
                    <a:pt x="3216" y="2749"/>
                    <a:pt x="3182" y="2738"/>
                  </a:cubicBezTo>
                  <a:cubicBezTo>
                    <a:pt x="3171" y="2727"/>
                    <a:pt x="3160" y="2716"/>
                    <a:pt x="3146" y="2704"/>
                  </a:cubicBezTo>
                  <a:cubicBezTo>
                    <a:pt x="3124" y="2704"/>
                    <a:pt x="3113" y="2693"/>
                    <a:pt x="3090" y="2693"/>
                  </a:cubicBezTo>
                  <a:lnTo>
                    <a:pt x="3043" y="2693"/>
                  </a:lnTo>
                  <a:cubicBezTo>
                    <a:pt x="3043" y="2693"/>
                    <a:pt x="3043" y="2679"/>
                    <a:pt x="3031" y="2679"/>
                  </a:cubicBezTo>
                  <a:lnTo>
                    <a:pt x="3020" y="2679"/>
                  </a:lnTo>
                  <a:cubicBezTo>
                    <a:pt x="2995" y="2679"/>
                    <a:pt x="2984" y="2693"/>
                    <a:pt x="2984" y="2693"/>
                  </a:cubicBezTo>
                  <a:cubicBezTo>
                    <a:pt x="2936" y="2738"/>
                    <a:pt x="2892" y="2797"/>
                    <a:pt x="2892" y="2867"/>
                  </a:cubicBezTo>
                  <a:lnTo>
                    <a:pt x="2892" y="2878"/>
                  </a:lnTo>
                  <a:cubicBezTo>
                    <a:pt x="2892" y="2903"/>
                    <a:pt x="2903" y="2937"/>
                    <a:pt x="2914" y="2959"/>
                  </a:cubicBezTo>
                  <a:cubicBezTo>
                    <a:pt x="2936" y="2995"/>
                    <a:pt x="2962" y="3018"/>
                    <a:pt x="2995" y="3018"/>
                  </a:cubicBezTo>
                  <a:cubicBezTo>
                    <a:pt x="3006" y="3029"/>
                    <a:pt x="3020" y="3029"/>
                    <a:pt x="3031" y="3029"/>
                  </a:cubicBezTo>
                  <a:cubicBezTo>
                    <a:pt x="3031" y="3029"/>
                    <a:pt x="3043" y="3029"/>
                    <a:pt x="3043" y="3043"/>
                  </a:cubicBezTo>
                  <a:cubicBezTo>
                    <a:pt x="3065" y="3065"/>
                    <a:pt x="3090" y="3099"/>
                    <a:pt x="3090" y="3135"/>
                  </a:cubicBezTo>
                  <a:cubicBezTo>
                    <a:pt x="3101" y="3157"/>
                    <a:pt x="3101" y="3183"/>
                    <a:pt x="3113" y="3205"/>
                  </a:cubicBezTo>
                  <a:cubicBezTo>
                    <a:pt x="3135" y="3264"/>
                    <a:pt x="3182" y="3286"/>
                    <a:pt x="3230" y="3308"/>
                  </a:cubicBezTo>
                  <a:cubicBezTo>
                    <a:pt x="3286" y="3345"/>
                    <a:pt x="3356" y="3367"/>
                    <a:pt x="3440" y="3378"/>
                  </a:cubicBezTo>
                  <a:cubicBezTo>
                    <a:pt x="3451" y="3378"/>
                    <a:pt x="3473" y="3392"/>
                    <a:pt x="3484" y="3392"/>
                  </a:cubicBezTo>
                  <a:cubicBezTo>
                    <a:pt x="3496" y="3403"/>
                    <a:pt x="3510" y="3415"/>
                    <a:pt x="3521" y="3415"/>
                  </a:cubicBezTo>
                  <a:cubicBezTo>
                    <a:pt x="3521" y="3426"/>
                    <a:pt x="3521" y="3448"/>
                    <a:pt x="3532" y="3462"/>
                  </a:cubicBezTo>
                  <a:cubicBezTo>
                    <a:pt x="3532" y="3473"/>
                    <a:pt x="3532" y="3485"/>
                    <a:pt x="3543" y="3496"/>
                  </a:cubicBezTo>
                  <a:cubicBezTo>
                    <a:pt x="3554" y="3507"/>
                    <a:pt x="3566" y="3507"/>
                    <a:pt x="3580" y="3518"/>
                  </a:cubicBezTo>
                  <a:lnTo>
                    <a:pt x="3624" y="3518"/>
                  </a:lnTo>
                  <a:lnTo>
                    <a:pt x="3624" y="3532"/>
                  </a:lnTo>
                  <a:cubicBezTo>
                    <a:pt x="3624" y="3532"/>
                    <a:pt x="3613" y="3543"/>
                    <a:pt x="3591" y="3543"/>
                  </a:cubicBezTo>
                  <a:lnTo>
                    <a:pt x="3554" y="3543"/>
                  </a:lnTo>
                  <a:cubicBezTo>
                    <a:pt x="3440" y="3543"/>
                    <a:pt x="3322" y="3485"/>
                    <a:pt x="3216" y="3426"/>
                  </a:cubicBezTo>
                  <a:cubicBezTo>
                    <a:pt x="3194" y="3403"/>
                    <a:pt x="3171" y="3392"/>
                    <a:pt x="3146" y="3392"/>
                  </a:cubicBezTo>
                  <a:lnTo>
                    <a:pt x="3135" y="3392"/>
                  </a:lnTo>
                  <a:cubicBezTo>
                    <a:pt x="3101" y="3392"/>
                    <a:pt x="3076" y="3403"/>
                    <a:pt x="3054" y="3415"/>
                  </a:cubicBezTo>
                  <a:cubicBezTo>
                    <a:pt x="3031" y="3426"/>
                    <a:pt x="3006" y="3437"/>
                    <a:pt x="2984" y="3448"/>
                  </a:cubicBezTo>
                  <a:cubicBezTo>
                    <a:pt x="2973" y="3448"/>
                    <a:pt x="2962" y="3437"/>
                    <a:pt x="2962" y="3437"/>
                  </a:cubicBezTo>
                  <a:cubicBezTo>
                    <a:pt x="2950" y="3437"/>
                    <a:pt x="2950" y="3426"/>
                    <a:pt x="2950" y="3426"/>
                  </a:cubicBezTo>
                  <a:lnTo>
                    <a:pt x="2950" y="3415"/>
                  </a:lnTo>
                  <a:lnTo>
                    <a:pt x="2962" y="3403"/>
                  </a:lnTo>
                  <a:cubicBezTo>
                    <a:pt x="2962" y="3392"/>
                    <a:pt x="2962" y="3378"/>
                    <a:pt x="2973" y="3378"/>
                  </a:cubicBezTo>
                  <a:cubicBezTo>
                    <a:pt x="2984" y="3356"/>
                    <a:pt x="2984" y="3334"/>
                    <a:pt x="2984" y="3308"/>
                  </a:cubicBezTo>
                  <a:cubicBezTo>
                    <a:pt x="2984" y="3275"/>
                    <a:pt x="2973" y="3239"/>
                    <a:pt x="2962" y="3216"/>
                  </a:cubicBezTo>
                  <a:cubicBezTo>
                    <a:pt x="2936" y="3183"/>
                    <a:pt x="2914" y="3169"/>
                    <a:pt x="2892" y="3146"/>
                  </a:cubicBezTo>
                  <a:cubicBezTo>
                    <a:pt x="2881" y="3135"/>
                    <a:pt x="2867" y="3124"/>
                    <a:pt x="2867" y="3124"/>
                  </a:cubicBezTo>
                  <a:cubicBezTo>
                    <a:pt x="2855" y="3113"/>
                    <a:pt x="2855" y="3099"/>
                    <a:pt x="2855" y="3088"/>
                  </a:cubicBezTo>
                  <a:cubicBezTo>
                    <a:pt x="2855" y="3065"/>
                    <a:pt x="2867" y="3054"/>
                    <a:pt x="2881" y="3029"/>
                  </a:cubicBezTo>
                  <a:cubicBezTo>
                    <a:pt x="2892" y="3006"/>
                    <a:pt x="2892" y="2984"/>
                    <a:pt x="2892" y="2948"/>
                  </a:cubicBezTo>
                  <a:cubicBezTo>
                    <a:pt x="2892" y="2903"/>
                    <a:pt x="2881" y="2867"/>
                    <a:pt x="2855" y="2819"/>
                  </a:cubicBezTo>
                  <a:cubicBezTo>
                    <a:pt x="2833" y="2763"/>
                    <a:pt x="2763" y="2738"/>
                    <a:pt x="2716" y="2716"/>
                  </a:cubicBezTo>
                  <a:cubicBezTo>
                    <a:pt x="2657" y="2704"/>
                    <a:pt x="2601" y="2679"/>
                    <a:pt x="2542" y="2657"/>
                  </a:cubicBezTo>
                  <a:cubicBezTo>
                    <a:pt x="2483" y="2646"/>
                    <a:pt x="2436" y="2609"/>
                    <a:pt x="2402" y="2576"/>
                  </a:cubicBezTo>
                  <a:cubicBezTo>
                    <a:pt x="2377" y="2553"/>
                    <a:pt x="2366" y="2528"/>
                    <a:pt x="2344" y="2506"/>
                  </a:cubicBezTo>
                  <a:cubicBezTo>
                    <a:pt x="2332" y="2484"/>
                    <a:pt x="2307" y="2458"/>
                    <a:pt x="2274" y="2447"/>
                  </a:cubicBezTo>
                  <a:cubicBezTo>
                    <a:pt x="2251" y="2436"/>
                    <a:pt x="2226" y="2425"/>
                    <a:pt x="2193" y="2425"/>
                  </a:cubicBezTo>
                  <a:cubicBezTo>
                    <a:pt x="2169" y="2425"/>
                    <a:pt x="2146" y="2430"/>
                    <a:pt x="2123" y="2436"/>
                  </a:cubicBezTo>
                  <a:lnTo>
                    <a:pt x="2123" y="2436"/>
                  </a:lnTo>
                  <a:lnTo>
                    <a:pt x="2123" y="2400"/>
                  </a:lnTo>
                  <a:cubicBezTo>
                    <a:pt x="2123" y="2366"/>
                    <a:pt x="2123" y="2319"/>
                    <a:pt x="2098" y="2285"/>
                  </a:cubicBezTo>
                  <a:cubicBezTo>
                    <a:pt x="2075" y="2249"/>
                    <a:pt x="2053" y="2226"/>
                    <a:pt x="2028" y="2204"/>
                  </a:cubicBezTo>
                  <a:cubicBezTo>
                    <a:pt x="2016" y="2190"/>
                    <a:pt x="2016" y="2179"/>
                    <a:pt x="2016" y="2168"/>
                  </a:cubicBezTo>
                  <a:lnTo>
                    <a:pt x="2016" y="2156"/>
                  </a:lnTo>
                  <a:lnTo>
                    <a:pt x="2053" y="2156"/>
                  </a:lnTo>
                  <a:cubicBezTo>
                    <a:pt x="2064" y="2168"/>
                    <a:pt x="2064" y="2168"/>
                    <a:pt x="2086" y="2179"/>
                  </a:cubicBezTo>
                  <a:lnTo>
                    <a:pt x="2123" y="2179"/>
                  </a:lnTo>
                  <a:cubicBezTo>
                    <a:pt x="2167" y="2179"/>
                    <a:pt x="2215" y="2156"/>
                    <a:pt x="2263" y="2134"/>
                  </a:cubicBezTo>
                  <a:cubicBezTo>
                    <a:pt x="2274" y="2120"/>
                    <a:pt x="2285" y="2120"/>
                    <a:pt x="2296" y="2109"/>
                  </a:cubicBezTo>
                  <a:cubicBezTo>
                    <a:pt x="2307" y="2098"/>
                    <a:pt x="2307" y="2075"/>
                    <a:pt x="2307" y="2050"/>
                  </a:cubicBezTo>
                  <a:lnTo>
                    <a:pt x="2307" y="2039"/>
                  </a:lnTo>
                  <a:cubicBezTo>
                    <a:pt x="2307" y="2028"/>
                    <a:pt x="2296" y="2017"/>
                    <a:pt x="2285" y="2005"/>
                  </a:cubicBezTo>
                  <a:cubicBezTo>
                    <a:pt x="2274" y="2005"/>
                    <a:pt x="2263" y="1994"/>
                    <a:pt x="2251" y="1994"/>
                  </a:cubicBezTo>
                  <a:cubicBezTo>
                    <a:pt x="2237" y="1980"/>
                    <a:pt x="2226" y="1980"/>
                    <a:pt x="2226" y="1980"/>
                  </a:cubicBezTo>
                  <a:lnTo>
                    <a:pt x="2226" y="1958"/>
                  </a:lnTo>
                  <a:cubicBezTo>
                    <a:pt x="2226" y="1958"/>
                    <a:pt x="2226" y="1935"/>
                    <a:pt x="2237" y="1924"/>
                  </a:cubicBezTo>
                  <a:cubicBezTo>
                    <a:pt x="2237" y="1899"/>
                    <a:pt x="2251" y="1888"/>
                    <a:pt x="2251" y="1866"/>
                  </a:cubicBezTo>
                  <a:cubicBezTo>
                    <a:pt x="2251" y="1854"/>
                    <a:pt x="2251" y="1840"/>
                    <a:pt x="2237" y="1829"/>
                  </a:cubicBezTo>
                  <a:cubicBezTo>
                    <a:pt x="2237" y="1818"/>
                    <a:pt x="2226" y="1807"/>
                    <a:pt x="2204" y="1796"/>
                  </a:cubicBezTo>
                  <a:cubicBezTo>
                    <a:pt x="2193" y="1784"/>
                    <a:pt x="2181" y="1784"/>
                    <a:pt x="2156" y="1784"/>
                  </a:cubicBezTo>
                  <a:cubicBezTo>
                    <a:pt x="2145" y="1784"/>
                    <a:pt x="2134" y="1784"/>
                    <a:pt x="2123" y="1796"/>
                  </a:cubicBezTo>
                  <a:cubicBezTo>
                    <a:pt x="2098" y="1796"/>
                    <a:pt x="2075" y="1807"/>
                    <a:pt x="2053" y="1829"/>
                  </a:cubicBezTo>
                  <a:cubicBezTo>
                    <a:pt x="2028" y="1840"/>
                    <a:pt x="2016" y="1866"/>
                    <a:pt x="2016" y="1888"/>
                  </a:cubicBezTo>
                  <a:lnTo>
                    <a:pt x="2016" y="1899"/>
                  </a:lnTo>
                  <a:cubicBezTo>
                    <a:pt x="2016" y="1924"/>
                    <a:pt x="2028" y="1935"/>
                    <a:pt x="2028" y="1947"/>
                  </a:cubicBezTo>
                  <a:lnTo>
                    <a:pt x="2042" y="1958"/>
                  </a:lnTo>
                  <a:cubicBezTo>
                    <a:pt x="2042" y="1969"/>
                    <a:pt x="2028" y="1980"/>
                    <a:pt x="2028" y="1980"/>
                  </a:cubicBezTo>
                  <a:cubicBezTo>
                    <a:pt x="2016" y="1994"/>
                    <a:pt x="2005" y="1994"/>
                    <a:pt x="1994" y="1994"/>
                  </a:cubicBezTo>
                  <a:lnTo>
                    <a:pt x="1888" y="1994"/>
                  </a:lnTo>
                  <a:cubicBezTo>
                    <a:pt x="1877" y="1994"/>
                    <a:pt x="1854" y="2005"/>
                    <a:pt x="1843" y="2017"/>
                  </a:cubicBezTo>
                  <a:cubicBezTo>
                    <a:pt x="1818" y="2028"/>
                    <a:pt x="1807" y="2039"/>
                    <a:pt x="1807" y="2064"/>
                  </a:cubicBezTo>
                  <a:lnTo>
                    <a:pt x="1807" y="2075"/>
                  </a:lnTo>
                  <a:cubicBezTo>
                    <a:pt x="1818" y="2098"/>
                    <a:pt x="1818" y="2109"/>
                    <a:pt x="1832" y="2120"/>
                  </a:cubicBezTo>
                  <a:cubicBezTo>
                    <a:pt x="1832" y="2134"/>
                    <a:pt x="1843" y="2134"/>
                    <a:pt x="1843" y="2134"/>
                  </a:cubicBezTo>
                  <a:lnTo>
                    <a:pt x="1832" y="2134"/>
                  </a:lnTo>
                  <a:cubicBezTo>
                    <a:pt x="1818" y="2134"/>
                    <a:pt x="1807" y="2134"/>
                    <a:pt x="1796" y="2120"/>
                  </a:cubicBezTo>
                  <a:cubicBezTo>
                    <a:pt x="1773" y="2109"/>
                    <a:pt x="1748" y="2086"/>
                    <a:pt x="1714" y="2075"/>
                  </a:cubicBezTo>
                  <a:cubicBezTo>
                    <a:pt x="1714" y="2064"/>
                    <a:pt x="1703" y="2064"/>
                    <a:pt x="1703" y="2064"/>
                  </a:cubicBezTo>
                  <a:lnTo>
                    <a:pt x="1692" y="2064"/>
                  </a:lnTo>
                  <a:cubicBezTo>
                    <a:pt x="1678" y="2075"/>
                    <a:pt x="1667" y="2075"/>
                    <a:pt x="1667" y="2086"/>
                  </a:cubicBezTo>
                  <a:cubicBezTo>
                    <a:pt x="1656" y="2098"/>
                    <a:pt x="1656" y="2098"/>
                    <a:pt x="1656" y="2109"/>
                  </a:cubicBezTo>
                  <a:cubicBezTo>
                    <a:pt x="1656" y="2120"/>
                    <a:pt x="1667" y="2145"/>
                    <a:pt x="1667" y="2156"/>
                  </a:cubicBezTo>
                  <a:cubicBezTo>
                    <a:pt x="1678" y="2156"/>
                    <a:pt x="1692" y="2168"/>
                    <a:pt x="1692" y="2168"/>
                  </a:cubicBezTo>
                  <a:cubicBezTo>
                    <a:pt x="1703" y="2179"/>
                    <a:pt x="1703" y="2179"/>
                    <a:pt x="1714" y="2179"/>
                  </a:cubicBezTo>
                  <a:lnTo>
                    <a:pt x="1714" y="2190"/>
                  </a:lnTo>
                  <a:cubicBezTo>
                    <a:pt x="1714" y="2204"/>
                    <a:pt x="1703" y="2204"/>
                    <a:pt x="1703" y="2215"/>
                  </a:cubicBezTo>
                  <a:cubicBezTo>
                    <a:pt x="1692" y="2215"/>
                    <a:pt x="1692" y="2226"/>
                    <a:pt x="1678" y="2226"/>
                  </a:cubicBezTo>
                  <a:lnTo>
                    <a:pt x="1667" y="2226"/>
                  </a:lnTo>
                  <a:cubicBezTo>
                    <a:pt x="1645" y="2226"/>
                    <a:pt x="1622" y="2215"/>
                    <a:pt x="1597" y="2215"/>
                  </a:cubicBezTo>
                  <a:lnTo>
                    <a:pt x="1586" y="2204"/>
                  </a:lnTo>
                  <a:lnTo>
                    <a:pt x="1575" y="2215"/>
                  </a:lnTo>
                  <a:cubicBezTo>
                    <a:pt x="1563" y="2226"/>
                    <a:pt x="1563" y="2249"/>
                    <a:pt x="1563" y="2260"/>
                  </a:cubicBezTo>
                  <a:cubicBezTo>
                    <a:pt x="1563" y="2285"/>
                    <a:pt x="1563" y="2296"/>
                    <a:pt x="1586" y="2319"/>
                  </a:cubicBezTo>
                  <a:cubicBezTo>
                    <a:pt x="1586" y="2319"/>
                    <a:pt x="1597" y="2319"/>
                    <a:pt x="1597" y="2330"/>
                  </a:cubicBezTo>
                  <a:lnTo>
                    <a:pt x="1608" y="2330"/>
                  </a:lnTo>
                  <a:lnTo>
                    <a:pt x="1608" y="2344"/>
                  </a:lnTo>
                  <a:lnTo>
                    <a:pt x="1608" y="2366"/>
                  </a:lnTo>
                  <a:lnTo>
                    <a:pt x="1608" y="2388"/>
                  </a:lnTo>
                  <a:cubicBezTo>
                    <a:pt x="1608" y="2400"/>
                    <a:pt x="1622" y="2414"/>
                    <a:pt x="1622" y="2414"/>
                  </a:cubicBezTo>
                  <a:cubicBezTo>
                    <a:pt x="1633" y="2425"/>
                    <a:pt x="1645" y="2436"/>
                    <a:pt x="1656" y="2447"/>
                  </a:cubicBezTo>
                  <a:cubicBezTo>
                    <a:pt x="1667" y="2447"/>
                    <a:pt x="1678" y="2458"/>
                    <a:pt x="1678" y="2458"/>
                  </a:cubicBezTo>
                  <a:cubicBezTo>
                    <a:pt x="1692" y="2470"/>
                    <a:pt x="1692" y="2484"/>
                    <a:pt x="1692" y="2484"/>
                  </a:cubicBezTo>
                  <a:cubicBezTo>
                    <a:pt x="1692" y="2495"/>
                    <a:pt x="1678" y="2506"/>
                    <a:pt x="1678" y="2517"/>
                  </a:cubicBezTo>
                  <a:cubicBezTo>
                    <a:pt x="1667" y="2539"/>
                    <a:pt x="1645" y="2565"/>
                    <a:pt x="1633" y="2587"/>
                  </a:cubicBezTo>
                  <a:cubicBezTo>
                    <a:pt x="1608" y="2635"/>
                    <a:pt x="1597" y="2679"/>
                    <a:pt x="1586" y="2727"/>
                  </a:cubicBezTo>
                  <a:cubicBezTo>
                    <a:pt x="1575" y="2774"/>
                    <a:pt x="1563" y="2819"/>
                    <a:pt x="1527" y="2855"/>
                  </a:cubicBezTo>
                  <a:cubicBezTo>
                    <a:pt x="1516" y="2867"/>
                    <a:pt x="1505" y="2878"/>
                    <a:pt x="1494" y="2903"/>
                  </a:cubicBezTo>
                  <a:cubicBezTo>
                    <a:pt x="1482" y="2914"/>
                    <a:pt x="1457" y="2937"/>
                    <a:pt x="1457" y="2973"/>
                  </a:cubicBezTo>
                  <a:cubicBezTo>
                    <a:pt x="1457" y="3006"/>
                    <a:pt x="1482" y="3043"/>
                    <a:pt x="1494" y="3065"/>
                  </a:cubicBezTo>
                  <a:cubicBezTo>
                    <a:pt x="1505" y="3076"/>
                    <a:pt x="1505" y="3099"/>
                    <a:pt x="1505" y="3124"/>
                  </a:cubicBezTo>
                  <a:lnTo>
                    <a:pt x="1505" y="3146"/>
                  </a:lnTo>
                  <a:lnTo>
                    <a:pt x="1505" y="3157"/>
                  </a:lnTo>
                  <a:cubicBezTo>
                    <a:pt x="1505" y="3169"/>
                    <a:pt x="1505" y="3194"/>
                    <a:pt x="1516" y="3216"/>
                  </a:cubicBezTo>
                  <a:cubicBezTo>
                    <a:pt x="1516" y="3239"/>
                    <a:pt x="1527" y="3252"/>
                    <a:pt x="1538" y="3264"/>
                  </a:cubicBezTo>
                  <a:cubicBezTo>
                    <a:pt x="1552" y="3275"/>
                    <a:pt x="1563" y="3286"/>
                    <a:pt x="1575" y="3297"/>
                  </a:cubicBezTo>
                  <a:cubicBezTo>
                    <a:pt x="1575" y="3322"/>
                    <a:pt x="1586" y="3345"/>
                    <a:pt x="1597" y="3356"/>
                  </a:cubicBezTo>
                  <a:cubicBezTo>
                    <a:pt x="1600" y="3362"/>
                    <a:pt x="1604" y="3368"/>
                    <a:pt x="1609" y="3373"/>
                  </a:cubicBezTo>
                  <a:lnTo>
                    <a:pt x="1609" y="3373"/>
                  </a:lnTo>
                  <a:cubicBezTo>
                    <a:pt x="1592" y="3384"/>
                    <a:pt x="1578" y="3396"/>
                    <a:pt x="1563" y="3403"/>
                  </a:cubicBezTo>
                  <a:cubicBezTo>
                    <a:pt x="1538" y="3415"/>
                    <a:pt x="1527" y="3415"/>
                    <a:pt x="1505" y="3415"/>
                  </a:cubicBezTo>
                  <a:cubicBezTo>
                    <a:pt x="1494" y="3415"/>
                    <a:pt x="1468" y="3403"/>
                    <a:pt x="1457" y="3403"/>
                  </a:cubicBezTo>
                  <a:cubicBezTo>
                    <a:pt x="1446" y="3392"/>
                    <a:pt x="1435" y="3392"/>
                    <a:pt x="1435" y="3367"/>
                  </a:cubicBezTo>
                  <a:cubicBezTo>
                    <a:pt x="1424" y="3367"/>
                    <a:pt x="1424" y="3356"/>
                    <a:pt x="1424" y="3345"/>
                  </a:cubicBezTo>
                  <a:cubicBezTo>
                    <a:pt x="1424" y="3334"/>
                    <a:pt x="1412" y="3334"/>
                    <a:pt x="1412" y="3322"/>
                  </a:cubicBezTo>
                  <a:cubicBezTo>
                    <a:pt x="1398" y="3308"/>
                    <a:pt x="1398" y="3308"/>
                    <a:pt x="1387" y="3308"/>
                  </a:cubicBezTo>
                  <a:cubicBezTo>
                    <a:pt x="1376" y="3297"/>
                    <a:pt x="1365" y="3297"/>
                    <a:pt x="1354" y="3297"/>
                  </a:cubicBezTo>
                  <a:cubicBezTo>
                    <a:pt x="1354" y="3297"/>
                    <a:pt x="1343" y="3297"/>
                    <a:pt x="1343" y="3286"/>
                  </a:cubicBezTo>
                  <a:cubicBezTo>
                    <a:pt x="1329" y="3275"/>
                    <a:pt x="1329" y="3264"/>
                    <a:pt x="1317" y="3239"/>
                  </a:cubicBezTo>
                  <a:cubicBezTo>
                    <a:pt x="1306" y="3227"/>
                    <a:pt x="1295" y="3205"/>
                    <a:pt x="1273" y="3194"/>
                  </a:cubicBezTo>
                  <a:cubicBezTo>
                    <a:pt x="1259" y="3183"/>
                    <a:pt x="1236" y="3183"/>
                    <a:pt x="1225" y="3183"/>
                  </a:cubicBezTo>
                  <a:lnTo>
                    <a:pt x="1178" y="3183"/>
                  </a:lnTo>
                  <a:cubicBezTo>
                    <a:pt x="1166" y="3183"/>
                    <a:pt x="1155" y="3183"/>
                    <a:pt x="1155" y="3169"/>
                  </a:cubicBezTo>
                  <a:cubicBezTo>
                    <a:pt x="1144" y="3169"/>
                    <a:pt x="1144" y="3169"/>
                    <a:pt x="1133" y="3157"/>
                  </a:cubicBezTo>
                  <a:lnTo>
                    <a:pt x="1133" y="3124"/>
                  </a:lnTo>
                  <a:cubicBezTo>
                    <a:pt x="1133" y="3099"/>
                    <a:pt x="1133" y="3076"/>
                    <a:pt x="1144" y="3065"/>
                  </a:cubicBezTo>
                  <a:cubicBezTo>
                    <a:pt x="1155" y="3029"/>
                    <a:pt x="1155" y="3006"/>
                    <a:pt x="1155" y="2973"/>
                  </a:cubicBezTo>
                  <a:lnTo>
                    <a:pt x="1155" y="2925"/>
                  </a:lnTo>
                  <a:cubicBezTo>
                    <a:pt x="1144" y="2914"/>
                    <a:pt x="1133" y="2903"/>
                    <a:pt x="1119" y="2889"/>
                  </a:cubicBezTo>
                  <a:cubicBezTo>
                    <a:pt x="1108" y="2878"/>
                    <a:pt x="1085" y="2878"/>
                    <a:pt x="1074" y="2878"/>
                  </a:cubicBezTo>
                  <a:cubicBezTo>
                    <a:pt x="1038" y="2878"/>
                    <a:pt x="1004" y="2889"/>
                    <a:pt x="993" y="2925"/>
                  </a:cubicBezTo>
                  <a:cubicBezTo>
                    <a:pt x="979" y="2948"/>
                    <a:pt x="979" y="2973"/>
                    <a:pt x="968" y="2995"/>
                  </a:cubicBezTo>
                  <a:lnTo>
                    <a:pt x="968" y="3018"/>
                  </a:lnTo>
                  <a:lnTo>
                    <a:pt x="957" y="3029"/>
                  </a:lnTo>
                  <a:cubicBezTo>
                    <a:pt x="946" y="3029"/>
                    <a:pt x="946" y="3029"/>
                    <a:pt x="946" y="3043"/>
                  </a:cubicBezTo>
                  <a:cubicBezTo>
                    <a:pt x="934" y="3043"/>
                    <a:pt x="923" y="3029"/>
                    <a:pt x="909" y="3018"/>
                  </a:cubicBezTo>
                  <a:cubicBezTo>
                    <a:pt x="898" y="3006"/>
                    <a:pt x="887" y="2995"/>
                    <a:pt x="887" y="2984"/>
                  </a:cubicBezTo>
                  <a:lnTo>
                    <a:pt x="887" y="2914"/>
                  </a:lnTo>
                  <a:cubicBezTo>
                    <a:pt x="887" y="2889"/>
                    <a:pt x="876" y="2855"/>
                    <a:pt x="864" y="2833"/>
                  </a:cubicBezTo>
                  <a:lnTo>
                    <a:pt x="864" y="2819"/>
                  </a:lnTo>
                  <a:lnTo>
                    <a:pt x="828" y="2819"/>
                  </a:lnTo>
                  <a:cubicBezTo>
                    <a:pt x="817" y="2819"/>
                    <a:pt x="795" y="2833"/>
                    <a:pt x="783" y="2833"/>
                  </a:cubicBezTo>
                  <a:cubicBezTo>
                    <a:pt x="769" y="2844"/>
                    <a:pt x="758" y="2844"/>
                    <a:pt x="758" y="2844"/>
                  </a:cubicBezTo>
                  <a:lnTo>
                    <a:pt x="747" y="2844"/>
                  </a:lnTo>
                  <a:lnTo>
                    <a:pt x="747" y="2833"/>
                  </a:lnTo>
                  <a:cubicBezTo>
                    <a:pt x="736" y="2819"/>
                    <a:pt x="736" y="2819"/>
                    <a:pt x="736" y="2808"/>
                  </a:cubicBezTo>
                  <a:cubicBezTo>
                    <a:pt x="736" y="2808"/>
                    <a:pt x="747" y="2797"/>
                    <a:pt x="747" y="2786"/>
                  </a:cubicBezTo>
                  <a:cubicBezTo>
                    <a:pt x="758" y="2774"/>
                    <a:pt x="769" y="2763"/>
                    <a:pt x="783" y="2749"/>
                  </a:cubicBezTo>
                  <a:cubicBezTo>
                    <a:pt x="806" y="2738"/>
                    <a:pt x="817" y="2727"/>
                    <a:pt x="828" y="2704"/>
                  </a:cubicBezTo>
                  <a:cubicBezTo>
                    <a:pt x="864" y="2679"/>
                    <a:pt x="876" y="2635"/>
                    <a:pt x="876" y="2598"/>
                  </a:cubicBezTo>
                  <a:cubicBezTo>
                    <a:pt x="876" y="2553"/>
                    <a:pt x="853" y="2495"/>
                    <a:pt x="806" y="2470"/>
                  </a:cubicBezTo>
                  <a:cubicBezTo>
                    <a:pt x="795" y="2458"/>
                    <a:pt x="783" y="2447"/>
                    <a:pt x="769" y="2436"/>
                  </a:cubicBezTo>
                  <a:cubicBezTo>
                    <a:pt x="758" y="2436"/>
                    <a:pt x="747" y="2425"/>
                    <a:pt x="747" y="2414"/>
                  </a:cubicBezTo>
                  <a:lnTo>
                    <a:pt x="747" y="2400"/>
                  </a:lnTo>
                  <a:lnTo>
                    <a:pt x="747" y="2377"/>
                  </a:lnTo>
                  <a:cubicBezTo>
                    <a:pt x="747" y="2366"/>
                    <a:pt x="758" y="2344"/>
                    <a:pt x="758" y="2330"/>
                  </a:cubicBezTo>
                  <a:cubicBezTo>
                    <a:pt x="758" y="2330"/>
                    <a:pt x="747" y="2319"/>
                    <a:pt x="747" y="2307"/>
                  </a:cubicBezTo>
                  <a:cubicBezTo>
                    <a:pt x="747" y="2296"/>
                    <a:pt x="736" y="2285"/>
                    <a:pt x="725" y="2285"/>
                  </a:cubicBezTo>
                  <a:cubicBezTo>
                    <a:pt x="713" y="2274"/>
                    <a:pt x="699" y="2274"/>
                    <a:pt x="688" y="2274"/>
                  </a:cubicBezTo>
                  <a:lnTo>
                    <a:pt x="607" y="2274"/>
                  </a:lnTo>
                  <a:cubicBezTo>
                    <a:pt x="596" y="2260"/>
                    <a:pt x="585" y="2260"/>
                    <a:pt x="585" y="2249"/>
                  </a:cubicBezTo>
                  <a:lnTo>
                    <a:pt x="574" y="2237"/>
                  </a:lnTo>
                  <a:cubicBezTo>
                    <a:pt x="574" y="2226"/>
                    <a:pt x="560" y="2215"/>
                    <a:pt x="560" y="2204"/>
                  </a:cubicBezTo>
                  <a:cubicBezTo>
                    <a:pt x="548" y="2204"/>
                    <a:pt x="537" y="2190"/>
                    <a:pt x="526" y="2190"/>
                  </a:cubicBezTo>
                  <a:lnTo>
                    <a:pt x="456" y="2190"/>
                  </a:lnTo>
                  <a:cubicBezTo>
                    <a:pt x="434" y="2190"/>
                    <a:pt x="420" y="2179"/>
                    <a:pt x="397" y="2156"/>
                  </a:cubicBezTo>
                  <a:cubicBezTo>
                    <a:pt x="386" y="2145"/>
                    <a:pt x="375" y="2120"/>
                    <a:pt x="375" y="2098"/>
                  </a:cubicBezTo>
                  <a:cubicBezTo>
                    <a:pt x="375" y="2075"/>
                    <a:pt x="375" y="2064"/>
                    <a:pt x="386" y="2064"/>
                  </a:cubicBezTo>
                  <a:cubicBezTo>
                    <a:pt x="386" y="2050"/>
                    <a:pt x="397" y="2039"/>
                    <a:pt x="397" y="2017"/>
                  </a:cubicBezTo>
                  <a:lnTo>
                    <a:pt x="397" y="2005"/>
                  </a:lnTo>
                  <a:cubicBezTo>
                    <a:pt x="397" y="1994"/>
                    <a:pt x="397" y="1980"/>
                    <a:pt x="386" y="1969"/>
                  </a:cubicBezTo>
                  <a:cubicBezTo>
                    <a:pt x="375" y="1958"/>
                    <a:pt x="364" y="1947"/>
                    <a:pt x="350" y="1935"/>
                  </a:cubicBezTo>
                  <a:cubicBezTo>
                    <a:pt x="339" y="1924"/>
                    <a:pt x="339" y="1910"/>
                    <a:pt x="339" y="1910"/>
                  </a:cubicBezTo>
                  <a:lnTo>
                    <a:pt x="328" y="1899"/>
                  </a:lnTo>
                  <a:cubicBezTo>
                    <a:pt x="328" y="1888"/>
                    <a:pt x="339" y="1888"/>
                    <a:pt x="339" y="1877"/>
                  </a:cubicBezTo>
                  <a:cubicBezTo>
                    <a:pt x="350" y="1866"/>
                    <a:pt x="364" y="1840"/>
                    <a:pt x="375" y="1829"/>
                  </a:cubicBezTo>
                  <a:cubicBezTo>
                    <a:pt x="386" y="1807"/>
                    <a:pt x="397" y="1784"/>
                    <a:pt x="397" y="1759"/>
                  </a:cubicBezTo>
                  <a:lnTo>
                    <a:pt x="397" y="1748"/>
                  </a:lnTo>
                  <a:cubicBezTo>
                    <a:pt x="386" y="1726"/>
                    <a:pt x="375" y="1701"/>
                    <a:pt x="350" y="1689"/>
                  </a:cubicBezTo>
                  <a:cubicBezTo>
                    <a:pt x="328" y="1678"/>
                    <a:pt x="294" y="1678"/>
                    <a:pt x="269" y="1667"/>
                  </a:cubicBezTo>
                  <a:cubicBezTo>
                    <a:pt x="235" y="1667"/>
                    <a:pt x="210" y="1656"/>
                    <a:pt x="199" y="1645"/>
                  </a:cubicBezTo>
                  <a:cubicBezTo>
                    <a:pt x="199" y="1631"/>
                    <a:pt x="188" y="1619"/>
                    <a:pt x="188" y="1608"/>
                  </a:cubicBezTo>
                  <a:cubicBezTo>
                    <a:pt x="188" y="1586"/>
                    <a:pt x="188" y="1561"/>
                    <a:pt x="177" y="1538"/>
                  </a:cubicBezTo>
                  <a:cubicBezTo>
                    <a:pt x="177" y="1516"/>
                    <a:pt x="177" y="1505"/>
                    <a:pt x="165" y="1491"/>
                  </a:cubicBezTo>
                  <a:cubicBezTo>
                    <a:pt x="154" y="1480"/>
                    <a:pt x="140" y="1468"/>
                    <a:pt x="118" y="1457"/>
                  </a:cubicBezTo>
                  <a:lnTo>
                    <a:pt x="84" y="1457"/>
                  </a:lnTo>
                  <a:lnTo>
                    <a:pt x="84" y="1446"/>
                  </a:lnTo>
                  <a:lnTo>
                    <a:pt x="70" y="1446"/>
                  </a:lnTo>
                  <a:lnTo>
                    <a:pt x="70" y="1435"/>
                  </a:lnTo>
                  <a:lnTo>
                    <a:pt x="70" y="1410"/>
                  </a:lnTo>
                  <a:cubicBezTo>
                    <a:pt x="84" y="1399"/>
                    <a:pt x="84" y="1387"/>
                    <a:pt x="84" y="1376"/>
                  </a:cubicBezTo>
                  <a:cubicBezTo>
                    <a:pt x="84" y="1365"/>
                    <a:pt x="84" y="1365"/>
                    <a:pt x="70" y="1351"/>
                  </a:cubicBezTo>
                  <a:cubicBezTo>
                    <a:pt x="70" y="1340"/>
                    <a:pt x="59" y="1329"/>
                    <a:pt x="59" y="1318"/>
                  </a:cubicBezTo>
                  <a:cubicBezTo>
                    <a:pt x="48" y="1306"/>
                    <a:pt x="48" y="1295"/>
                    <a:pt x="48" y="1295"/>
                  </a:cubicBezTo>
                  <a:lnTo>
                    <a:pt x="48" y="1281"/>
                  </a:lnTo>
                  <a:lnTo>
                    <a:pt x="70" y="1281"/>
                  </a:lnTo>
                  <a:cubicBezTo>
                    <a:pt x="70" y="1270"/>
                    <a:pt x="84" y="1270"/>
                    <a:pt x="95" y="1270"/>
                  </a:cubicBezTo>
                  <a:lnTo>
                    <a:pt x="210" y="1270"/>
                  </a:lnTo>
                  <a:cubicBezTo>
                    <a:pt x="224" y="1259"/>
                    <a:pt x="246" y="1248"/>
                    <a:pt x="246" y="1225"/>
                  </a:cubicBezTo>
                  <a:cubicBezTo>
                    <a:pt x="258" y="1225"/>
                    <a:pt x="258" y="1211"/>
                    <a:pt x="258" y="1200"/>
                  </a:cubicBezTo>
                  <a:cubicBezTo>
                    <a:pt x="258" y="1167"/>
                    <a:pt x="246" y="1141"/>
                    <a:pt x="235" y="1119"/>
                  </a:cubicBezTo>
                  <a:cubicBezTo>
                    <a:pt x="220" y="1112"/>
                    <a:pt x="209" y="1105"/>
                    <a:pt x="201" y="1095"/>
                  </a:cubicBezTo>
                  <a:lnTo>
                    <a:pt x="201" y="1095"/>
                  </a:lnTo>
                  <a:cubicBezTo>
                    <a:pt x="208" y="1087"/>
                    <a:pt x="216" y="1080"/>
                    <a:pt x="224" y="1071"/>
                  </a:cubicBezTo>
                  <a:cubicBezTo>
                    <a:pt x="224" y="1060"/>
                    <a:pt x="235" y="1049"/>
                    <a:pt x="235" y="1038"/>
                  </a:cubicBezTo>
                  <a:cubicBezTo>
                    <a:pt x="246" y="1038"/>
                    <a:pt x="246" y="1027"/>
                    <a:pt x="246" y="1027"/>
                  </a:cubicBezTo>
                  <a:cubicBezTo>
                    <a:pt x="269" y="990"/>
                    <a:pt x="294" y="957"/>
                    <a:pt x="316" y="946"/>
                  </a:cubicBezTo>
                  <a:cubicBezTo>
                    <a:pt x="328" y="932"/>
                    <a:pt x="350" y="920"/>
                    <a:pt x="364" y="909"/>
                  </a:cubicBezTo>
                  <a:cubicBezTo>
                    <a:pt x="375" y="898"/>
                    <a:pt x="386" y="887"/>
                    <a:pt x="397" y="862"/>
                  </a:cubicBezTo>
                  <a:cubicBezTo>
                    <a:pt x="420" y="839"/>
                    <a:pt x="420" y="806"/>
                    <a:pt x="420" y="781"/>
                  </a:cubicBezTo>
                  <a:lnTo>
                    <a:pt x="420" y="747"/>
                  </a:lnTo>
                  <a:lnTo>
                    <a:pt x="434" y="736"/>
                  </a:lnTo>
                  <a:cubicBezTo>
                    <a:pt x="445" y="722"/>
                    <a:pt x="456" y="722"/>
                    <a:pt x="467" y="722"/>
                  </a:cubicBezTo>
                  <a:cubicBezTo>
                    <a:pt x="479" y="722"/>
                    <a:pt x="504" y="722"/>
                    <a:pt x="526" y="711"/>
                  </a:cubicBezTo>
                  <a:cubicBezTo>
                    <a:pt x="537" y="700"/>
                    <a:pt x="548" y="688"/>
                    <a:pt x="548" y="677"/>
                  </a:cubicBezTo>
                  <a:cubicBezTo>
                    <a:pt x="560" y="666"/>
                    <a:pt x="560" y="652"/>
                    <a:pt x="574" y="652"/>
                  </a:cubicBezTo>
                  <a:lnTo>
                    <a:pt x="607" y="652"/>
                  </a:lnTo>
                  <a:cubicBezTo>
                    <a:pt x="630" y="652"/>
                    <a:pt x="644" y="641"/>
                    <a:pt x="655" y="641"/>
                  </a:cubicBezTo>
                  <a:cubicBezTo>
                    <a:pt x="655" y="630"/>
                    <a:pt x="666" y="630"/>
                    <a:pt x="677" y="618"/>
                  </a:cubicBezTo>
                  <a:lnTo>
                    <a:pt x="699" y="618"/>
                  </a:lnTo>
                  <a:lnTo>
                    <a:pt x="713" y="630"/>
                  </a:lnTo>
                  <a:lnTo>
                    <a:pt x="713" y="652"/>
                  </a:lnTo>
                  <a:cubicBezTo>
                    <a:pt x="725" y="677"/>
                    <a:pt x="736" y="688"/>
                    <a:pt x="747" y="688"/>
                  </a:cubicBezTo>
                  <a:cubicBezTo>
                    <a:pt x="758" y="700"/>
                    <a:pt x="769" y="700"/>
                    <a:pt x="783" y="700"/>
                  </a:cubicBezTo>
                  <a:cubicBezTo>
                    <a:pt x="806" y="700"/>
                    <a:pt x="828" y="688"/>
                    <a:pt x="839" y="677"/>
                  </a:cubicBezTo>
                  <a:cubicBezTo>
                    <a:pt x="876" y="652"/>
                    <a:pt x="898" y="618"/>
                    <a:pt x="909" y="596"/>
                  </a:cubicBezTo>
                  <a:cubicBezTo>
                    <a:pt x="934" y="571"/>
                    <a:pt x="957" y="560"/>
                    <a:pt x="979" y="560"/>
                  </a:cubicBezTo>
                  <a:lnTo>
                    <a:pt x="993" y="560"/>
                  </a:lnTo>
                  <a:cubicBezTo>
                    <a:pt x="1015" y="560"/>
                    <a:pt x="1038" y="571"/>
                    <a:pt x="1049" y="596"/>
                  </a:cubicBezTo>
                  <a:cubicBezTo>
                    <a:pt x="1049" y="596"/>
                    <a:pt x="1063" y="607"/>
                    <a:pt x="1074" y="630"/>
                  </a:cubicBezTo>
                  <a:cubicBezTo>
                    <a:pt x="1085" y="641"/>
                    <a:pt x="1097" y="641"/>
                    <a:pt x="1108" y="641"/>
                  </a:cubicBezTo>
                  <a:cubicBezTo>
                    <a:pt x="1119" y="652"/>
                    <a:pt x="1133" y="652"/>
                    <a:pt x="1133" y="652"/>
                  </a:cubicBezTo>
                  <a:lnTo>
                    <a:pt x="1144" y="666"/>
                  </a:lnTo>
                  <a:lnTo>
                    <a:pt x="1133" y="700"/>
                  </a:lnTo>
                  <a:lnTo>
                    <a:pt x="1178" y="700"/>
                  </a:lnTo>
                  <a:cubicBezTo>
                    <a:pt x="1214" y="700"/>
                    <a:pt x="1236" y="688"/>
                    <a:pt x="1259" y="677"/>
                  </a:cubicBezTo>
                  <a:cubicBezTo>
                    <a:pt x="1273" y="677"/>
                    <a:pt x="1284" y="666"/>
                    <a:pt x="1295" y="666"/>
                  </a:cubicBezTo>
                  <a:cubicBezTo>
                    <a:pt x="1295" y="666"/>
                    <a:pt x="1306" y="666"/>
                    <a:pt x="1306" y="677"/>
                  </a:cubicBezTo>
                  <a:cubicBezTo>
                    <a:pt x="1306" y="677"/>
                    <a:pt x="1317" y="677"/>
                    <a:pt x="1317" y="688"/>
                  </a:cubicBezTo>
                  <a:lnTo>
                    <a:pt x="1329" y="700"/>
                  </a:lnTo>
                  <a:cubicBezTo>
                    <a:pt x="1354" y="722"/>
                    <a:pt x="1376" y="736"/>
                    <a:pt x="1398" y="736"/>
                  </a:cubicBezTo>
                  <a:cubicBezTo>
                    <a:pt x="1412" y="736"/>
                    <a:pt x="1424" y="722"/>
                    <a:pt x="1435" y="722"/>
                  </a:cubicBezTo>
                  <a:cubicBezTo>
                    <a:pt x="1446" y="711"/>
                    <a:pt x="1457" y="711"/>
                    <a:pt x="1457" y="711"/>
                  </a:cubicBezTo>
                  <a:lnTo>
                    <a:pt x="1468" y="700"/>
                  </a:lnTo>
                  <a:lnTo>
                    <a:pt x="1482" y="700"/>
                  </a:lnTo>
                  <a:cubicBezTo>
                    <a:pt x="1494" y="700"/>
                    <a:pt x="1505" y="700"/>
                    <a:pt x="1527" y="711"/>
                  </a:cubicBezTo>
                  <a:cubicBezTo>
                    <a:pt x="1538" y="711"/>
                    <a:pt x="1563" y="722"/>
                    <a:pt x="1586" y="722"/>
                  </a:cubicBezTo>
                  <a:lnTo>
                    <a:pt x="1597" y="722"/>
                  </a:lnTo>
                  <a:cubicBezTo>
                    <a:pt x="1622" y="722"/>
                    <a:pt x="1633" y="711"/>
                    <a:pt x="1645" y="700"/>
                  </a:cubicBezTo>
                  <a:cubicBezTo>
                    <a:pt x="1656" y="688"/>
                    <a:pt x="1667" y="677"/>
                    <a:pt x="1678" y="666"/>
                  </a:cubicBezTo>
                  <a:cubicBezTo>
                    <a:pt x="1692" y="641"/>
                    <a:pt x="1703" y="607"/>
                    <a:pt x="1714" y="596"/>
                  </a:cubicBezTo>
                  <a:cubicBezTo>
                    <a:pt x="1714" y="596"/>
                    <a:pt x="1726" y="582"/>
                    <a:pt x="1737" y="582"/>
                  </a:cubicBezTo>
                  <a:cubicBezTo>
                    <a:pt x="1748" y="582"/>
                    <a:pt x="1748" y="582"/>
                    <a:pt x="1748" y="596"/>
                  </a:cubicBezTo>
                  <a:cubicBezTo>
                    <a:pt x="1748" y="596"/>
                    <a:pt x="1762" y="596"/>
                    <a:pt x="1762" y="607"/>
                  </a:cubicBezTo>
                  <a:lnTo>
                    <a:pt x="1762" y="630"/>
                  </a:lnTo>
                  <a:cubicBezTo>
                    <a:pt x="1773" y="641"/>
                    <a:pt x="1773" y="652"/>
                    <a:pt x="1784" y="666"/>
                  </a:cubicBezTo>
                  <a:cubicBezTo>
                    <a:pt x="1796" y="666"/>
                    <a:pt x="1807" y="677"/>
                    <a:pt x="1818" y="677"/>
                  </a:cubicBezTo>
                  <a:lnTo>
                    <a:pt x="1843" y="677"/>
                  </a:lnTo>
                  <a:cubicBezTo>
                    <a:pt x="1843" y="666"/>
                    <a:pt x="1854" y="666"/>
                    <a:pt x="1854" y="652"/>
                  </a:cubicBezTo>
                  <a:cubicBezTo>
                    <a:pt x="1902" y="607"/>
                    <a:pt x="1924" y="549"/>
                    <a:pt x="1924" y="490"/>
                  </a:cubicBezTo>
                  <a:cubicBezTo>
                    <a:pt x="1924" y="479"/>
                    <a:pt x="1913" y="467"/>
                    <a:pt x="1913" y="442"/>
                  </a:cubicBezTo>
                  <a:cubicBezTo>
                    <a:pt x="1913" y="409"/>
                    <a:pt x="1902" y="386"/>
                    <a:pt x="1902" y="350"/>
                  </a:cubicBezTo>
                  <a:cubicBezTo>
                    <a:pt x="1902" y="328"/>
                    <a:pt x="1913" y="291"/>
                    <a:pt x="1924" y="258"/>
                  </a:cubicBezTo>
                  <a:cubicBezTo>
                    <a:pt x="1935" y="247"/>
                    <a:pt x="1958" y="233"/>
                    <a:pt x="1983" y="210"/>
                  </a:cubicBezTo>
                  <a:cubicBezTo>
                    <a:pt x="2005" y="199"/>
                    <a:pt x="2028" y="188"/>
                    <a:pt x="2053" y="188"/>
                  </a:cubicBezTo>
                  <a:cubicBezTo>
                    <a:pt x="2053" y="188"/>
                    <a:pt x="2064" y="188"/>
                    <a:pt x="2064" y="199"/>
                  </a:cubicBezTo>
                  <a:lnTo>
                    <a:pt x="2086" y="199"/>
                  </a:lnTo>
                  <a:cubicBezTo>
                    <a:pt x="2123" y="199"/>
                    <a:pt x="2193" y="188"/>
                    <a:pt x="2251" y="188"/>
                  </a:cubicBezTo>
                  <a:cubicBezTo>
                    <a:pt x="2285" y="188"/>
                    <a:pt x="2296" y="188"/>
                    <a:pt x="2307" y="199"/>
                  </a:cubicBezTo>
                  <a:cubicBezTo>
                    <a:pt x="2321" y="199"/>
                    <a:pt x="2332" y="210"/>
                    <a:pt x="2366" y="221"/>
                  </a:cubicBezTo>
                  <a:lnTo>
                    <a:pt x="2506" y="221"/>
                  </a:lnTo>
                  <a:lnTo>
                    <a:pt x="2506" y="233"/>
                  </a:lnTo>
                  <a:lnTo>
                    <a:pt x="2542" y="233"/>
                  </a:lnTo>
                  <a:cubicBezTo>
                    <a:pt x="2565" y="233"/>
                    <a:pt x="2576" y="233"/>
                    <a:pt x="2587" y="221"/>
                  </a:cubicBezTo>
                  <a:lnTo>
                    <a:pt x="2634" y="221"/>
                  </a:lnTo>
                  <a:cubicBezTo>
                    <a:pt x="2657" y="221"/>
                    <a:pt x="2682" y="210"/>
                    <a:pt x="2704" y="210"/>
                  </a:cubicBezTo>
                  <a:cubicBezTo>
                    <a:pt x="2716" y="210"/>
                    <a:pt x="2716" y="199"/>
                    <a:pt x="2727" y="199"/>
                  </a:cubicBezTo>
                  <a:cubicBezTo>
                    <a:pt x="2741" y="199"/>
                    <a:pt x="2741" y="199"/>
                    <a:pt x="2741" y="188"/>
                  </a:cubicBezTo>
                  <a:cubicBezTo>
                    <a:pt x="2752" y="188"/>
                    <a:pt x="2752" y="188"/>
                    <a:pt x="2752" y="177"/>
                  </a:cubicBezTo>
                  <a:cubicBezTo>
                    <a:pt x="2752" y="177"/>
                    <a:pt x="2752" y="163"/>
                    <a:pt x="2763" y="163"/>
                  </a:cubicBezTo>
                  <a:cubicBezTo>
                    <a:pt x="2763" y="151"/>
                    <a:pt x="2774" y="129"/>
                    <a:pt x="2785" y="118"/>
                  </a:cubicBezTo>
                  <a:cubicBezTo>
                    <a:pt x="2797" y="107"/>
                    <a:pt x="2811" y="82"/>
                    <a:pt x="2822" y="82"/>
                  </a:cubicBezTo>
                  <a:lnTo>
                    <a:pt x="2844" y="82"/>
                  </a:lnTo>
                  <a:cubicBezTo>
                    <a:pt x="2881" y="70"/>
                    <a:pt x="2936" y="59"/>
                    <a:pt x="2962" y="59"/>
                  </a:cubicBezTo>
                  <a:lnTo>
                    <a:pt x="2973" y="59"/>
                  </a:lnTo>
                  <a:lnTo>
                    <a:pt x="2984" y="70"/>
                  </a:lnTo>
                  <a:cubicBezTo>
                    <a:pt x="2995" y="82"/>
                    <a:pt x="3020" y="82"/>
                    <a:pt x="3031" y="82"/>
                  </a:cubicBezTo>
                  <a:lnTo>
                    <a:pt x="3065" y="82"/>
                  </a:lnTo>
                  <a:cubicBezTo>
                    <a:pt x="3076" y="70"/>
                    <a:pt x="3101" y="59"/>
                    <a:pt x="3101" y="59"/>
                  </a:cubicBezTo>
                  <a:cubicBezTo>
                    <a:pt x="3113" y="48"/>
                    <a:pt x="3124" y="48"/>
                    <a:pt x="3135" y="48"/>
                  </a:cubicBezTo>
                  <a:lnTo>
                    <a:pt x="3160" y="48"/>
                  </a:lnTo>
                  <a:lnTo>
                    <a:pt x="3171" y="59"/>
                  </a:lnTo>
                  <a:lnTo>
                    <a:pt x="3216" y="59"/>
                  </a:lnTo>
                  <a:cubicBezTo>
                    <a:pt x="3241" y="59"/>
                    <a:pt x="3286" y="48"/>
                    <a:pt x="3300" y="48"/>
                  </a:cubicBezTo>
                  <a:close/>
                  <a:moveTo>
                    <a:pt x="3135" y="0"/>
                  </a:moveTo>
                  <a:cubicBezTo>
                    <a:pt x="3101" y="0"/>
                    <a:pt x="3090" y="12"/>
                    <a:pt x="3065" y="23"/>
                  </a:cubicBezTo>
                  <a:lnTo>
                    <a:pt x="3054" y="37"/>
                  </a:lnTo>
                  <a:lnTo>
                    <a:pt x="3006" y="37"/>
                  </a:lnTo>
                  <a:cubicBezTo>
                    <a:pt x="3006" y="23"/>
                    <a:pt x="2995" y="23"/>
                    <a:pt x="2973" y="12"/>
                  </a:cubicBezTo>
                  <a:lnTo>
                    <a:pt x="2962" y="12"/>
                  </a:lnTo>
                  <a:cubicBezTo>
                    <a:pt x="2936" y="12"/>
                    <a:pt x="2914" y="23"/>
                    <a:pt x="2881" y="23"/>
                  </a:cubicBezTo>
                  <a:cubicBezTo>
                    <a:pt x="2855" y="23"/>
                    <a:pt x="2844" y="23"/>
                    <a:pt x="2833" y="37"/>
                  </a:cubicBezTo>
                  <a:cubicBezTo>
                    <a:pt x="2811" y="37"/>
                    <a:pt x="2797" y="37"/>
                    <a:pt x="2785" y="48"/>
                  </a:cubicBezTo>
                  <a:cubicBezTo>
                    <a:pt x="2785" y="48"/>
                    <a:pt x="2774" y="59"/>
                    <a:pt x="2763" y="70"/>
                  </a:cubicBezTo>
                  <a:cubicBezTo>
                    <a:pt x="2752" y="82"/>
                    <a:pt x="2741" y="107"/>
                    <a:pt x="2727" y="118"/>
                  </a:cubicBezTo>
                  <a:cubicBezTo>
                    <a:pt x="2727" y="129"/>
                    <a:pt x="2716" y="140"/>
                    <a:pt x="2716" y="140"/>
                  </a:cubicBezTo>
                  <a:cubicBezTo>
                    <a:pt x="2716" y="151"/>
                    <a:pt x="2704" y="151"/>
                    <a:pt x="2704" y="163"/>
                  </a:cubicBezTo>
                  <a:cubicBezTo>
                    <a:pt x="2682" y="163"/>
                    <a:pt x="2657" y="177"/>
                    <a:pt x="2634" y="177"/>
                  </a:cubicBezTo>
                  <a:cubicBezTo>
                    <a:pt x="2612" y="177"/>
                    <a:pt x="2587" y="177"/>
                    <a:pt x="2576" y="188"/>
                  </a:cubicBezTo>
                  <a:lnTo>
                    <a:pt x="2542" y="188"/>
                  </a:lnTo>
                  <a:cubicBezTo>
                    <a:pt x="2531" y="177"/>
                    <a:pt x="2517" y="177"/>
                    <a:pt x="2517" y="177"/>
                  </a:cubicBezTo>
                  <a:lnTo>
                    <a:pt x="2377" y="177"/>
                  </a:lnTo>
                  <a:cubicBezTo>
                    <a:pt x="2355" y="163"/>
                    <a:pt x="2344" y="163"/>
                    <a:pt x="2321" y="151"/>
                  </a:cubicBezTo>
                  <a:cubicBezTo>
                    <a:pt x="2307" y="140"/>
                    <a:pt x="2285" y="140"/>
                    <a:pt x="2251" y="140"/>
                  </a:cubicBezTo>
                  <a:cubicBezTo>
                    <a:pt x="2193" y="140"/>
                    <a:pt x="2123" y="151"/>
                    <a:pt x="2086" y="151"/>
                  </a:cubicBezTo>
                  <a:lnTo>
                    <a:pt x="2075" y="151"/>
                  </a:lnTo>
                  <a:cubicBezTo>
                    <a:pt x="2064" y="140"/>
                    <a:pt x="2064" y="140"/>
                    <a:pt x="2053" y="140"/>
                  </a:cubicBezTo>
                  <a:cubicBezTo>
                    <a:pt x="2016" y="140"/>
                    <a:pt x="1983" y="151"/>
                    <a:pt x="1958" y="177"/>
                  </a:cubicBezTo>
                  <a:cubicBezTo>
                    <a:pt x="1924" y="188"/>
                    <a:pt x="1902" y="210"/>
                    <a:pt x="1888" y="233"/>
                  </a:cubicBezTo>
                  <a:cubicBezTo>
                    <a:pt x="1865" y="269"/>
                    <a:pt x="1854" y="302"/>
                    <a:pt x="1854" y="350"/>
                  </a:cubicBezTo>
                  <a:cubicBezTo>
                    <a:pt x="1854" y="398"/>
                    <a:pt x="1865" y="420"/>
                    <a:pt x="1865" y="456"/>
                  </a:cubicBezTo>
                  <a:cubicBezTo>
                    <a:pt x="1865" y="467"/>
                    <a:pt x="1877" y="479"/>
                    <a:pt x="1877" y="490"/>
                  </a:cubicBezTo>
                  <a:cubicBezTo>
                    <a:pt x="1877" y="537"/>
                    <a:pt x="1854" y="596"/>
                    <a:pt x="1818" y="630"/>
                  </a:cubicBezTo>
                  <a:lnTo>
                    <a:pt x="1807" y="618"/>
                  </a:lnTo>
                  <a:lnTo>
                    <a:pt x="1807" y="596"/>
                  </a:lnTo>
                  <a:cubicBezTo>
                    <a:pt x="1796" y="582"/>
                    <a:pt x="1796" y="571"/>
                    <a:pt x="1784" y="560"/>
                  </a:cubicBezTo>
                  <a:cubicBezTo>
                    <a:pt x="1773" y="549"/>
                    <a:pt x="1748" y="537"/>
                    <a:pt x="1737" y="537"/>
                  </a:cubicBezTo>
                  <a:cubicBezTo>
                    <a:pt x="1714" y="537"/>
                    <a:pt x="1692" y="549"/>
                    <a:pt x="1678" y="560"/>
                  </a:cubicBezTo>
                  <a:cubicBezTo>
                    <a:pt x="1656" y="582"/>
                    <a:pt x="1645" y="618"/>
                    <a:pt x="1633" y="641"/>
                  </a:cubicBezTo>
                  <a:cubicBezTo>
                    <a:pt x="1633" y="652"/>
                    <a:pt x="1622" y="666"/>
                    <a:pt x="1608" y="666"/>
                  </a:cubicBezTo>
                  <a:cubicBezTo>
                    <a:pt x="1608" y="677"/>
                    <a:pt x="1597" y="677"/>
                    <a:pt x="1586" y="677"/>
                  </a:cubicBezTo>
                  <a:cubicBezTo>
                    <a:pt x="1575" y="677"/>
                    <a:pt x="1563" y="677"/>
                    <a:pt x="1538" y="666"/>
                  </a:cubicBezTo>
                  <a:cubicBezTo>
                    <a:pt x="1527" y="666"/>
                    <a:pt x="1505" y="652"/>
                    <a:pt x="1482" y="652"/>
                  </a:cubicBezTo>
                  <a:lnTo>
                    <a:pt x="1457" y="652"/>
                  </a:lnTo>
                  <a:cubicBezTo>
                    <a:pt x="1446" y="652"/>
                    <a:pt x="1435" y="666"/>
                    <a:pt x="1435" y="666"/>
                  </a:cubicBezTo>
                  <a:cubicBezTo>
                    <a:pt x="1424" y="677"/>
                    <a:pt x="1424" y="677"/>
                    <a:pt x="1412" y="677"/>
                  </a:cubicBezTo>
                  <a:cubicBezTo>
                    <a:pt x="1412" y="688"/>
                    <a:pt x="1398" y="688"/>
                    <a:pt x="1398" y="688"/>
                  </a:cubicBezTo>
                  <a:cubicBezTo>
                    <a:pt x="1387" y="688"/>
                    <a:pt x="1376" y="677"/>
                    <a:pt x="1365" y="677"/>
                  </a:cubicBezTo>
                  <a:cubicBezTo>
                    <a:pt x="1365" y="666"/>
                    <a:pt x="1365" y="666"/>
                    <a:pt x="1354" y="652"/>
                  </a:cubicBezTo>
                  <a:lnTo>
                    <a:pt x="1343" y="641"/>
                  </a:lnTo>
                  <a:cubicBezTo>
                    <a:pt x="1329" y="630"/>
                    <a:pt x="1306" y="618"/>
                    <a:pt x="1295" y="618"/>
                  </a:cubicBezTo>
                  <a:cubicBezTo>
                    <a:pt x="1273" y="618"/>
                    <a:pt x="1248" y="630"/>
                    <a:pt x="1236" y="641"/>
                  </a:cubicBezTo>
                  <a:cubicBezTo>
                    <a:pt x="1220" y="649"/>
                    <a:pt x="1201" y="651"/>
                    <a:pt x="1188" y="652"/>
                  </a:cubicBezTo>
                  <a:lnTo>
                    <a:pt x="1188" y="652"/>
                  </a:lnTo>
                  <a:cubicBezTo>
                    <a:pt x="1187" y="644"/>
                    <a:pt x="1185" y="637"/>
                    <a:pt x="1178" y="630"/>
                  </a:cubicBezTo>
                  <a:cubicBezTo>
                    <a:pt x="1166" y="630"/>
                    <a:pt x="1166" y="618"/>
                    <a:pt x="1155" y="618"/>
                  </a:cubicBezTo>
                  <a:cubicBezTo>
                    <a:pt x="1144" y="607"/>
                    <a:pt x="1133" y="607"/>
                    <a:pt x="1119" y="607"/>
                  </a:cubicBezTo>
                  <a:lnTo>
                    <a:pt x="1108" y="596"/>
                  </a:lnTo>
                  <a:cubicBezTo>
                    <a:pt x="1097" y="596"/>
                    <a:pt x="1097" y="582"/>
                    <a:pt x="1085" y="571"/>
                  </a:cubicBezTo>
                  <a:cubicBezTo>
                    <a:pt x="1074" y="537"/>
                    <a:pt x="1027" y="512"/>
                    <a:pt x="993" y="512"/>
                  </a:cubicBezTo>
                  <a:lnTo>
                    <a:pt x="979" y="512"/>
                  </a:lnTo>
                  <a:cubicBezTo>
                    <a:pt x="946" y="512"/>
                    <a:pt x="909" y="537"/>
                    <a:pt x="876" y="560"/>
                  </a:cubicBezTo>
                  <a:cubicBezTo>
                    <a:pt x="853" y="596"/>
                    <a:pt x="839" y="630"/>
                    <a:pt x="817" y="641"/>
                  </a:cubicBezTo>
                  <a:cubicBezTo>
                    <a:pt x="806" y="652"/>
                    <a:pt x="795" y="652"/>
                    <a:pt x="783" y="652"/>
                  </a:cubicBezTo>
                  <a:lnTo>
                    <a:pt x="758" y="652"/>
                  </a:lnTo>
                  <a:lnTo>
                    <a:pt x="758" y="641"/>
                  </a:lnTo>
                  <a:cubicBezTo>
                    <a:pt x="758" y="641"/>
                    <a:pt x="758" y="630"/>
                    <a:pt x="747" y="618"/>
                  </a:cubicBezTo>
                  <a:cubicBezTo>
                    <a:pt x="747" y="618"/>
                    <a:pt x="747" y="596"/>
                    <a:pt x="736" y="582"/>
                  </a:cubicBezTo>
                  <a:cubicBezTo>
                    <a:pt x="725" y="571"/>
                    <a:pt x="713" y="571"/>
                    <a:pt x="699" y="571"/>
                  </a:cubicBezTo>
                  <a:cubicBezTo>
                    <a:pt x="677" y="571"/>
                    <a:pt x="666" y="571"/>
                    <a:pt x="655" y="582"/>
                  </a:cubicBezTo>
                  <a:cubicBezTo>
                    <a:pt x="644" y="582"/>
                    <a:pt x="630" y="596"/>
                    <a:pt x="618" y="596"/>
                  </a:cubicBezTo>
                  <a:cubicBezTo>
                    <a:pt x="618" y="607"/>
                    <a:pt x="607" y="607"/>
                    <a:pt x="607" y="607"/>
                  </a:cubicBezTo>
                  <a:lnTo>
                    <a:pt x="548" y="607"/>
                  </a:lnTo>
                  <a:cubicBezTo>
                    <a:pt x="537" y="618"/>
                    <a:pt x="526" y="630"/>
                    <a:pt x="515" y="641"/>
                  </a:cubicBezTo>
                  <a:cubicBezTo>
                    <a:pt x="504" y="652"/>
                    <a:pt x="504" y="666"/>
                    <a:pt x="490" y="666"/>
                  </a:cubicBezTo>
                  <a:cubicBezTo>
                    <a:pt x="490" y="677"/>
                    <a:pt x="479" y="677"/>
                    <a:pt x="467" y="677"/>
                  </a:cubicBezTo>
                  <a:cubicBezTo>
                    <a:pt x="456" y="677"/>
                    <a:pt x="434" y="677"/>
                    <a:pt x="409" y="688"/>
                  </a:cubicBezTo>
                  <a:cubicBezTo>
                    <a:pt x="397" y="700"/>
                    <a:pt x="386" y="711"/>
                    <a:pt x="386" y="722"/>
                  </a:cubicBezTo>
                  <a:cubicBezTo>
                    <a:pt x="375" y="747"/>
                    <a:pt x="375" y="769"/>
                    <a:pt x="375" y="792"/>
                  </a:cubicBezTo>
                  <a:cubicBezTo>
                    <a:pt x="364" y="817"/>
                    <a:pt x="364" y="828"/>
                    <a:pt x="364" y="839"/>
                  </a:cubicBezTo>
                  <a:cubicBezTo>
                    <a:pt x="350" y="851"/>
                    <a:pt x="350" y="862"/>
                    <a:pt x="339" y="876"/>
                  </a:cubicBezTo>
                  <a:cubicBezTo>
                    <a:pt x="316" y="887"/>
                    <a:pt x="305" y="887"/>
                    <a:pt x="294" y="898"/>
                  </a:cubicBezTo>
                  <a:cubicBezTo>
                    <a:pt x="258" y="932"/>
                    <a:pt x="224" y="957"/>
                    <a:pt x="210" y="1002"/>
                  </a:cubicBezTo>
                  <a:cubicBezTo>
                    <a:pt x="199" y="1002"/>
                    <a:pt x="199" y="1016"/>
                    <a:pt x="199" y="1016"/>
                  </a:cubicBezTo>
                  <a:cubicBezTo>
                    <a:pt x="188" y="1027"/>
                    <a:pt x="188" y="1038"/>
                    <a:pt x="177" y="1049"/>
                  </a:cubicBezTo>
                  <a:cubicBezTo>
                    <a:pt x="177" y="1060"/>
                    <a:pt x="165" y="1060"/>
                    <a:pt x="154" y="1071"/>
                  </a:cubicBezTo>
                  <a:lnTo>
                    <a:pt x="140" y="1085"/>
                  </a:lnTo>
                  <a:lnTo>
                    <a:pt x="154" y="1108"/>
                  </a:lnTo>
                  <a:cubicBezTo>
                    <a:pt x="165" y="1119"/>
                    <a:pt x="188" y="1141"/>
                    <a:pt x="188" y="1155"/>
                  </a:cubicBezTo>
                  <a:lnTo>
                    <a:pt x="199" y="1155"/>
                  </a:lnTo>
                  <a:cubicBezTo>
                    <a:pt x="199" y="1167"/>
                    <a:pt x="210" y="1189"/>
                    <a:pt x="210" y="1200"/>
                  </a:cubicBezTo>
                  <a:lnTo>
                    <a:pt x="210" y="1211"/>
                  </a:lnTo>
                  <a:cubicBezTo>
                    <a:pt x="210" y="1211"/>
                    <a:pt x="199" y="1225"/>
                    <a:pt x="188" y="1225"/>
                  </a:cubicBezTo>
                  <a:lnTo>
                    <a:pt x="95" y="1225"/>
                  </a:lnTo>
                  <a:cubicBezTo>
                    <a:pt x="84" y="1225"/>
                    <a:pt x="70" y="1225"/>
                    <a:pt x="59" y="1236"/>
                  </a:cubicBezTo>
                  <a:cubicBezTo>
                    <a:pt x="48" y="1236"/>
                    <a:pt x="26" y="1248"/>
                    <a:pt x="14" y="1259"/>
                  </a:cubicBezTo>
                  <a:cubicBezTo>
                    <a:pt x="14" y="1270"/>
                    <a:pt x="0" y="1281"/>
                    <a:pt x="0" y="1295"/>
                  </a:cubicBezTo>
                  <a:cubicBezTo>
                    <a:pt x="0" y="1318"/>
                    <a:pt x="14" y="1329"/>
                    <a:pt x="14" y="1340"/>
                  </a:cubicBezTo>
                  <a:cubicBezTo>
                    <a:pt x="26" y="1351"/>
                    <a:pt x="26" y="1365"/>
                    <a:pt x="37" y="1365"/>
                  </a:cubicBezTo>
                  <a:lnTo>
                    <a:pt x="37" y="1376"/>
                  </a:lnTo>
                  <a:lnTo>
                    <a:pt x="37" y="1399"/>
                  </a:lnTo>
                  <a:cubicBezTo>
                    <a:pt x="26" y="1410"/>
                    <a:pt x="26" y="1421"/>
                    <a:pt x="26" y="1435"/>
                  </a:cubicBezTo>
                  <a:cubicBezTo>
                    <a:pt x="26" y="1446"/>
                    <a:pt x="26" y="1457"/>
                    <a:pt x="37" y="1468"/>
                  </a:cubicBezTo>
                  <a:cubicBezTo>
                    <a:pt x="48" y="1480"/>
                    <a:pt x="48" y="1491"/>
                    <a:pt x="59" y="1491"/>
                  </a:cubicBezTo>
                  <a:cubicBezTo>
                    <a:pt x="70" y="1491"/>
                    <a:pt x="84" y="1505"/>
                    <a:pt x="84" y="1505"/>
                  </a:cubicBezTo>
                  <a:lnTo>
                    <a:pt x="107" y="1505"/>
                  </a:lnTo>
                  <a:cubicBezTo>
                    <a:pt x="118" y="1505"/>
                    <a:pt x="118" y="1516"/>
                    <a:pt x="129" y="1527"/>
                  </a:cubicBezTo>
                  <a:cubicBezTo>
                    <a:pt x="129" y="1538"/>
                    <a:pt x="129" y="1561"/>
                    <a:pt x="140" y="1586"/>
                  </a:cubicBezTo>
                  <a:cubicBezTo>
                    <a:pt x="140" y="1619"/>
                    <a:pt x="140" y="1645"/>
                    <a:pt x="165" y="1678"/>
                  </a:cubicBezTo>
                  <a:cubicBezTo>
                    <a:pt x="188" y="1689"/>
                    <a:pt x="199" y="1701"/>
                    <a:pt x="224" y="1715"/>
                  </a:cubicBezTo>
                  <a:cubicBezTo>
                    <a:pt x="258" y="1715"/>
                    <a:pt x="294" y="1726"/>
                    <a:pt x="316" y="1726"/>
                  </a:cubicBezTo>
                  <a:cubicBezTo>
                    <a:pt x="328" y="1726"/>
                    <a:pt x="328" y="1737"/>
                    <a:pt x="339" y="1737"/>
                  </a:cubicBezTo>
                  <a:cubicBezTo>
                    <a:pt x="339" y="1737"/>
                    <a:pt x="350" y="1748"/>
                    <a:pt x="350" y="1759"/>
                  </a:cubicBezTo>
                  <a:cubicBezTo>
                    <a:pt x="350" y="1770"/>
                    <a:pt x="350" y="1770"/>
                    <a:pt x="339" y="1784"/>
                  </a:cubicBezTo>
                  <a:cubicBezTo>
                    <a:pt x="339" y="1807"/>
                    <a:pt x="316" y="1818"/>
                    <a:pt x="305" y="1829"/>
                  </a:cubicBezTo>
                  <a:cubicBezTo>
                    <a:pt x="294" y="1854"/>
                    <a:pt x="280" y="1877"/>
                    <a:pt x="280" y="1899"/>
                  </a:cubicBezTo>
                  <a:cubicBezTo>
                    <a:pt x="280" y="1910"/>
                    <a:pt x="294" y="1910"/>
                    <a:pt x="294" y="1924"/>
                  </a:cubicBezTo>
                  <a:cubicBezTo>
                    <a:pt x="305" y="1947"/>
                    <a:pt x="316" y="1969"/>
                    <a:pt x="339" y="1980"/>
                  </a:cubicBezTo>
                  <a:lnTo>
                    <a:pt x="350" y="1994"/>
                  </a:lnTo>
                  <a:lnTo>
                    <a:pt x="350" y="2005"/>
                  </a:lnTo>
                  <a:cubicBezTo>
                    <a:pt x="350" y="2017"/>
                    <a:pt x="350" y="2028"/>
                    <a:pt x="339" y="2039"/>
                  </a:cubicBezTo>
                  <a:cubicBezTo>
                    <a:pt x="328" y="2050"/>
                    <a:pt x="328" y="2075"/>
                    <a:pt x="328" y="2098"/>
                  </a:cubicBezTo>
                  <a:cubicBezTo>
                    <a:pt x="328" y="2134"/>
                    <a:pt x="339" y="2168"/>
                    <a:pt x="364" y="2190"/>
                  </a:cubicBezTo>
                  <a:cubicBezTo>
                    <a:pt x="386" y="2215"/>
                    <a:pt x="420" y="2237"/>
                    <a:pt x="456" y="2237"/>
                  </a:cubicBezTo>
                  <a:lnTo>
                    <a:pt x="526" y="2237"/>
                  </a:lnTo>
                  <a:lnTo>
                    <a:pt x="526" y="2249"/>
                  </a:lnTo>
                  <a:cubicBezTo>
                    <a:pt x="537" y="2260"/>
                    <a:pt x="537" y="2260"/>
                    <a:pt x="537" y="2274"/>
                  </a:cubicBezTo>
                  <a:cubicBezTo>
                    <a:pt x="548" y="2296"/>
                    <a:pt x="574" y="2307"/>
                    <a:pt x="596" y="2319"/>
                  </a:cubicBezTo>
                  <a:lnTo>
                    <a:pt x="699" y="2319"/>
                  </a:lnTo>
                  <a:lnTo>
                    <a:pt x="699" y="2330"/>
                  </a:lnTo>
                  <a:lnTo>
                    <a:pt x="713" y="2330"/>
                  </a:lnTo>
                  <a:cubicBezTo>
                    <a:pt x="713" y="2344"/>
                    <a:pt x="699" y="2355"/>
                    <a:pt x="699" y="2366"/>
                  </a:cubicBezTo>
                  <a:lnTo>
                    <a:pt x="699" y="2400"/>
                  </a:lnTo>
                  <a:lnTo>
                    <a:pt x="699" y="2425"/>
                  </a:lnTo>
                  <a:cubicBezTo>
                    <a:pt x="713" y="2447"/>
                    <a:pt x="725" y="2470"/>
                    <a:pt x="736" y="2470"/>
                  </a:cubicBezTo>
                  <a:cubicBezTo>
                    <a:pt x="758" y="2484"/>
                    <a:pt x="769" y="2495"/>
                    <a:pt x="783" y="2506"/>
                  </a:cubicBezTo>
                  <a:cubicBezTo>
                    <a:pt x="806" y="2528"/>
                    <a:pt x="828" y="2565"/>
                    <a:pt x="828" y="2598"/>
                  </a:cubicBezTo>
                  <a:cubicBezTo>
                    <a:pt x="828" y="2623"/>
                    <a:pt x="817" y="2657"/>
                    <a:pt x="795" y="2668"/>
                  </a:cubicBezTo>
                  <a:cubicBezTo>
                    <a:pt x="783" y="2693"/>
                    <a:pt x="769" y="2704"/>
                    <a:pt x="758" y="2716"/>
                  </a:cubicBezTo>
                  <a:cubicBezTo>
                    <a:pt x="736" y="2727"/>
                    <a:pt x="725" y="2738"/>
                    <a:pt x="713" y="2763"/>
                  </a:cubicBezTo>
                  <a:cubicBezTo>
                    <a:pt x="699" y="2774"/>
                    <a:pt x="688" y="2797"/>
                    <a:pt x="688" y="2808"/>
                  </a:cubicBezTo>
                  <a:cubicBezTo>
                    <a:pt x="688" y="2819"/>
                    <a:pt x="699" y="2833"/>
                    <a:pt x="699" y="2844"/>
                  </a:cubicBezTo>
                  <a:cubicBezTo>
                    <a:pt x="699" y="2855"/>
                    <a:pt x="713" y="2867"/>
                    <a:pt x="725" y="2878"/>
                  </a:cubicBezTo>
                  <a:cubicBezTo>
                    <a:pt x="736" y="2889"/>
                    <a:pt x="747" y="2889"/>
                    <a:pt x="758" y="2889"/>
                  </a:cubicBezTo>
                  <a:cubicBezTo>
                    <a:pt x="783" y="2889"/>
                    <a:pt x="795" y="2878"/>
                    <a:pt x="806" y="2878"/>
                  </a:cubicBezTo>
                  <a:cubicBezTo>
                    <a:pt x="817" y="2867"/>
                    <a:pt x="828" y="2867"/>
                    <a:pt x="828" y="2867"/>
                  </a:cubicBezTo>
                  <a:lnTo>
                    <a:pt x="830" y="2867"/>
                  </a:lnTo>
                  <a:cubicBezTo>
                    <a:pt x="833" y="2879"/>
                    <a:pt x="839" y="2896"/>
                    <a:pt x="839" y="2914"/>
                  </a:cubicBezTo>
                  <a:lnTo>
                    <a:pt x="839" y="2995"/>
                  </a:lnTo>
                  <a:cubicBezTo>
                    <a:pt x="853" y="3018"/>
                    <a:pt x="864" y="3029"/>
                    <a:pt x="876" y="3054"/>
                  </a:cubicBezTo>
                  <a:cubicBezTo>
                    <a:pt x="898" y="3065"/>
                    <a:pt x="909" y="3076"/>
                    <a:pt x="946" y="3088"/>
                  </a:cubicBezTo>
                  <a:cubicBezTo>
                    <a:pt x="957" y="3088"/>
                    <a:pt x="968" y="3076"/>
                    <a:pt x="979" y="3065"/>
                  </a:cubicBezTo>
                  <a:cubicBezTo>
                    <a:pt x="993" y="3065"/>
                    <a:pt x="1004" y="3054"/>
                    <a:pt x="1004" y="3043"/>
                  </a:cubicBezTo>
                  <a:cubicBezTo>
                    <a:pt x="1015" y="3018"/>
                    <a:pt x="1015" y="2995"/>
                    <a:pt x="1015" y="2984"/>
                  </a:cubicBezTo>
                  <a:cubicBezTo>
                    <a:pt x="1027" y="2973"/>
                    <a:pt x="1027" y="2948"/>
                    <a:pt x="1027" y="2948"/>
                  </a:cubicBezTo>
                  <a:cubicBezTo>
                    <a:pt x="1038" y="2925"/>
                    <a:pt x="1063" y="2925"/>
                    <a:pt x="1074" y="2925"/>
                  </a:cubicBezTo>
                  <a:lnTo>
                    <a:pt x="1097" y="2925"/>
                  </a:lnTo>
                  <a:cubicBezTo>
                    <a:pt x="1097" y="2925"/>
                    <a:pt x="1108" y="2937"/>
                    <a:pt x="1108" y="2948"/>
                  </a:cubicBezTo>
                  <a:lnTo>
                    <a:pt x="1108" y="2973"/>
                  </a:lnTo>
                  <a:cubicBezTo>
                    <a:pt x="1108" y="2995"/>
                    <a:pt x="1108" y="3018"/>
                    <a:pt x="1097" y="3043"/>
                  </a:cubicBezTo>
                  <a:cubicBezTo>
                    <a:pt x="1085" y="3065"/>
                    <a:pt x="1085" y="3099"/>
                    <a:pt x="1085" y="3124"/>
                  </a:cubicBezTo>
                  <a:cubicBezTo>
                    <a:pt x="1085" y="3146"/>
                    <a:pt x="1085" y="3157"/>
                    <a:pt x="1097" y="3183"/>
                  </a:cubicBezTo>
                  <a:cubicBezTo>
                    <a:pt x="1097" y="3194"/>
                    <a:pt x="1119" y="3205"/>
                    <a:pt x="1133" y="3216"/>
                  </a:cubicBezTo>
                  <a:cubicBezTo>
                    <a:pt x="1155" y="3227"/>
                    <a:pt x="1166" y="3227"/>
                    <a:pt x="1178" y="3227"/>
                  </a:cubicBezTo>
                  <a:lnTo>
                    <a:pt x="1248" y="3227"/>
                  </a:lnTo>
                  <a:cubicBezTo>
                    <a:pt x="1259" y="3227"/>
                    <a:pt x="1259" y="3239"/>
                    <a:pt x="1273" y="3252"/>
                  </a:cubicBezTo>
                  <a:cubicBezTo>
                    <a:pt x="1273" y="3264"/>
                    <a:pt x="1284" y="3275"/>
                    <a:pt x="1295" y="3297"/>
                  </a:cubicBezTo>
                  <a:cubicBezTo>
                    <a:pt x="1295" y="3308"/>
                    <a:pt x="1306" y="3322"/>
                    <a:pt x="1306" y="3322"/>
                  </a:cubicBezTo>
                  <a:cubicBezTo>
                    <a:pt x="1317" y="3334"/>
                    <a:pt x="1329" y="3345"/>
                    <a:pt x="1343" y="3345"/>
                  </a:cubicBezTo>
                  <a:lnTo>
                    <a:pt x="1376" y="3345"/>
                  </a:lnTo>
                  <a:cubicBezTo>
                    <a:pt x="1376" y="3356"/>
                    <a:pt x="1376" y="3367"/>
                    <a:pt x="1387" y="3392"/>
                  </a:cubicBezTo>
                  <a:cubicBezTo>
                    <a:pt x="1398" y="3415"/>
                    <a:pt x="1424" y="3437"/>
                    <a:pt x="1435" y="3437"/>
                  </a:cubicBezTo>
                  <a:cubicBezTo>
                    <a:pt x="1457" y="3448"/>
                    <a:pt x="1482" y="3462"/>
                    <a:pt x="1505" y="3462"/>
                  </a:cubicBezTo>
                  <a:cubicBezTo>
                    <a:pt x="1527" y="3462"/>
                    <a:pt x="1552" y="3448"/>
                    <a:pt x="1575" y="3448"/>
                  </a:cubicBezTo>
                  <a:cubicBezTo>
                    <a:pt x="1608" y="3426"/>
                    <a:pt x="1645" y="3415"/>
                    <a:pt x="1667" y="3392"/>
                  </a:cubicBezTo>
                  <a:lnTo>
                    <a:pt x="1703" y="3367"/>
                  </a:lnTo>
                  <a:lnTo>
                    <a:pt x="1667" y="3356"/>
                  </a:lnTo>
                  <a:cubicBezTo>
                    <a:pt x="1656" y="3345"/>
                    <a:pt x="1645" y="3345"/>
                    <a:pt x="1633" y="3334"/>
                  </a:cubicBezTo>
                  <a:cubicBezTo>
                    <a:pt x="1633" y="3322"/>
                    <a:pt x="1622" y="3297"/>
                    <a:pt x="1608" y="3275"/>
                  </a:cubicBezTo>
                  <a:cubicBezTo>
                    <a:pt x="1597" y="3264"/>
                    <a:pt x="1586" y="3252"/>
                    <a:pt x="1575" y="3239"/>
                  </a:cubicBezTo>
                  <a:cubicBezTo>
                    <a:pt x="1575" y="3227"/>
                    <a:pt x="1563" y="3216"/>
                    <a:pt x="1563" y="3205"/>
                  </a:cubicBezTo>
                  <a:cubicBezTo>
                    <a:pt x="1552" y="3194"/>
                    <a:pt x="1552" y="3169"/>
                    <a:pt x="1552" y="3157"/>
                  </a:cubicBezTo>
                  <a:lnTo>
                    <a:pt x="1552" y="3146"/>
                  </a:lnTo>
                  <a:lnTo>
                    <a:pt x="1552" y="3124"/>
                  </a:lnTo>
                  <a:cubicBezTo>
                    <a:pt x="1552" y="3099"/>
                    <a:pt x="1552" y="3065"/>
                    <a:pt x="1538" y="3043"/>
                  </a:cubicBezTo>
                  <a:cubicBezTo>
                    <a:pt x="1527" y="3018"/>
                    <a:pt x="1505" y="2995"/>
                    <a:pt x="1505" y="2973"/>
                  </a:cubicBezTo>
                  <a:cubicBezTo>
                    <a:pt x="1505" y="2959"/>
                    <a:pt x="1516" y="2948"/>
                    <a:pt x="1527" y="2925"/>
                  </a:cubicBezTo>
                  <a:cubicBezTo>
                    <a:pt x="1538" y="2914"/>
                    <a:pt x="1552" y="2903"/>
                    <a:pt x="1575" y="2878"/>
                  </a:cubicBezTo>
                  <a:cubicBezTo>
                    <a:pt x="1597" y="2844"/>
                    <a:pt x="1622" y="2786"/>
                    <a:pt x="1633" y="2738"/>
                  </a:cubicBezTo>
                  <a:cubicBezTo>
                    <a:pt x="1645" y="2693"/>
                    <a:pt x="1656" y="2657"/>
                    <a:pt x="1667" y="2609"/>
                  </a:cubicBezTo>
                  <a:cubicBezTo>
                    <a:pt x="1692" y="2598"/>
                    <a:pt x="1703" y="2576"/>
                    <a:pt x="1726" y="2539"/>
                  </a:cubicBezTo>
                  <a:cubicBezTo>
                    <a:pt x="1726" y="2528"/>
                    <a:pt x="1737" y="2506"/>
                    <a:pt x="1737" y="2484"/>
                  </a:cubicBezTo>
                  <a:cubicBezTo>
                    <a:pt x="1737" y="2470"/>
                    <a:pt x="1726" y="2447"/>
                    <a:pt x="1714" y="2436"/>
                  </a:cubicBezTo>
                  <a:cubicBezTo>
                    <a:pt x="1703" y="2414"/>
                    <a:pt x="1692" y="2414"/>
                    <a:pt x="1678" y="2400"/>
                  </a:cubicBezTo>
                  <a:cubicBezTo>
                    <a:pt x="1667" y="2388"/>
                    <a:pt x="1667" y="2388"/>
                    <a:pt x="1656" y="2388"/>
                  </a:cubicBezTo>
                  <a:lnTo>
                    <a:pt x="1656" y="2377"/>
                  </a:lnTo>
                  <a:lnTo>
                    <a:pt x="1656" y="2366"/>
                  </a:lnTo>
                  <a:lnTo>
                    <a:pt x="1656" y="2344"/>
                  </a:lnTo>
                  <a:cubicBezTo>
                    <a:pt x="1656" y="2330"/>
                    <a:pt x="1656" y="2307"/>
                    <a:pt x="1645" y="2296"/>
                  </a:cubicBezTo>
                  <a:cubicBezTo>
                    <a:pt x="1633" y="2296"/>
                    <a:pt x="1633" y="2285"/>
                    <a:pt x="1622" y="2285"/>
                  </a:cubicBezTo>
                  <a:cubicBezTo>
                    <a:pt x="1622" y="2285"/>
                    <a:pt x="1608" y="2285"/>
                    <a:pt x="1608" y="2274"/>
                  </a:cubicBezTo>
                  <a:lnTo>
                    <a:pt x="1608" y="2260"/>
                  </a:lnTo>
                  <a:lnTo>
                    <a:pt x="1608" y="2260"/>
                  </a:lnTo>
                  <a:lnTo>
                    <a:pt x="1608" y="2260"/>
                  </a:lnTo>
                  <a:cubicBezTo>
                    <a:pt x="1625" y="2267"/>
                    <a:pt x="1644" y="2274"/>
                    <a:pt x="1667" y="2274"/>
                  </a:cubicBezTo>
                  <a:lnTo>
                    <a:pt x="1692" y="2274"/>
                  </a:lnTo>
                  <a:cubicBezTo>
                    <a:pt x="1714" y="2260"/>
                    <a:pt x="1726" y="2260"/>
                    <a:pt x="1737" y="2237"/>
                  </a:cubicBezTo>
                  <a:cubicBezTo>
                    <a:pt x="1748" y="2226"/>
                    <a:pt x="1762" y="2215"/>
                    <a:pt x="1762" y="2190"/>
                  </a:cubicBezTo>
                  <a:cubicBezTo>
                    <a:pt x="1762" y="2179"/>
                    <a:pt x="1748" y="2168"/>
                    <a:pt x="1748" y="2156"/>
                  </a:cubicBezTo>
                  <a:lnTo>
                    <a:pt x="1748" y="2168"/>
                  </a:lnTo>
                  <a:cubicBezTo>
                    <a:pt x="1737" y="2145"/>
                    <a:pt x="1737" y="2145"/>
                    <a:pt x="1726" y="2134"/>
                  </a:cubicBezTo>
                  <a:cubicBezTo>
                    <a:pt x="1714" y="2134"/>
                    <a:pt x="1714" y="2120"/>
                    <a:pt x="1703" y="2120"/>
                  </a:cubicBezTo>
                  <a:lnTo>
                    <a:pt x="1703" y="2109"/>
                  </a:lnTo>
                  <a:cubicBezTo>
                    <a:pt x="1726" y="2120"/>
                    <a:pt x="1737" y="2145"/>
                    <a:pt x="1762" y="2156"/>
                  </a:cubicBezTo>
                  <a:cubicBezTo>
                    <a:pt x="1784" y="2168"/>
                    <a:pt x="1807" y="2179"/>
                    <a:pt x="1832" y="2179"/>
                  </a:cubicBezTo>
                  <a:cubicBezTo>
                    <a:pt x="1843" y="2179"/>
                    <a:pt x="1854" y="2179"/>
                    <a:pt x="1865" y="2168"/>
                  </a:cubicBezTo>
                  <a:lnTo>
                    <a:pt x="1877" y="2168"/>
                  </a:lnTo>
                  <a:lnTo>
                    <a:pt x="1877" y="2156"/>
                  </a:lnTo>
                  <a:cubicBezTo>
                    <a:pt x="1877" y="2156"/>
                    <a:pt x="1888" y="2145"/>
                    <a:pt x="1888" y="2134"/>
                  </a:cubicBezTo>
                  <a:cubicBezTo>
                    <a:pt x="1888" y="2120"/>
                    <a:pt x="1877" y="2109"/>
                    <a:pt x="1865" y="2098"/>
                  </a:cubicBezTo>
                  <a:cubicBezTo>
                    <a:pt x="1865" y="2086"/>
                    <a:pt x="1854" y="2075"/>
                    <a:pt x="1854" y="2075"/>
                  </a:cubicBezTo>
                  <a:lnTo>
                    <a:pt x="1854" y="2064"/>
                  </a:lnTo>
                  <a:lnTo>
                    <a:pt x="1865" y="2050"/>
                  </a:lnTo>
                  <a:cubicBezTo>
                    <a:pt x="1877" y="2039"/>
                    <a:pt x="1888" y="2039"/>
                    <a:pt x="1902" y="2039"/>
                  </a:cubicBezTo>
                  <a:lnTo>
                    <a:pt x="1994" y="2039"/>
                  </a:lnTo>
                  <a:cubicBezTo>
                    <a:pt x="2016" y="2039"/>
                    <a:pt x="2028" y="2028"/>
                    <a:pt x="2053" y="2017"/>
                  </a:cubicBezTo>
                  <a:cubicBezTo>
                    <a:pt x="2064" y="2005"/>
                    <a:pt x="2086" y="1994"/>
                    <a:pt x="2086" y="1969"/>
                  </a:cubicBezTo>
                  <a:lnTo>
                    <a:pt x="2086" y="1958"/>
                  </a:lnTo>
                  <a:cubicBezTo>
                    <a:pt x="2086" y="1947"/>
                    <a:pt x="2075" y="1935"/>
                    <a:pt x="2075" y="1924"/>
                  </a:cubicBezTo>
                  <a:cubicBezTo>
                    <a:pt x="2064" y="1910"/>
                    <a:pt x="2064" y="1899"/>
                    <a:pt x="2064" y="1899"/>
                  </a:cubicBezTo>
                  <a:lnTo>
                    <a:pt x="2064" y="1888"/>
                  </a:lnTo>
                  <a:cubicBezTo>
                    <a:pt x="2064" y="1877"/>
                    <a:pt x="2064" y="1866"/>
                    <a:pt x="2075" y="1866"/>
                  </a:cubicBezTo>
                  <a:cubicBezTo>
                    <a:pt x="2098" y="1854"/>
                    <a:pt x="2112" y="1840"/>
                    <a:pt x="2134" y="1840"/>
                  </a:cubicBezTo>
                  <a:cubicBezTo>
                    <a:pt x="2134" y="1829"/>
                    <a:pt x="2145" y="1829"/>
                    <a:pt x="2156" y="1829"/>
                  </a:cubicBezTo>
                  <a:cubicBezTo>
                    <a:pt x="2167" y="1829"/>
                    <a:pt x="2181" y="1829"/>
                    <a:pt x="2193" y="1840"/>
                  </a:cubicBezTo>
                  <a:cubicBezTo>
                    <a:pt x="2193" y="1840"/>
                    <a:pt x="2204" y="1840"/>
                    <a:pt x="2204" y="1854"/>
                  </a:cubicBezTo>
                  <a:lnTo>
                    <a:pt x="2204" y="1866"/>
                  </a:lnTo>
                  <a:cubicBezTo>
                    <a:pt x="2204" y="1877"/>
                    <a:pt x="2204" y="1888"/>
                    <a:pt x="2193" y="1899"/>
                  </a:cubicBezTo>
                  <a:cubicBezTo>
                    <a:pt x="2181" y="1924"/>
                    <a:pt x="2181" y="1947"/>
                    <a:pt x="2181" y="1958"/>
                  </a:cubicBezTo>
                  <a:cubicBezTo>
                    <a:pt x="2181" y="1980"/>
                    <a:pt x="2181" y="1994"/>
                    <a:pt x="2193" y="2005"/>
                  </a:cubicBezTo>
                  <a:cubicBezTo>
                    <a:pt x="2204" y="2028"/>
                    <a:pt x="2226" y="2028"/>
                    <a:pt x="2237" y="2039"/>
                  </a:cubicBezTo>
                  <a:cubicBezTo>
                    <a:pt x="2251" y="2039"/>
                    <a:pt x="2263" y="2039"/>
                    <a:pt x="2263" y="2050"/>
                  </a:cubicBezTo>
                  <a:lnTo>
                    <a:pt x="2263" y="2075"/>
                  </a:lnTo>
                  <a:cubicBezTo>
                    <a:pt x="2251" y="2075"/>
                    <a:pt x="2237" y="2086"/>
                    <a:pt x="2237" y="2098"/>
                  </a:cubicBezTo>
                  <a:lnTo>
                    <a:pt x="2226" y="2098"/>
                  </a:lnTo>
                  <a:cubicBezTo>
                    <a:pt x="2193" y="2109"/>
                    <a:pt x="2156" y="2134"/>
                    <a:pt x="2123" y="2134"/>
                  </a:cubicBezTo>
                  <a:lnTo>
                    <a:pt x="2098" y="2134"/>
                  </a:lnTo>
                  <a:cubicBezTo>
                    <a:pt x="2086" y="2134"/>
                    <a:pt x="2075" y="2120"/>
                    <a:pt x="2064" y="2120"/>
                  </a:cubicBezTo>
                  <a:cubicBezTo>
                    <a:pt x="2053" y="2109"/>
                    <a:pt x="2042" y="2109"/>
                    <a:pt x="2028" y="2109"/>
                  </a:cubicBezTo>
                  <a:cubicBezTo>
                    <a:pt x="2016" y="2109"/>
                    <a:pt x="2005" y="2109"/>
                    <a:pt x="1994" y="2120"/>
                  </a:cubicBezTo>
                  <a:cubicBezTo>
                    <a:pt x="1972" y="2134"/>
                    <a:pt x="1972" y="2156"/>
                    <a:pt x="1972" y="2168"/>
                  </a:cubicBezTo>
                  <a:cubicBezTo>
                    <a:pt x="1972" y="2190"/>
                    <a:pt x="1983" y="2215"/>
                    <a:pt x="1994" y="2226"/>
                  </a:cubicBezTo>
                  <a:cubicBezTo>
                    <a:pt x="2016" y="2260"/>
                    <a:pt x="2042" y="2285"/>
                    <a:pt x="2053" y="2307"/>
                  </a:cubicBezTo>
                  <a:cubicBezTo>
                    <a:pt x="2075" y="2330"/>
                    <a:pt x="2075" y="2366"/>
                    <a:pt x="2075" y="2400"/>
                  </a:cubicBezTo>
                  <a:lnTo>
                    <a:pt x="2075" y="2458"/>
                  </a:lnTo>
                  <a:lnTo>
                    <a:pt x="2064" y="2495"/>
                  </a:lnTo>
                  <a:lnTo>
                    <a:pt x="2098" y="2495"/>
                  </a:lnTo>
                  <a:cubicBezTo>
                    <a:pt x="2134" y="2484"/>
                    <a:pt x="2167" y="2470"/>
                    <a:pt x="2193" y="2470"/>
                  </a:cubicBezTo>
                  <a:cubicBezTo>
                    <a:pt x="2215" y="2470"/>
                    <a:pt x="2237" y="2484"/>
                    <a:pt x="2251" y="2484"/>
                  </a:cubicBezTo>
                  <a:cubicBezTo>
                    <a:pt x="2274" y="2495"/>
                    <a:pt x="2296" y="2517"/>
                    <a:pt x="2307" y="2539"/>
                  </a:cubicBezTo>
                  <a:cubicBezTo>
                    <a:pt x="2332" y="2553"/>
                    <a:pt x="2344" y="2587"/>
                    <a:pt x="2366" y="2609"/>
                  </a:cubicBezTo>
                  <a:cubicBezTo>
                    <a:pt x="2414" y="2657"/>
                    <a:pt x="2472" y="2679"/>
                    <a:pt x="2517" y="2704"/>
                  </a:cubicBezTo>
                  <a:cubicBezTo>
                    <a:pt x="2576" y="2727"/>
                    <a:pt x="2646" y="2738"/>
                    <a:pt x="2693" y="2763"/>
                  </a:cubicBezTo>
                  <a:cubicBezTo>
                    <a:pt x="2752" y="2774"/>
                    <a:pt x="2797" y="2808"/>
                    <a:pt x="2822" y="2844"/>
                  </a:cubicBezTo>
                  <a:cubicBezTo>
                    <a:pt x="2833" y="2878"/>
                    <a:pt x="2844" y="2914"/>
                    <a:pt x="2844" y="2948"/>
                  </a:cubicBezTo>
                  <a:cubicBezTo>
                    <a:pt x="2844" y="2973"/>
                    <a:pt x="2844" y="2995"/>
                    <a:pt x="2833" y="3018"/>
                  </a:cubicBezTo>
                  <a:cubicBezTo>
                    <a:pt x="2822" y="3029"/>
                    <a:pt x="2811" y="3054"/>
                    <a:pt x="2811" y="3088"/>
                  </a:cubicBezTo>
                  <a:cubicBezTo>
                    <a:pt x="2811" y="3113"/>
                    <a:pt x="2822" y="3124"/>
                    <a:pt x="2833" y="3135"/>
                  </a:cubicBezTo>
                  <a:cubicBezTo>
                    <a:pt x="2833" y="3157"/>
                    <a:pt x="2844" y="3169"/>
                    <a:pt x="2855" y="3183"/>
                  </a:cubicBezTo>
                  <a:cubicBezTo>
                    <a:pt x="2881" y="3205"/>
                    <a:pt x="2903" y="3216"/>
                    <a:pt x="2925" y="3239"/>
                  </a:cubicBezTo>
                  <a:cubicBezTo>
                    <a:pt x="2936" y="3264"/>
                    <a:pt x="2936" y="3286"/>
                    <a:pt x="2936" y="3308"/>
                  </a:cubicBezTo>
                  <a:cubicBezTo>
                    <a:pt x="2936" y="3322"/>
                    <a:pt x="2936" y="3334"/>
                    <a:pt x="2925" y="3356"/>
                  </a:cubicBezTo>
                  <a:cubicBezTo>
                    <a:pt x="2925" y="3356"/>
                    <a:pt x="2914" y="3367"/>
                    <a:pt x="2914" y="3378"/>
                  </a:cubicBezTo>
                  <a:cubicBezTo>
                    <a:pt x="2914" y="3392"/>
                    <a:pt x="2903" y="3403"/>
                    <a:pt x="2903" y="3415"/>
                  </a:cubicBezTo>
                  <a:lnTo>
                    <a:pt x="2903" y="3426"/>
                  </a:lnTo>
                  <a:cubicBezTo>
                    <a:pt x="2903" y="3448"/>
                    <a:pt x="2914" y="3462"/>
                    <a:pt x="2936" y="3473"/>
                  </a:cubicBezTo>
                  <a:cubicBezTo>
                    <a:pt x="2950" y="3485"/>
                    <a:pt x="2962" y="3496"/>
                    <a:pt x="2984" y="3496"/>
                  </a:cubicBezTo>
                  <a:cubicBezTo>
                    <a:pt x="3020" y="3485"/>
                    <a:pt x="3054" y="3473"/>
                    <a:pt x="3076" y="3462"/>
                  </a:cubicBezTo>
                  <a:cubicBezTo>
                    <a:pt x="3101" y="3448"/>
                    <a:pt x="3113" y="3437"/>
                    <a:pt x="3135" y="3437"/>
                  </a:cubicBezTo>
                  <a:cubicBezTo>
                    <a:pt x="3160" y="3437"/>
                    <a:pt x="3171" y="3448"/>
                    <a:pt x="3194" y="3462"/>
                  </a:cubicBezTo>
                  <a:cubicBezTo>
                    <a:pt x="3300" y="3532"/>
                    <a:pt x="3415" y="3588"/>
                    <a:pt x="3554" y="3588"/>
                  </a:cubicBezTo>
                  <a:lnTo>
                    <a:pt x="3602" y="3588"/>
                  </a:lnTo>
                  <a:cubicBezTo>
                    <a:pt x="3613" y="3588"/>
                    <a:pt x="3635" y="3577"/>
                    <a:pt x="3661" y="3566"/>
                  </a:cubicBezTo>
                  <a:cubicBezTo>
                    <a:pt x="3672" y="3554"/>
                    <a:pt x="3672" y="3532"/>
                    <a:pt x="3672" y="3518"/>
                  </a:cubicBezTo>
                  <a:cubicBezTo>
                    <a:pt x="3672" y="3507"/>
                    <a:pt x="3672" y="3496"/>
                    <a:pt x="3661" y="3485"/>
                  </a:cubicBezTo>
                  <a:cubicBezTo>
                    <a:pt x="3649" y="3473"/>
                    <a:pt x="3635" y="3473"/>
                    <a:pt x="3624" y="3473"/>
                  </a:cubicBezTo>
                  <a:lnTo>
                    <a:pt x="3580" y="3473"/>
                  </a:lnTo>
                  <a:cubicBezTo>
                    <a:pt x="3580" y="3462"/>
                    <a:pt x="3580" y="3448"/>
                    <a:pt x="3566" y="3437"/>
                  </a:cubicBezTo>
                  <a:cubicBezTo>
                    <a:pt x="3566" y="3426"/>
                    <a:pt x="3566" y="3415"/>
                    <a:pt x="3554" y="3392"/>
                  </a:cubicBezTo>
                  <a:cubicBezTo>
                    <a:pt x="3543" y="3378"/>
                    <a:pt x="3521" y="3356"/>
                    <a:pt x="3510" y="3356"/>
                  </a:cubicBezTo>
                  <a:cubicBezTo>
                    <a:pt x="3484" y="3345"/>
                    <a:pt x="3462" y="3345"/>
                    <a:pt x="3451" y="3334"/>
                  </a:cubicBezTo>
                  <a:cubicBezTo>
                    <a:pt x="3381" y="3322"/>
                    <a:pt x="3311" y="3297"/>
                    <a:pt x="3241" y="3264"/>
                  </a:cubicBezTo>
                  <a:cubicBezTo>
                    <a:pt x="3205" y="3252"/>
                    <a:pt x="3171" y="3227"/>
                    <a:pt x="3160" y="3194"/>
                  </a:cubicBezTo>
                  <a:cubicBezTo>
                    <a:pt x="3146" y="3169"/>
                    <a:pt x="3146" y="3146"/>
                    <a:pt x="3135" y="3124"/>
                  </a:cubicBezTo>
                  <a:cubicBezTo>
                    <a:pt x="3124" y="3088"/>
                    <a:pt x="3101" y="3043"/>
                    <a:pt x="3076" y="3006"/>
                  </a:cubicBezTo>
                  <a:cubicBezTo>
                    <a:pt x="3065" y="3006"/>
                    <a:pt x="3065" y="2995"/>
                    <a:pt x="3054" y="2984"/>
                  </a:cubicBezTo>
                  <a:cubicBezTo>
                    <a:pt x="3031" y="2984"/>
                    <a:pt x="3020" y="2984"/>
                    <a:pt x="3006" y="2973"/>
                  </a:cubicBezTo>
                  <a:cubicBezTo>
                    <a:pt x="2984" y="2973"/>
                    <a:pt x="2973" y="2959"/>
                    <a:pt x="2962" y="2937"/>
                  </a:cubicBezTo>
                  <a:cubicBezTo>
                    <a:pt x="2936" y="2925"/>
                    <a:pt x="2936" y="2903"/>
                    <a:pt x="2936" y="2878"/>
                  </a:cubicBezTo>
                  <a:lnTo>
                    <a:pt x="2936" y="2867"/>
                  </a:lnTo>
                  <a:cubicBezTo>
                    <a:pt x="2936" y="2819"/>
                    <a:pt x="2973" y="2774"/>
                    <a:pt x="3006" y="2727"/>
                  </a:cubicBezTo>
                  <a:lnTo>
                    <a:pt x="3020" y="2727"/>
                  </a:lnTo>
                  <a:lnTo>
                    <a:pt x="3020" y="2738"/>
                  </a:lnTo>
                  <a:lnTo>
                    <a:pt x="3026" y="2732"/>
                  </a:lnTo>
                  <a:lnTo>
                    <a:pt x="3026" y="2732"/>
                  </a:lnTo>
                  <a:cubicBezTo>
                    <a:pt x="3036" y="2738"/>
                    <a:pt x="3045" y="2738"/>
                    <a:pt x="3054" y="2738"/>
                  </a:cubicBezTo>
                  <a:lnTo>
                    <a:pt x="3090" y="2738"/>
                  </a:lnTo>
                  <a:cubicBezTo>
                    <a:pt x="3101" y="2738"/>
                    <a:pt x="3113" y="2738"/>
                    <a:pt x="3124" y="2749"/>
                  </a:cubicBezTo>
                  <a:cubicBezTo>
                    <a:pt x="3135" y="2749"/>
                    <a:pt x="3160" y="2774"/>
                    <a:pt x="3171" y="2786"/>
                  </a:cubicBezTo>
                  <a:cubicBezTo>
                    <a:pt x="3194" y="2797"/>
                    <a:pt x="3216" y="2819"/>
                    <a:pt x="3241" y="2833"/>
                  </a:cubicBezTo>
                  <a:cubicBezTo>
                    <a:pt x="3286" y="2844"/>
                    <a:pt x="3322" y="2844"/>
                    <a:pt x="3356" y="2844"/>
                  </a:cubicBezTo>
                  <a:cubicBezTo>
                    <a:pt x="3451" y="2844"/>
                    <a:pt x="3532" y="2903"/>
                    <a:pt x="3580" y="2984"/>
                  </a:cubicBezTo>
                  <a:cubicBezTo>
                    <a:pt x="3602" y="3006"/>
                    <a:pt x="3613" y="3043"/>
                    <a:pt x="3635" y="3076"/>
                  </a:cubicBezTo>
                  <a:cubicBezTo>
                    <a:pt x="3661" y="3099"/>
                    <a:pt x="3672" y="3113"/>
                    <a:pt x="3683" y="3135"/>
                  </a:cubicBezTo>
                  <a:cubicBezTo>
                    <a:pt x="3694" y="3146"/>
                    <a:pt x="3705" y="3157"/>
                    <a:pt x="3705" y="3169"/>
                  </a:cubicBezTo>
                  <a:cubicBezTo>
                    <a:pt x="3719" y="3194"/>
                    <a:pt x="3719" y="3216"/>
                    <a:pt x="3719" y="3252"/>
                  </a:cubicBezTo>
                  <a:cubicBezTo>
                    <a:pt x="3719" y="3264"/>
                    <a:pt x="3719" y="3275"/>
                    <a:pt x="3731" y="3297"/>
                  </a:cubicBezTo>
                  <a:cubicBezTo>
                    <a:pt x="3731" y="3308"/>
                    <a:pt x="3742" y="3322"/>
                    <a:pt x="3753" y="3334"/>
                  </a:cubicBezTo>
                  <a:cubicBezTo>
                    <a:pt x="3775" y="3356"/>
                    <a:pt x="3800" y="3356"/>
                    <a:pt x="3823" y="3356"/>
                  </a:cubicBezTo>
                  <a:cubicBezTo>
                    <a:pt x="3845" y="3356"/>
                    <a:pt x="3859" y="3367"/>
                    <a:pt x="3859" y="3367"/>
                  </a:cubicBezTo>
                  <a:cubicBezTo>
                    <a:pt x="3870" y="3378"/>
                    <a:pt x="3870" y="3392"/>
                    <a:pt x="3882" y="3403"/>
                  </a:cubicBezTo>
                  <a:cubicBezTo>
                    <a:pt x="3882" y="3415"/>
                    <a:pt x="3882" y="3426"/>
                    <a:pt x="3893" y="3448"/>
                  </a:cubicBezTo>
                  <a:cubicBezTo>
                    <a:pt x="3904" y="3485"/>
                    <a:pt x="3940" y="3507"/>
                    <a:pt x="3974" y="3507"/>
                  </a:cubicBezTo>
                  <a:lnTo>
                    <a:pt x="3985" y="3507"/>
                  </a:lnTo>
                  <a:cubicBezTo>
                    <a:pt x="4021" y="3507"/>
                    <a:pt x="4055" y="3496"/>
                    <a:pt x="4069" y="3462"/>
                  </a:cubicBezTo>
                  <a:cubicBezTo>
                    <a:pt x="4080" y="3448"/>
                    <a:pt x="4080" y="3437"/>
                    <a:pt x="4091" y="3426"/>
                  </a:cubicBezTo>
                  <a:cubicBezTo>
                    <a:pt x="4091" y="3415"/>
                    <a:pt x="4102" y="3403"/>
                    <a:pt x="4102" y="3392"/>
                  </a:cubicBezTo>
                  <a:cubicBezTo>
                    <a:pt x="4114" y="3392"/>
                    <a:pt x="4114" y="3378"/>
                    <a:pt x="4125" y="3378"/>
                  </a:cubicBezTo>
                  <a:cubicBezTo>
                    <a:pt x="4139" y="3367"/>
                    <a:pt x="4139" y="3367"/>
                    <a:pt x="4139" y="3356"/>
                  </a:cubicBezTo>
                  <a:cubicBezTo>
                    <a:pt x="4150" y="3356"/>
                    <a:pt x="4150" y="3345"/>
                    <a:pt x="4150" y="3334"/>
                  </a:cubicBezTo>
                  <a:lnTo>
                    <a:pt x="4150" y="3322"/>
                  </a:lnTo>
                  <a:cubicBezTo>
                    <a:pt x="4150" y="3308"/>
                    <a:pt x="4139" y="3297"/>
                    <a:pt x="4139" y="3297"/>
                  </a:cubicBezTo>
                  <a:lnTo>
                    <a:pt x="4139" y="3286"/>
                  </a:lnTo>
                  <a:lnTo>
                    <a:pt x="4139" y="3239"/>
                  </a:lnTo>
                  <a:cubicBezTo>
                    <a:pt x="4139" y="3227"/>
                    <a:pt x="4139" y="3216"/>
                    <a:pt x="4125" y="3194"/>
                  </a:cubicBezTo>
                  <a:cubicBezTo>
                    <a:pt x="4114" y="3194"/>
                    <a:pt x="4102" y="3183"/>
                    <a:pt x="4102" y="3183"/>
                  </a:cubicBezTo>
                  <a:lnTo>
                    <a:pt x="4102" y="3169"/>
                  </a:lnTo>
                  <a:cubicBezTo>
                    <a:pt x="4091" y="3169"/>
                    <a:pt x="4102" y="3157"/>
                    <a:pt x="4102" y="3146"/>
                  </a:cubicBezTo>
                  <a:cubicBezTo>
                    <a:pt x="4114" y="3135"/>
                    <a:pt x="4114" y="3124"/>
                    <a:pt x="4114" y="3113"/>
                  </a:cubicBezTo>
                  <a:cubicBezTo>
                    <a:pt x="4114" y="3076"/>
                    <a:pt x="4091" y="3043"/>
                    <a:pt x="4069" y="3018"/>
                  </a:cubicBezTo>
                  <a:cubicBezTo>
                    <a:pt x="4033" y="2995"/>
                    <a:pt x="3999" y="2984"/>
                    <a:pt x="3963" y="2959"/>
                  </a:cubicBezTo>
                  <a:cubicBezTo>
                    <a:pt x="3929" y="2948"/>
                    <a:pt x="3882" y="2937"/>
                    <a:pt x="3845" y="2914"/>
                  </a:cubicBezTo>
                  <a:cubicBezTo>
                    <a:pt x="3823" y="2914"/>
                    <a:pt x="3800" y="2903"/>
                    <a:pt x="3789" y="2889"/>
                  </a:cubicBezTo>
                  <a:cubicBezTo>
                    <a:pt x="3775" y="2878"/>
                    <a:pt x="3775" y="2855"/>
                    <a:pt x="3764" y="2833"/>
                  </a:cubicBezTo>
                  <a:cubicBezTo>
                    <a:pt x="3753" y="2808"/>
                    <a:pt x="3742" y="2786"/>
                    <a:pt x="3719" y="2774"/>
                  </a:cubicBezTo>
                  <a:cubicBezTo>
                    <a:pt x="3705" y="2763"/>
                    <a:pt x="3694" y="2763"/>
                    <a:pt x="3683" y="2749"/>
                  </a:cubicBezTo>
                  <a:cubicBezTo>
                    <a:pt x="3661" y="2749"/>
                    <a:pt x="3649" y="2749"/>
                    <a:pt x="3649" y="2738"/>
                  </a:cubicBezTo>
                  <a:cubicBezTo>
                    <a:pt x="3624" y="2738"/>
                    <a:pt x="3602" y="2704"/>
                    <a:pt x="3591" y="2679"/>
                  </a:cubicBezTo>
                  <a:lnTo>
                    <a:pt x="3591" y="2657"/>
                  </a:lnTo>
                  <a:cubicBezTo>
                    <a:pt x="3591" y="2635"/>
                    <a:pt x="3602" y="2598"/>
                    <a:pt x="3624" y="2576"/>
                  </a:cubicBezTo>
                  <a:cubicBezTo>
                    <a:pt x="3635" y="2565"/>
                    <a:pt x="3649" y="2565"/>
                    <a:pt x="3649" y="2565"/>
                  </a:cubicBezTo>
                  <a:lnTo>
                    <a:pt x="3731" y="2565"/>
                  </a:lnTo>
                  <a:cubicBezTo>
                    <a:pt x="3753" y="2565"/>
                    <a:pt x="3775" y="2565"/>
                    <a:pt x="3800" y="2553"/>
                  </a:cubicBezTo>
                  <a:cubicBezTo>
                    <a:pt x="3812" y="2539"/>
                    <a:pt x="3823" y="2528"/>
                    <a:pt x="3834" y="2528"/>
                  </a:cubicBezTo>
                  <a:cubicBezTo>
                    <a:pt x="3845" y="2517"/>
                    <a:pt x="3859" y="2517"/>
                    <a:pt x="3882" y="2517"/>
                  </a:cubicBezTo>
                  <a:cubicBezTo>
                    <a:pt x="3893" y="2517"/>
                    <a:pt x="3904" y="2517"/>
                    <a:pt x="3915" y="2528"/>
                  </a:cubicBezTo>
                  <a:cubicBezTo>
                    <a:pt x="3940" y="2528"/>
                    <a:pt x="3951" y="2528"/>
                    <a:pt x="3963" y="2539"/>
                  </a:cubicBezTo>
                  <a:cubicBezTo>
                    <a:pt x="3985" y="2539"/>
                    <a:pt x="3999" y="2539"/>
                    <a:pt x="4010" y="2553"/>
                  </a:cubicBezTo>
                  <a:cubicBezTo>
                    <a:pt x="4021" y="2553"/>
                    <a:pt x="4033" y="2565"/>
                    <a:pt x="4044" y="2587"/>
                  </a:cubicBezTo>
                  <a:cubicBezTo>
                    <a:pt x="4055" y="2598"/>
                    <a:pt x="4069" y="2623"/>
                    <a:pt x="4080" y="2646"/>
                  </a:cubicBezTo>
                  <a:cubicBezTo>
                    <a:pt x="4139" y="2693"/>
                    <a:pt x="4220" y="2704"/>
                    <a:pt x="4290" y="2716"/>
                  </a:cubicBezTo>
                  <a:lnTo>
                    <a:pt x="4349" y="2716"/>
                  </a:lnTo>
                  <a:cubicBezTo>
                    <a:pt x="4360" y="2716"/>
                    <a:pt x="4371" y="2716"/>
                    <a:pt x="4382" y="2727"/>
                  </a:cubicBezTo>
                  <a:cubicBezTo>
                    <a:pt x="4393" y="2738"/>
                    <a:pt x="4404" y="2749"/>
                    <a:pt x="4404" y="2763"/>
                  </a:cubicBezTo>
                  <a:cubicBezTo>
                    <a:pt x="4418" y="2786"/>
                    <a:pt x="4430" y="2808"/>
                    <a:pt x="4430" y="2833"/>
                  </a:cubicBezTo>
                  <a:cubicBezTo>
                    <a:pt x="4441" y="2867"/>
                    <a:pt x="4452" y="2889"/>
                    <a:pt x="4488" y="2914"/>
                  </a:cubicBezTo>
                  <a:cubicBezTo>
                    <a:pt x="4500" y="2925"/>
                    <a:pt x="4522" y="2937"/>
                    <a:pt x="4533" y="2937"/>
                  </a:cubicBezTo>
                  <a:cubicBezTo>
                    <a:pt x="4544" y="2948"/>
                    <a:pt x="4558" y="2959"/>
                    <a:pt x="4558" y="2959"/>
                  </a:cubicBezTo>
                  <a:cubicBezTo>
                    <a:pt x="4569" y="2973"/>
                    <a:pt x="4569" y="2973"/>
                    <a:pt x="4569" y="2984"/>
                  </a:cubicBezTo>
                  <a:lnTo>
                    <a:pt x="4569" y="3006"/>
                  </a:lnTo>
                  <a:cubicBezTo>
                    <a:pt x="4569" y="3029"/>
                    <a:pt x="4569" y="3054"/>
                    <a:pt x="4581" y="3065"/>
                  </a:cubicBezTo>
                  <a:cubicBezTo>
                    <a:pt x="4592" y="3076"/>
                    <a:pt x="4603" y="3088"/>
                    <a:pt x="4614" y="3088"/>
                  </a:cubicBezTo>
                  <a:lnTo>
                    <a:pt x="4720" y="3088"/>
                  </a:lnTo>
                  <a:cubicBezTo>
                    <a:pt x="4743" y="3076"/>
                    <a:pt x="4779" y="3076"/>
                    <a:pt x="4802" y="3054"/>
                  </a:cubicBezTo>
                  <a:cubicBezTo>
                    <a:pt x="4824" y="3043"/>
                    <a:pt x="4849" y="3006"/>
                    <a:pt x="4849" y="2973"/>
                  </a:cubicBezTo>
                  <a:lnTo>
                    <a:pt x="4849" y="2959"/>
                  </a:lnTo>
                  <a:cubicBezTo>
                    <a:pt x="4849" y="2948"/>
                    <a:pt x="4849" y="2937"/>
                    <a:pt x="4838" y="2925"/>
                  </a:cubicBezTo>
                  <a:cubicBezTo>
                    <a:pt x="4824" y="2914"/>
                    <a:pt x="4813" y="2903"/>
                    <a:pt x="4802" y="2889"/>
                  </a:cubicBezTo>
                  <a:cubicBezTo>
                    <a:pt x="4768" y="2855"/>
                    <a:pt x="4720" y="2844"/>
                    <a:pt x="4698" y="2808"/>
                  </a:cubicBezTo>
                  <a:cubicBezTo>
                    <a:pt x="4673" y="2797"/>
                    <a:pt x="4662" y="2774"/>
                    <a:pt x="4651" y="2763"/>
                  </a:cubicBezTo>
                  <a:cubicBezTo>
                    <a:pt x="4639" y="2738"/>
                    <a:pt x="4639" y="2716"/>
                    <a:pt x="4628" y="2693"/>
                  </a:cubicBezTo>
                  <a:cubicBezTo>
                    <a:pt x="4614" y="2668"/>
                    <a:pt x="4603" y="2646"/>
                    <a:pt x="4592" y="2623"/>
                  </a:cubicBezTo>
                  <a:cubicBezTo>
                    <a:pt x="4581" y="2598"/>
                    <a:pt x="4558" y="2576"/>
                    <a:pt x="4522" y="2576"/>
                  </a:cubicBezTo>
                  <a:cubicBezTo>
                    <a:pt x="4511" y="2565"/>
                    <a:pt x="4488" y="2565"/>
                    <a:pt x="4474" y="2565"/>
                  </a:cubicBezTo>
                  <a:cubicBezTo>
                    <a:pt x="4463" y="2565"/>
                    <a:pt x="4463" y="2553"/>
                    <a:pt x="4463" y="2553"/>
                  </a:cubicBezTo>
                  <a:cubicBezTo>
                    <a:pt x="4452" y="2553"/>
                    <a:pt x="4452" y="2539"/>
                    <a:pt x="4452" y="2528"/>
                  </a:cubicBezTo>
                  <a:cubicBezTo>
                    <a:pt x="4441" y="2517"/>
                    <a:pt x="4441" y="2506"/>
                    <a:pt x="4430" y="2484"/>
                  </a:cubicBezTo>
                  <a:cubicBezTo>
                    <a:pt x="4418" y="2470"/>
                    <a:pt x="4404" y="2458"/>
                    <a:pt x="4393" y="2458"/>
                  </a:cubicBezTo>
                  <a:lnTo>
                    <a:pt x="4279" y="2458"/>
                  </a:lnTo>
                  <a:cubicBezTo>
                    <a:pt x="4253" y="2458"/>
                    <a:pt x="4220" y="2436"/>
                    <a:pt x="4209" y="2400"/>
                  </a:cubicBezTo>
                  <a:cubicBezTo>
                    <a:pt x="4184" y="2377"/>
                    <a:pt x="4172" y="2344"/>
                    <a:pt x="4161" y="2307"/>
                  </a:cubicBezTo>
                  <a:cubicBezTo>
                    <a:pt x="4161" y="2296"/>
                    <a:pt x="4150" y="2274"/>
                    <a:pt x="4139" y="2260"/>
                  </a:cubicBezTo>
                  <a:cubicBezTo>
                    <a:pt x="4125" y="2249"/>
                    <a:pt x="4102" y="2237"/>
                    <a:pt x="4091" y="2237"/>
                  </a:cubicBezTo>
                  <a:cubicBezTo>
                    <a:pt x="4080" y="2237"/>
                    <a:pt x="4069" y="2237"/>
                    <a:pt x="4055" y="2249"/>
                  </a:cubicBezTo>
                  <a:lnTo>
                    <a:pt x="4044" y="2260"/>
                  </a:lnTo>
                  <a:lnTo>
                    <a:pt x="4044" y="2285"/>
                  </a:lnTo>
                  <a:cubicBezTo>
                    <a:pt x="4044" y="2307"/>
                    <a:pt x="4055" y="2330"/>
                    <a:pt x="4069" y="2355"/>
                  </a:cubicBezTo>
                  <a:cubicBezTo>
                    <a:pt x="4069" y="2366"/>
                    <a:pt x="4080" y="2377"/>
                    <a:pt x="4080" y="2388"/>
                  </a:cubicBezTo>
                  <a:lnTo>
                    <a:pt x="4080" y="2400"/>
                  </a:lnTo>
                  <a:cubicBezTo>
                    <a:pt x="4069" y="2414"/>
                    <a:pt x="4069" y="2425"/>
                    <a:pt x="4055" y="2425"/>
                  </a:cubicBezTo>
                  <a:cubicBezTo>
                    <a:pt x="4044" y="2425"/>
                    <a:pt x="4033" y="2436"/>
                    <a:pt x="4021" y="2436"/>
                  </a:cubicBezTo>
                  <a:lnTo>
                    <a:pt x="3999" y="2436"/>
                  </a:lnTo>
                  <a:cubicBezTo>
                    <a:pt x="3893" y="2414"/>
                    <a:pt x="3812" y="2319"/>
                    <a:pt x="3800" y="2215"/>
                  </a:cubicBezTo>
                  <a:lnTo>
                    <a:pt x="3800" y="2204"/>
                  </a:lnTo>
                  <a:lnTo>
                    <a:pt x="3800" y="2190"/>
                  </a:lnTo>
                  <a:cubicBezTo>
                    <a:pt x="3812" y="2179"/>
                    <a:pt x="3812" y="2179"/>
                    <a:pt x="3823" y="2179"/>
                  </a:cubicBezTo>
                  <a:cubicBezTo>
                    <a:pt x="3834" y="2168"/>
                    <a:pt x="3834" y="2168"/>
                    <a:pt x="3845" y="2168"/>
                  </a:cubicBezTo>
                  <a:lnTo>
                    <a:pt x="3940" y="2168"/>
                  </a:lnTo>
                  <a:cubicBezTo>
                    <a:pt x="3951" y="2156"/>
                    <a:pt x="3963" y="2156"/>
                    <a:pt x="3974" y="2145"/>
                  </a:cubicBezTo>
                  <a:cubicBezTo>
                    <a:pt x="3985" y="2134"/>
                    <a:pt x="3999" y="2109"/>
                    <a:pt x="3999" y="2098"/>
                  </a:cubicBezTo>
                  <a:lnTo>
                    <a:pt x="3999" y="2086"/>
                  </a:lnTo>
                  <a:cubicBezTo>
                    <a:pt x="3999" y="2064"/>
                    <a:pt x="3985" y="2050"/>
                    <a:pt x="3974" y="2039"/>
                  </a:cubicBezTo>
                  <a:cubicBezTo>
                    <a:pt x="3963" y="2028"/>
                    <a:pt x="3951" y="2028"/>
                    <a:pt x="3940" y="2017"/>
                  </a:cubicBezTo>
                  <a:cubicBezTo>
                    <a:pt x="3904" y="2005"/>
                    <a:pt x="3870" y="2005"/>
                    <a:pt x="3834" y="1994"/>
                  </a:cubicBezTo>
                  <a:cubicBezTo>
                    <a:pt x="3800" y="1980"/>
                    <a:pt x="3775" y="1969"/>
                    <a:pt x="3753" y="1947"/>
                  </a:cubicBezTo>
                  <a:cubicBezTo>
                    <a:pt x="3742" y="1924"/>
                    <a:pt x="3742" y="1910"/>
                    <a:pt x="3731" y="1888"/>
                  </a:cubicBezTo>
                  <a:cubicBezTo>
                    <a:pt x="3719" y="1866"/>
                    <a:pt x="3719" y="1829"/>
                    <a:pt x="3694" y="1818"/>
                  </a:cubicBezTo>
                  <a:cubicBezTo>
                    <a:pt x="3672" y="1796"/>
                    <a:pt x="3661" y="1796"/>
                    <a:pt x="3635" y="1784"/>
                  </a:cubicBezTo>
                  <a:cubicBezTo>
                    <a:pt x="3624" y="1770"/>
                    <a:pt x="3613" y="1770"/>
                    <a:pt x="3602" y="1759"/>
                  </a:cubicBezTo>
                  <a:cubicBezTo>
                    <a:pt x="3591" y="1748"/>
                    <a:pt x="3591" y="1737"/>
                    <a:pt x="3591" y="1715"/>
                  </a:cubicBezTo>
                  <a:cubicBezTo>
                    <a:pt x="3591" y="1689"/>
                    <a:pt x="3602" y="1667"/>
                    <a:pt x="3613" y="1645"/>
                  </a:cubicBezTo>
                  <a:cubicBezTo>
                    <a:pt x="3635" y="1608"/>
                    <a:pt x="3672" y="1586"/>
                    <a:pt x="3694" y="1561"/>
                  </a:cubicBezTo>
                  <a:cubicBezTo>
                    <a:pt x="3719" y="1550"/>
                    <a:pt x="3742" y="1550"/>
                    <a:pt x="3764" y="1550"/>
                  </a:cubicBezTo>
                  <a:lnTo>
                    <a:pt x="3812" y="1550"/>
                  </a:lnTo>
                  <a:lnTo>
                    <a:pt x="3834" y="1561"/>
                  </a:lnTo>
                  <a:lnTo>
                    <a:pt x="3845" y="1538"/>
                  </a:lnTo>
                  <a:cubicBezTo>
                    <a:pt x="3845" y="1516"/>
                    <a:pt x="3859" y="1491"/>
                    <a:pt x="3870" y="1480"/>
                  </a:cubicBezTo>
                  <a:cubicBezTo>
                    <a:pt x="3882" y="1468"/>
                    <a:pt x="3893" y="1468"/>
                    <a:pt x="3915" y="1468"/>
                  </a:cubicBezTo>
                  <a:lnTo>
                    <a:pt x="3940" y="1468"/>
                  </a:lnTo>
                  <a:cubicBezTo>
                    <a:pt x="3951" y="1468"/>
                    <a:pt x="3963" y="1468"/>
                    <a:pt x="3963" y="1457"/>
                  </a:cubicBezTo>
                  <a:cubicBezTo>
                    <a:pt x="3974" y="1457"/>
                    <a:pt x="3985" y="1446"/>
                    <a:pt x="3985" y="1446"/>
                  </a:cubicBezTo>
                  <a:cubicBezTo>
                    <a:pt x="3985" y="1435"/>
                    <a:pt x="3985" y="1435"/>
                    <a:pt x="3999" y="1435"/>
                  </a:cubicBezTo>
                  <a:cubicBezTo>
                    <a:pt x="3999" y="1421"/>
                    <a:pt x="4010" y="1421"/>
                    <a:pt x="4021" y="1410"/>
                  </a:cubicBezTo>
                  <a:cubicBezTo>
                    <a:pt x="4044" y="1410"/>
                    <a:pt x="4055" y="1410"/>
                    <a:pt x="4080" y="1387"/>
                  </a:cubicBezTo>
                  <a:cubicBezTo>
                    <a:pt x="4102" y="1376"/>
                    <a:pt x="4114" y="1340"/>
                    <a:pt x="4125" y="1318"/>
                  </a:cubicBezTo>
                  <a:cubicBezTo>
                    <a:pt x="4125" y="1306"/>
                    <a:pt x="4139" y="1295"/>
                    <a:pt x="4139" y="1295"/>
                  </a:cubicBezTo>
                  <a:cubicBezTo>
                    <a:pt x="4150" y="1281"/>
                    <a:pt x="4150" y="1281"/>
                    <a:pt x="4161" y="1270"/>
                  </a:cubicBezTo>
                  <a:lnTo>
                    <a:pt x="4184" y="1270"/>
                  </a:lnTo>
                  <a:cubicBezTo>
                    <a:pt x="4209" y="1270"/>
                    <a:pt x="4220" y="1259"/>
                    <a:pt x="4242" y="1248"/>
                  </a:cubicBezTo>
                  <a:cubicBezTo>
                    <a:pt x="4253" y="1236"/>
                    <a:pt x="4265" y="1225"/>
                    <a:pt x="4279" y="1200"/>
                  </a:cubicBezTo>
                  <a:cubicBezTo>
                    <a:pt x="4279" y="1178"/>
                    <a:pt x="4279" y="1141"/>
                    <a:pt x="4290" y="1119"/>
                  </a:cubicBezTo>
                  <a:cubicBezTo>
                    <a:pt x="4290" y="1108"/>
                    <a:pt x="4290" y="1108"/>
                    <a:pt x="4301" y="1097"/>
                  </a:cubicBezTo>
                  <a:cubicBezTo>
                    <a:pt x="4301" y="1097"/>
                    <a:pt x="4301" y="1085"/>
                    <a:pt x="4312" y="1085"/>
                  </a:cubicBezTo>
                  <a:lnTo>
                    <a:pt x="4323" y="1085"/>
                  </a:lnTo>
                  <a:lnTo>
                    <a:pt x="4323" y="1071"/>
                  </a:lnTo>
                  <a:lnTo>
                    <a:pt x="4323" y="1038"/>
                  </a:lnTo>
                  <a:cubicBezTo>
                    <a:pt x="4323" y="979"/>
                    <a:pt x="4290" y="920"/>
                    <a:pt x="4242" y="898"/>
                  </a:cubicBezTo>
                  <a:cubicBezTo>
                    <a:pt x="4220" y="887"/>
                    <a:pt x="4209" y="887"/>
                    <a:pt x="4195" y="876"/>
                  </a:cubicBezTo>
                  <a:lnTo>
                    <a:pt x="4184" y="876"/>
                  </a:lnTo>
                  <a:lnTo>
                    <a:pt x="4172" y="862"/>
                  </a:lnTo>
                  <a:lnTo>
                    <a:pt x="4172" y="839"/>
                  </a:lnTo>
                  <a:lnTo>
                    <a:pt x="4172" y="817"/>
                  </a:lnTo>
                  <a:cubicBezTo>
                    <a:pt x="4161" y="792"/>
                    <a:pt x="4150" y="781"/>
                    <a:pt x="4139" y="781"/>
                  </a:cubicBezTo>
                  <a:cubicBezTo>
                    <a:pt x="4139" y="758"/>
                    <a:pt x="4125" y="747"/>
                    <a:pt x="4114" y="722"/>
                  </a:cubicBezTo>
                  <a:cubicBezTo>
                    <a:pt x="4102" y="711"/>
                    <a:pt x="4080" y="711"/>
                    <a:pt x="4069" y="711"/>
                  </a:cubicBezTo>
                  <a:cubicBezTo>
                    <a:pt x="4055" y="711"/>
                    <a:pt x="4033" y="711"/>
                    <a:pt x="4033" y="722"/>
                  </a:cubicBezTo>
                  <a:cubicBezTo>
                    <a:pt x="4010" y="722"/>
                    <a:pt x="4010" y="747"/>
                    <a:pt x="3999" y="747"/>
                  </a:cubicBezTo>
                  <a:cubicBezTo>
                    <a:pt x="3985" y="758"/>
                    <a:pt x="3985" y="769"/>
                    <a:pt x="3985" y="769"/>
                  </a:cubicBezTo>
                  <a:lnTo>
                    <a:pt x="3974" y="769"/>
                  </a:lnTo>
                  <a:cubicBezTo>
                    <a:pt x="3963" y="769"/>
                    <a:pt x="3963" y="769"/>
                    <a:pt x="3951" y="758"/>
                  </a:cubicBezTo>
                  <a:cubicBezTo>
                    <a:pt x="3940" y="747"/>
                    <a:pt x="3929" y="736"/>
                    <a:pt x="3929" y="722"/>
                  </a:cubicBezTo>
                  <a:cubicBezTo>
                    <a:pt x="3915" y="711"/>
                    <a:pt x="3904" y="700"/>
                    <a:pt x="3893" y="677"/>
                  </a:cubicBezTo>
                  <a:cubicBezTo>
                    <a:pt x="3882" y="666"/>
                    <a:pt x="3859" y="641"/>
                    <a:pt x="3834" y="641"/>
                  </a:cubicBezTo>
                  <a:lnTo>
                    <a:pt x="3764" y="641"/>
                  </a:lnTo>
                  <a:cubicBezTo>
                    <a:pt x="3753" y="641"/>
                    <a:pt x="3753" y="630"/>
                    <a:pt x="3742" y="618"/>
                  </a:cubicBezTo>
                  <a:cubicBezTo>
                    <a:pt x="3742" y="607"/>
                    <a:pt x="3731" y="596"/>
                    <a:pt x="3731" y="596"/>
                  </a:cubicBezTo>
                  <a:cubicBezTo>
                    <a:pt x="3719" y="582"/>
                    <a:pt x="3719" y="571"/>
                    <a:pt x="3694" y="571"/>
                  </a:cubicBezTo>
                  <a:lnTo>
                    <a:pt x="3649" y="571"/>
                  </a:lnTo>
                  <a:lnTo>
                    <a:pt x="3649" y="560"/>
                  </a:lnTo>
                  <a:lnTo>
                    <a:pt x="3649" y="537"/>
                  </a:lnTo>
                  <a:cubicBezTo>
                    <a:pt x="3635" y="526"/>
                    <a:pt x="3635" y="512"/>
                    <a:pt x="3635" y="501"/>
                  </a:cubicBezTo>
                  <a:cubicBezTo>
                    <a:pt x="3624" y="479"/>
                    <a:pt x="3613" y="467"/>
                    <a:pt x="3602" y="456"/>
                  </a:cubicBezTo>
                  <a:cubicBezTo>
                    <a:pt x="3591" y="442"/>
                    <a:pt x="3580" y="442"/>
                    <a:pt x="3580" y="431"/>
                  </a:cubicBezTo>
                  <a:lnTo>
                    <a:pt x="3580" y="409"/>
                  </a:lnTo>
                  <a:cubicBezTo>
                    <a:pt x="3591" y="398"/>
                    <a:pt x="3602" y="386"/>
                    <a:pt x="3613" y="372"/>
                  </a:cubicBezTo>
                  <a:cubicBezTo>
                    <a:pt x="3624" y="350"/>
                    <a:pt x="3635" y="339"/>
                    <a:pt x="3635" y="316"/>
                  </a:cubicBezTo>
                  <a:cubicBezTo>
                    <a:pt x="3635" y="302"/>
                    <a:pt x="3635" y="302"/>
                    <a:pt x="3624" y="291"/>
                  </a:cubicBezTo>
                  <a:cubicBezTo>
                    <a:pt x="3624" y="269"/>
                    <a:pt x="3602" y="258"/>
                    <a:pt x="3591" y="247"/>
                  </a:cubicBezTo>
                  <a:cubicBezTo>
                    <a:pt x="3566" y="233"/>
                    <a:pt x="3543" y="233"/>
                    <a:pt x="3521" y="233"/>
                  </a:cubicBezTo>
                  <a:cubicBezTo>
                    <a:pt x="3510" y="233"/>
                    <a:pt x="3496" y="221"/>
                    <a:pt x="3473" y="221"/>
                  </a:cubicBezTo>
                  <a:cubicBezTo>
                    <a:pt x="3462" y="221"/>
                    <a:pt x="3462" y="210"/>
                    <a:pt x="3451" y="199"/>
                  </a:cubicBezTo>
                  <a:cubicBezTo>
                    <a:pt x="3451" y="188"/>
                    <a:pt x="3462" y="177"/>
                    <a:pt x="3462" y="163"/>
                  </a:cubicBezTo>
                  <a:cubicBezTo>
                    <a:pt x="3473" y="140"/>
                    <a:pt x="3484" y="129"/>
                    <a:pt x="3484" y="107"/>
                  </a:cubicBezTo>
                  <a:cubicBezTo>
                    <a:pt x="3496" y="93"/>
                    <a:pt x="3496" y="93"/>
                    <a:pt x="3496" y="82"/>
                  </a:cubicBezTo>
                  <a:lnTo>
                    <a:pt x="3510" y="59"/>
                  </a:lnTo>
                  <a:lnTo>
                    <a:pt x="3484" y="48"/>
                  </a:lnTo>
                  <a:lnTo>
                    <a:pt x="3473" y="48"/>
                  </a:lnTo>
                  <a:cubicBezTo>
                    <a:pt x="3462" y="48"/>
                    <a:pt x="3451" y="48"/>
                    <a:pt x="3440" y="37"/>
                  </a:cubicBezTo>
                  <a:cubicBezTo>
                    <a:pt x="3440" y="37"/>
                    <a:pt x="3426" y="37"/>
                    <a:pt x="3403" y="23"/>
                  </a:cubicBezTo>
                  <a:cubicBezTo>
                    <a:pt x="3392" y="23"/>
                    <a:pt x="3381" y="12"/>
                    <a:pt x="3356" y="12"/>
                  </a:cubicBezTo>
                  <a:cubicBezTo>
                    <a:pt x="3345" y="12"/>
                    <a:pt x="3322" y="0"/>
                    <a:pt x="3311" y="0"/>
                  </a:cubicBezTo>
                  <a:lnTo>
                    <a:pt x="3300" y="0"/>
                  </a:lnTo>
                  <a:cubicBezTo>
                    <a:pt x="3286" y="0"/>
                    <a:pt x="3264" y="12"/>
                    <a:pt x="3241" y="12"/>
                  </a:cubicBezTo>
                  <a:lnTo>
                    <a:pt x="3194" y="12"/>
                  </a:lnTo>
                  <a:lnTo>
                    <a:pt x="3194" y="23"/>
                  </a:lnTo>
                  <a:cubicBezTo>
                    <a:pt x="3194" y="12"/>
                    <a:pt x="3171" y="0"/>
                    <a:pt x="313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3" name="Google Shape;371;p17">
              <a:extLst>
                <a:ext uri="{FF2B5EF4-FFF2-40B4-BE49-F238E27FC236}">
                  <a16:creationId xmlns:a16="http://schemas.microsoft.com/office/drawing/2014/main" xmlns="" id="{3E5F42CA-D739-EDF4-9634-8180CB53C783}"/>
                </a:ext>
              </a:extLst>
            </p:cNvPr>
            <p:cNvSpPr/>
            <p:nvPr/>
          </p:nvSpPr>
          <p:spPr>
            <a:xfrm>
              <a:off x="1169499" y="1443535"/>
              <a:ext cx="535337" cy="746537"/>
            </a:xfrm>
            <a:custGeom>
              <a:avLst/>
              <a:gdLst/>
              <a:ahLst/>
              <a:cxnLst/>
              <a:rect l="l" t="t" r="r" b="b"/>
              <a:pathLst>
                <a:path w="2322" h="3238" extrusionOk="0">
                  <a:moveTo>
                    <a:pt x="1259" y="0"/>
                  </a:moveTo>
                  <a:cubicBezTo>
                    <a:pt x="1247" y="12"/>
                    <a:pt x="1236" y="12"/>
                    <a:pt x="1225" y="26"/>
                  </a:cubicBezTo>
                  <a:cubicBezTo>
                    <a:pt x="1214" y="26"/>
                    <a:pt x="1189" y="26"/>
                    <a:pt x="1177" y="12"/>
                  </a:cubicBezTo>
                  <a:cubicBezTo>
                    <a:pt x="1155" y="48"/>
                    <a:pt x="1119" y="70"/>
                    <a:pt x="1108" y="107"/>
                  </a:cubicBezTo>
                  <a:cubicBezTo>
                    <a:pt x="1096" y="129"/>
                    <a:pt x="1096" y="165"/>
                    <a:pt x="1108" y="199"/>
                  </a:cubicBezTo>
                  <a:cubicBezTo>
                    <a:pt x="1108" y="235"/>
                    <a:pt x="1096" y="269"/>
                    <a:pt x="1063" y="291"/>
                  </a:cubicBezTo>
                  <a:cubicBezTo>
                    <a:pt x="1038" y="305"/>
                    <a:pt x="1004" y="291"/>
                    <a:pt x="979" y="328"/>
                  </a:cubicBezTo>
                  <a:cubicBezTo>
                    <a:pt x="979" y="328"/>
                    <a:pt x="968" y="339"/>
                    <a:pt x="968" y="350"/>
                  </a:cubicBezTo>
                  <a:cubicBezTo>
                    <a:pt x="968" y="397"/>
                    <a:pt x="979" y="431"/>
                    <a:pt x="993" y="467"/>
                  </a:cubicBezTo>
                  <a:cubicBezTo>
                    <a:pt x="993" y="501"/>
                    <a:pt x="968" y="548"/>
                    <a:pt x="934" y="560"/>
                  </a:cubicBezTo>
                  <a:cubicBezTo>
                    <a:pt x="928" y="562"/>
                    <a:pt x="922" y="563"/>
                    <a:pt x="915" y="563"/>
                  </a:cubicBezTo>
                  <a:cubicBezTo>
                    <a:pt x="902" y="563"/>
                    <a:pt x="888" y="560"/>
                    <a:pt x="877" y="560"/>
                  </a:cubicBezTo>
                  <a:cubicBezTo>
                    <a:pt x="866" y="560"/>
                    <a:pt x="857" y="563"/>
                    <a:pt x="853" y="571"/>
                  </a:cubicBezTo>
                  <a:cubicBezTo>
                    <a:pt x="853" y="585"/>
                    <a:pt x="853" y="585"/>
                    <a:pt x="839" y="596"/>
                  </a:cubicBezTo>
                  <a:cubicBezTo>
                    <a:pt x="839" y="610"/>
                    <a:pt x="822" y="619"/>
                    <a:pt x="806" y="619"/>
                  </a:cubicBezTo>
                  <a:cubicBezTo>
                    <a:pt x="797" y="619"/>
                    <a:pt x="787" y="616"/>
                    <a:pt x="783" y="607"/>
                  </a:cubicBezTo>
                  <a:cubicBezTo>
                    <a:pt x="769" y="596"/>
                    <a:pt x="758" y="571"/>
                    <a:pt x="736" y="560"/>
                  </a:cubicBezTo>
                  <a:cubicBezTo>
                    <a:pt x="713" y="560"/>
                    <a:pt x="688" y="585"/>
                    <a:pt x="666" y="596"/>
                  </a:cubicBezTo>
                  <a:cubicBezTo>
                    <a:pt x="656" y="599"/>
                    <a:pt x="646" y="600"/>
                    <a:pt x="636" y="600"/>
                  </a:cubicBezTo>
                  <a:cubicBezTo>
                    <a:pt x="610" y="600"/>
                    <a:pt x="588" y="589"/>
                    <a:pt x="596" y="571"/>
                  </a:cubicBezTo>
                  <a:cubicBezTo>
                    <a:pt x="589" y="567"/>
                    <a:pt x="583" y="565"/>
                    <a:pt x="576" y="565"/>
                  </a:cubicBezTo>
                  <a:cubicBezTo>
                    <a:pt x="545" y="565"/>
                    <a:pt x="513" y="604"/>
                    <a:pt x="504" y="641"/>
                  </a:cubicBezTo>
                  <a:cubicBezTo>
                    <a:pt x="478" y="699"/>
                    <a:pt x="490" y="758"/>
                    <a:pt x="408" y="758"/>
                  </a:cubicBezTo>
                  <a:lnTo>
                    <a:pt x="339" y="758"/>
                  </a:lnTo>
                  <a:cubicBezTo>
                    <a:pt x="316" y="758"/>
                    <a:pt x="339" y="828"/>
                    <a:pt x="339" y="828"/>
                  </a:cubicBezTo>
                  <a:cubicBezTo>
                    <a:pt x="350" y="876"/>
                    <a:pt x="339" y="909"/>
                    <a:pt x="350" y="945"/>
                  </a:cubicBezTo>
                  <a:cubicBezTo>
                    <a:pt x="364" y="1004"/>
                    <a:pt x="408" y="1027"/>
                    <a:pt x="445" y="1074"/>
                  </a:cubicBezTo>
                  <a:cubicBezTo>
                    <a:pt x="478" y="1108"/>
                    <a:pt x="490" y="1178"/>
                    <a:pt x="467" y="1214"/>
                  </a:cubicBezTo>
                  <a:cubicBezTo>
                    <a:pt x="455" y="1230"/>
                    <a:pt x="436" y="1238"/>
                    <a:pt x="417" y="1238"/>
                  </a:cubicBezTo>
                  <a:cubicBezTo>
                    <a:pt x="382" y="1238"/>
                    <a:pt x="346" y="1215"/>
                    <a:pt x="339" y="1178"/>
                  </a:cubicBezTo>
                  <a:cubicBezTo>
                    <a:pt x="316" y="1178"/>
                    <a:pt x="305" y="1189"/>
                    <a:pt x="280" y="1200"/>
                  </a:cubicBezTo>
                  <a:cubicBezTo>
                    <a:pt x="294" y="1247"/>
                    <a:pt x="294" y="1306"/>
                    <a:pt x="294" y="1354"/>
                  </a:cubicBezTo>
                  <a:cubicBezTo>
                    <a:pt x="294" y="1365"/>
                    <a:pt x="305" y="1376"/>
                    <a:pt x="294" y="1387"/>
                  </a:cubicBezTo>
                  <a:cubicBezTo>
                    <a:pt x="294" y="1398"/>
                    <a:pt x="280" y="1410"/>
                    <a:pt x="257" y="1410"/>
                  </a:cubicBezTo>
                  <a:cubicBezTo>
                    <a:pt x="224" y="1435"/>
                    <a:pt x="176" y="1446"/>
                    <a:pt x="129" y="1457"/>
                  </a:cubicBezTo>
                  <a:cubicBezTo>
                    <a:pt x="84" y="1480"/>
                    <a:pt x="37" y="1505"/>
                    <a:pt x="25" y="1549"/>
                  </a:cubicBezTo>
                  <a:cubicBezTo>
                    <a:pt x="0" y="1633"/>
                    <a:pt x="84" y="1703"/>
                    <a:pt x="84" y="1773"/>
                  </a:cubicBezTo>
                  <a:cubicBezTo>
                    <a:pt x="84" y="1818"/>
                    <a:pt x="48" y="1854"/>
                    <a:pt x="37" y="1888"/>
                  </a:cubicBezTo>
                  <a:cubicBezTo>
                    <a:pt x="14" y="1958"/>
                    <a:pt x="48" y="2053"/>
                    <a:pt x="95" y="2123"/>
                  </a:cubicBezTo>
                  <a:cubicBezTo>
                    <a:pt x="118" y="2156"/>
                    <a:pt x="154" y="2204"/>
                    <a:pt x="176" y="2249"/>
                  </a:cubicBezTo>
                  <a:cubicBezTo>
                    <a:pt x="188" y="2285"/>
                    <a:pt x="188" y="2332"/>
                    <a:pt x="210" y="2366"/>
                  </a:cubicBezTo>
                  <a:cubicBezTo>
                    <a:pt x="235" y="2388"/>
                    <a:pt x="280" y="2377"/>
                    <a:pt x="316" y="2402"/>
                  </a:cubicBezTo>
                  <a:cubicBezTo>
                    <a:pt x="327" y="2413"/>
                    <a:pt x="339" y="2436"/>
                    <a:pt x="350" y="2447"/>
                  </a:cubicBezTo>
                  <a:lnTo>
                    <a:pt x="386" y="2447"/>
                  </a:lnTo>
                  <a:cubicBezTo>
                    <a:pt x="434" y="2458"/>
                    <a:pt x="490" y="2458"/>
                    <a:pt x="548" y="2458"/>
                  </a:cubicBezTo>
                  <a:cubicBezTo>
                    <a:pt x="537" y="2483"/>
                    <a:pt x="537" y="2517"/>
                    <a:pt x="537" y="2542"/>
                  </a:cubicBezTo>
                  <a:cubicBezTo>
                    <a:pt x="537" y="2564"/>
                    <a:pt x="559" y="2598"/>
                    <a:pt x="585" y="2612"/>
                  </a:cubicBezTo>
                  <a:cubicBezTo>
                    <a:pt x="585" y="2612"/>
                    <a:pt x="596" y="2612"/>
                    <a:pt x="596" y="2623"/>
                  </a:cubicBezTo>
                  <a:cubicBezTo>
                    <a:pt x="596" y="2623"/>
                    <a:pt x="596" y="2634"/>
                    <a:pt x="607" y="2634"/>
                  </a:cubicBezTo>
                  <a:cubicBezTo>
                    <a:pt x="607" y="2657"/>
                    <a:pt x="629" y="2668"/>
                    <a:pt x="643" y="2682"/>
                  </a:cubicBezTo>
                  <a:cubicBezTo>
                    <a:pt x="699" y="2715"/>
                    <a:pt x="758" y="2763"/>
                    <a:pt x="794" y="2822"/>
                  </a:cubicBezTo>
                  <a:cubicBezTo>
                    <a:pt x="817" y="2855"/>
                    <a:pt x="839" y="2892"/>
                    <a:pt x="864" y="2925"/>
                  </a:cubicBezTo>
                  <a:cubicBezTo>
                    <a:pt x="887" y="2948"/>
                    <a:pt x="909" y="2973"/>
                    <a:pt x="923" y="2995"/>
                  </a:cubicBezTo>
                  <a:cubicBezTo>
                    <a:pt x="934" y="3006"/>
                    <a:pt x="945" y="3017"/>
                    <a:pt x="945" y="3031"/>
                  </a:cubicBezTo>
                  <a:cubicBezTo>
                    <a:pt x="957" y="3076"/>
                    <a:pt x="898" y="3124"/>
                    <a:pt x="898" y="3171"/>
                  </a:cubicBezTo>
                  <a:cubicBezTo>
                    <a:pt x="898" y="3194"/>
                    <a:pt x="923" y="3216"/>
                    <a:pt x="945" y="3227"/>
                  </a:cubicBezTo>
                  <a:cubicBezTo>
                    <a:pt x="957" y="3234"/>
                    <a:pt x="971" y="3238"/>
                    <a:pt x="986" y="3238"/>
                  </a:cubicBezTo>
                  <a:cubicBezTo>
                    <a:pt x="1001" y="3238"/>
                    <a:pt x="1015" y="3234"/>
                    <a:pt x="1026" y="3227"/>
                  </a:cubicBezTo>
                  <a:cubicBezTo>
                    <a:pt x="1038" y="3227"/>
                    <a:pt x="1049" y="3216"/>
                    <a:pt x="1063" y="3216"/>
                  </a:cubicBezTo>
                  <a:cubicBezTo>
                    <a:pt x="1085" y="3216"/>
                    <a:pt x="1096" y="3216"/>
                    <a:pt x="1119" y="3227"/>
                  </a:cubicBezTo>
                  <a:cubicBezTo>
                    <a:pt x="1133" y="3227"/>
                    <a:pt x="1155" y="3227"/>
                    <a:pt x="1166" y="3216"/>
                  </a:cubicBezTo>
                  <a:cubicBezTo>
                    <a:pt x="1177" y="3205"/>
                    <a:pt x="1166" y="3182"/>
                    <a:pt x="1155" y="3171"/>
                  </a:cubicBezTo>
                  <a:cubicBezTo>
                    <a:pt x="1144" y="3157"/>
                    <a:pt x="1119" y="3146"/>
                    <a:pt x="1108" y="3146"/>
                  </a:cubicBezTo>
                  <a:cubicBezTo>
                    <a:pt x="1085" y="3135"/>
                    <a:pt x="1074" y="3124"/>
                    <a:pt x="1063" y="3113"/>
                  </a:cubicBezTo>
                  <a:cubicBezTo>
                    <a:pt x="1038" y="3087"/>
                    <a:pt x="1049" y="3054"/>
                    <a:pt x="1074" y="3043"/>
                  </a:cubicBezTo>
                  <a:cubicBezTo>
                    <a:pt x="1074" y="3043"/>
                    <a:pt x="1085" y="3043"/>
                    <a:pt x="1096" y="3031"/>
                  </a:cubicBezTo>
                  <a:cubicBezTo>
                    <a:pt x="1108" y="3017"/>
                    <a:pt x="1108" y="2984"/>
                    <a:pt x="1108" y="2962"/>
                  </a:cubicBezTo>
                  <a:cubicBezTo>
                    <a:pt x="1096" y="2936"/>
                    <a:pt x="1074" y="2903"/>
                    <a:pt x="1096" y="2866"/>
                  </a:cubicBezTo>
                  <a:cubicBezTo>
                    <a:pt x="1108" y="2855"/>
                    <a:pt x="1133" y="2844"/>
                    <a:pt x="1155" y="2844"/>
                  </a:cubicBezTo>
                  <a:lnTo>
                    <a:pt x="1166" y="2844"/>
                  </a:lnTo>
                  <a:lnTo>
                    <a:pt x="1166" y="2855"/>
                  </a:lnTo>
                  <a:cubicBezTo>
                    <a:pt x="1177" y="2878"/>
                    <a:pt x="1155" y="2914"/>
                    <a:pt x="1177" y="2936"/>
                  </a:cubicBezTo>
                  <a:cubicBezTo>
                    <a:pt x="1189" y="2936"/>
                    <a:pt x="1203" y="2936"/>
                    <a:pt x="1203" y="2948"/>
                  </a:cubicBezTo>
                  <a:cubicBezTo>
                    <a:pt x="1214" y="2962"/>
                    <a:pt x="1203" y="2973"/>
                    <a:pt x="1203" y="2984"/>
                  </a:cubicBezTo>
                  <a:cubicBezTo>
                    <a:pt x="1203" y="3006"/>
                    <a:pt x="1225" y="3031"/>
                    <a:pt x="1247" y="3031"/>
                  </a:cubicBezTo>
                  <a:cubicBezTo>
                    <a:pt x="1252" y="3033"/>
                    <a:pt x="1256" y="3034"/>
                    <a:pt x="1261" y="3034"/>
                  </a:cubicBezTo>
                  <a:cubicBezTo>
                    <a:pt x="1283" y="3034"/>
                    <a:pt x="1306" y="3014"/>
                    <a:pt x="1306" y="2995"/>
                  </a:cubicBezTo>
                  <a:cubicBezTo>
                    <a:pt x="1328" y="2995"/>
                    <a:pt x="1354" y="2995"/>
                    <a:pt x="1365" y="3006"/>
                  </a:cubicBezTo>
                  <a:cubicBezTo>
                    <a:pt x="1387" y="3031"/>
                    <a:pt x="1376" y="3076"/>
                    <a:pt x="1398" y="3101"/>
                  </a:cubicBezTo>
                  <a:cubicBezTo>
                    <a:pt x="1407" y="3105"/>
                    <a:pt x="1415" y="3106"/>
                    <a:pt x="1423" y="3106"/>
                  </a:cubicBezTo>
                  <a:cubicBezTo>
                    <a:pt x="1438" y="3106"/>
                    <a:pt x="1453" y="3101"/>
                    <a:pt x="1468" y="3101"/>
                  </a:cubicBezTo>
                  <a:cubicBezTo>
                    <a:pt x="1516" y="3101"/>
                    <a:pt x="1538" y="3146"/>
                    <a:pt x="1586" y="3146"/>
                  </a:cubicBezTo>
                  <a:lnTo>
                    <a:pt x="1597" y="3146"/>
                  </a:lnTo>
                  <a:cubicBezTo>
                    <a:pt x="1608" y="3146"/>
                    <a:pt x="1608" y="3124"/>
                    <a:pt x="1608" y="3113"/>
                  </a:cubicBezTo>
                  <a:lnTo>
                    <a:pt x="1608" y="3054"/>
                  </a:lnTo>
                  <a:cubicBezTo>
                    <a:pt x="1608" y="3031"/>
                    <a:pt x="1633" y="3017"/>
                    <a:pt x="1656" y="3017"/>
                  </a:cubicBezTo>
                  <a:cubicBezTo>
                    <a:pt x="1656" y="2984"/>
                    <a:pt x="1633" y="2925"/>
                    <a:pt x="1678" y="2903"/>
                  </a:cubicBezTo>
                  <a:cubicBezTo>
                    <a:pt x="1703" y="2892"/>
                    <a:pt x="1726" y="2892"/>
                    <a:pt x="1748" y="2878"/>
                  </a:cubicBezTo>
                  <a:cubicBezTo>
                    <a:pt x="1762" y="2866"/>
                    <a:pt x="1762" y="2855"/>
                    <a:pt x="1773" y="2844"/>
                  </a:cubicBezTo>
                  <a:cubicBezTo>
                    <a:pt x="1783" y="2828"/>
                    <a:pt x="1800" y="2822"/>
                    <a:pt x="1819" y="2822"/>
                  </a:cubicBezTo>
                  <a:cubicBezTo>
                    <a:pt x="1842" y="2822"/>
                    <a:pt x="1869" y="2832"/>
                    <a:pt x="1888" y="2844"/>
                  </a:cubicBezTo>
                  <a:cubicBezTo>
                    <a:pt x="1921" y="2860"/>
                    <a:pt x="1955" y="2877"/>
                    <a:pt x="1983" y="2877"/>
                  </a:cubicBezTo>
                  <a:cubicBezTo>
                    <a:pt x="1995" y="2877"/>
                    <a:pt x="2006" y="2874"/>
                    <a:pt x="2016" y="2866"/>
                  </a:cubicBezTo>
                  <a:cubicBezTo>
                    <a:pt x="2053" y="2855"/>
                    <a:pt x="2064" y="2808"/>
                    <a:pt x="2097" y="2808"/>
                  </a:cubicBezTo>
                  <a:cubicBezTo>
                    <a:pt x="2123" y="2797"/>
                    <a:pt x="2145" y="2785"/>
                    <a:pt x="2156" y="2763"/>
                  </a:cubicBezTo>
                  <a:lnTo>
                    <a:pt x="2156" y="2752"/>
                  </a:lnTo>
                  <a:cubicBezTo>
                    <a:pt x="2156" y="2727"/>
                    <a:pt x="2134" y="2715"/>
                    <a:pt x="2123" y="2704"/>
                  </a:cubicBezTo>
                  <a:cubicBezTo>
                    <a:pt x="2111" y="2668"/>
                    <a:pt x="2123" y="2646"/>
                    <a:pt x="2145" y="2623"/>
                  </a:cubicBezTo>
                  <a:cubicBezTo>
                    <a:pt x="2145" y="2612"/>
                    <a:pt x="2156" y="2612"/>
                    <a:pt x="2156" y="2612"/>
                  </a:cubicBezTo>
                  <a:cubicBezTo>
                    <a:pt x="2192" y="2587"/>
                    <a:pt x="2237" y="2576"/>
                    <a:pt x="2262" y="2553"/>
                  </a:cubicBezTo>
                  <a:cubicBezTo>
                    <a:pt x="2321" y="2483"/>
                    <a:pt x="2262" y="2332"/>
                    <a:pt x="2181" y="2307"/>
                  </a:cubicBezTo>
                  <a:cubicBezTo>
                    <a:pt x="2156" y="2296"/>
                    <a:pt x="2123" y="2296"/>
                    <a:pt x="2086" y="2296"/>
                  </a:cubicBezTo>
                  <a:cubicBezTo>
                    <a:pt x="2064" y="2296"/>
                    <a:pt x="2028" y="2285"/>
                    <a:pt x="2016" y="2263"/>
                  </a:cubicBezTo>
                  <a:cubicBezTo>
                    <a:pt x="2005" y="2226"/>
                    <a:pt x="2016" y="2193"/>
                    <a:pt x="2005" y="2167"/>
                  </a:cubicBezTo>
                  <a:cubicBezTo>
                    <a:pt x="1994" y="2145"/>
                    <a:pt x="1972" y="2134"/>
                    <a:pt x="1946" y="2123"/>
                  </a:cubicBezTo>
                  <a:cubicBezTo>
                    <a:pt x="1924" y="2109"/>
                    <a:pt x="1902" y="2086"/>
                    <a:pt x="1902" y="2064"/>
                  </a:cubicBezTo>
                  <a:cubicBezTo>
                    <a:pt x="1902" y="2053"/>
                    <a:pt x="1913" y="2039"/>
                    <a:pt x="1913" y="2028"/>
                  </a:cubicBezTo>
                  <a:cubicBezTo>
                    <a:pt x="1924" y="2016"/>
                    <a:pt x="1924" y="1994"/>
                    <a:pt x="1913" y="1994"/>
                  </a:cubicBezTo>
                  <a:cubicBezTo>
                    <a:pt x="1888" y="1994"/>
                    <a:pt x="1865" y="1983"/>
                    <a:pt x="1865" y="1958"/>
                  </a:cubicBezTo>
                  <a:cubicBezTo>
                    <a:pt x="1865" y="1935"/>
                    <a:pt x="1877" y="1913"/>
                    <a:pt x="1888" y="1899"/>
                  </a:cubicBezTo>
                  <a:cubicBezTo>
                    <a:pt x="1902" y="1877"/>
                    <a:pt x="1913" y="1854"/>
                    <a:pt x="1913" y="1829"/>
                  </a:cubicBezTo>
                  <a:cubicBezTo>
                    <a:pt x="1902" y="1807"/>
                    <a:pt x="1865" y="1784"/>
                    <a:pt x="1865" y="1759"/>
                  </a:cubicBezTo>
                  <a:cubicBezTo>
                    <a:pt x="1865" y="1748"/>
                    <a:pt x="1877" y="1737"/>
                    <a:pt x="1877" y="1726"/>
                  </a:cubicBezTo>
                  <a:cubicBezTo>
                    <a:pt x="1877" y="1714"/>
                    <a:pt x="1865" y="1703"/>
                    <a:pt x="1854" y="1703"/>
                  </a:cubicBezTo>
                  <a:cubicBezTo>
                    <a:pt x="1832" y="1689"/>
                    <a:pt x="1807" y="1667"/>
                    <a:pt x="1795" y="1645"/>
                  </a:cubicBezTo>
                  <a:cubicBezTo>
                    <a:pt x="1784" y="1619"/>
                    <a:pt x="1773" y="1608"/>
                    <a:pt x="1773" y="1597"/>
                  </a:cubicBezTo>
                  <a:lnTo>
                    <a:pt x="1773" y="1575"/>
                  </a:lnTo>
                  <a:cubicBezTo>
                    <a:pt x="1784" y="1549"/>
                    <a:pt x="1795" y="1538"/>
                    <a:pt x="1795" y="1516"/>
                  </a:cubicBezTo>
                  <a:cubicBezTo>
                    <a:pt x="1795" y="1494"/>
                    <a:pt x="1807" y="1480"/>
                    <a:pt x="1818" y="1468"/>
                  </a:cubicBezTo>
                  <a:cubicBezTo>
                    <a:pt x="1825" y="1462"/>
                    <a:pt x="1833" y="1459"/>
                    <a:pt x="1841" y="1459"/>
                  </a:cubicBezTo>
                  <a:cubicBezTo>
                    <a:pt x="1862" y="1459"/>
                    <a:pt x="1884" y="1476"/>
                    <a:pt x="1902" y="1494"/>
                  </a:cubicBezTo>
                  <a:cubicBezTo>
                    <a:pt x="1931" y="1503"/>
                    <a:pt x="1951" y="1529"/>
                    <a:pt x="1979" y="1529"/>
                  </a:cubicBezTo>
                  <a:cubicBezTo>
                    <a:pt x="1984" y="1529"/>
                    <a:pt x="1989" y="1529"/>
                    <a:pt x="1994" y="1527"/>
                  </a:cubicBezTo>
                  <a:cubicBezTo>
                    <a:pt x="2005" y="1494"/>
                    <a:pt x="1994" y="1457"/>
                    <a:pt x="1972" y="1435"/>
                  </a:cubicBezTo>
                  <a:cubicBezTo>
                    <a:pt x="1958" y="1398"/>
                    <a:pt x="1946" y="1365"/>
                    <a:pt x="1935" y="1340"/>
                  </a:cubicBezTo>
                  <a:cubicBezTo>
                    <a:pt x="1935" y="1306"/>
                    <a:pt x="1958" y="1270"/>
                    <a:pt x="1983" y="1259"/>
                  </a:cubicBezTo>
                  <a:cubicBezTo>
                    <a:pt x="1994" y="1247"/>
                    <a:pt x="2005" y="1247"/>
                    <a:pt x="2016" y="1247"/>
                  </a:cubicBezTo>
                  <a:lnTo>
                    <a:pt x="2016" y="1214"/>
                  </a:lnTo>
                  <a:cubicBezTo>
                    <a:pt x="2016" y="1189"/>
                    <a:pt x="2041" y="1166"/>
                    <a:pt x="2053" y="1155"/>
                  </a:cubicBezTo>
                  <a:cubicBezTo>
                    <a:pt x="2064" y="1144"/>
                    <a:pt x="2064" y="1130"/>
                    <a:pt x="2075" y="1119"/>
                  </a:cubicBezTo>
                  <a:cubicBezTo>
                    <a:pt x="2053" y="1119"/>
                    <a:pt x="2028" y="1119"/>
                    <a:pt x="2016" y="1108"/>
                  </a:cubicBezTo>
                  <a:cubicBezTo>
                    <a:pt x="2005" y="1108"/>
                    <a:pt x="1994" y="1096"/>
                    <a:pt x="1994" y="1085"/>
                  </a:cubicBezTo>
                  <a:cubicBezTo>
                    <a:pt x="1987" y="1083"/>
                    <a:pt x="1980" y="1082"/>
                    <a:pt x="1973" y="1082"/>
                  </a:cubicBezTo>
                  <a:cubicBezTo>
                    <a:pt x="1945" y="1082"/>
                    <a:pt x="1917" y="1099"/>
                    <a:pt x="1888" y="1108"/>
                  </a:cubicBezTo>
                  <a:cubicBezTo>
                    <a:pt x="1865" y="1130"/>
                    <a:pt x="1832" y="1144"/>
                    <a:pt x="1807" y="1144"/>
                  </a:cubicBezTo>
                  <a:cubicBezTo>
                    <a:pt x="1795" y="1144"/>
                    <a:pt x="1784" y="1130"/>
                    <a:pt x="1773" y="1130"/>
                  </a:cubicBezTo>
                  <a:cubicBezTo>
                    <a:pt x="1762" y="1119"/>
                    <a:pt x="1737" y="1108"/>
                    <a:pt x="1737" y="1096"/>
                  </a:cubicBezTo>
                  <a:cubicBezTo>
                    <a:pt x="1726" y="1060"/>
                    <a:pt x="1737" y="1015"/>
                    <a:pt x="1726" y="979"/>
                  </a:cubicBezTo>
                  <a:cubicBezTo>
                    <a:pt x="1714" y="920"/>
                    <a:pt x="1633" y="898"/>
                    <a:pt x="1622" y="839"/>
                  </a:cubicBezTo>
                  <a:cubicBezTo>
                    <a:pt x="1622" y="828"/>
                    <a:pt x="1622" y="817"/>
                    <a:pt x="1633" y="817"/>
                  </a:cubicBezTo>
                  <a:cubicBezTo>
                    <a:pt x="1644" y="806"/>
                    <a:pt x="1656" y="806"/>
                    <a:pt x="1678" y="794"/>
                  </a:cubicBezTo>
                  <a:cubicBezTo>
                    <a:pt x="1703" y="781"/>
                    <a:pt x="1703" y="758"/>
                    <a:pt x="1714" y="736"/>
                  </a:cubicBezTo>
                  <a:cubicBezTo>
                    <a:pt x="1726" y="725"/>
                    <a:pt x="1726" y="711"/>
                    <a:pt x="1726" y="688"/>
                  </a:cubicBezTo>
                  <a:cubicBezTo>
                    <a:pt x="1726" y="677"/>
                    <a:pt x="1714" y="655"/>
                    <a:pt x="1703" y="655"/>
                  </a:cubicBezTo>
                  <a:cubicBezTo>
                    <a:pt x="1699" y="650"/>
                    <a:pt x="1695" y="648"/>
                    <a:pt x="1691" y="648"/>
                  </a:cubicBezTo>
                  <a:cubicBezTo>
                    <a:pt x="1682" y="648"/>
                    <a:pt x="1671" y="655"/>
                    <a:pt x="1656" y="655"/>
                  </a:cubicBezTo>
                  <a:cubicBezTo>
                    <a:pt x="1633" y="655"/>
                    <a:pt x="1608" y="641"/>
                    <a:pt x="1586" y="618"/>
                  </a:cubicBezTo>
                  <a:cubicBezTo>
                    <a:pt x="1563" y="607"/>
                    <a:pt x="1563" y="585"/>
                    <a:pt x="1563" y="560"/>
                  </a:cubicBezTo>
                  <a:cubicBezTo>
                    <a:pt x="1563" y="548"/>
                    <a:pt x="1563" y="537"/>
                    <a:pt x="1552" y="537"/>
                  </a:cubicBezTo>
                  <a:cubicBezTo>
                    <a:pt x="1552" y="526"/>
                    <a:pt x="1538" y="526"/>
                    <a:pt x="1527" y="515"/>
                  </a:cubicBezTo>
                  <a:cubicBezTo>
                    <a:pt x="1516" y="501"/>
                    <a:pt x="1516" y="479"/>
                    <a:pt x="1527" y="467"/>
                  </a:cubicBezTo>
                  <a:cubicBezTo>
                    <a:pt x="1538" y="456"/>
                    <a:pt x="1552" y="445"/>
                    <a:pt x="1563" y="431"/>
                  </a:cubicBezTo>
                  <a:cubicBezTo>
                    <a:pt x="1586" y="409"/>
                    <a:pt x="1597" y="375"/>
                    <a:pt x="1586" y="350"/>
                  </a:cubicBezTo>
                  <a:cubicBezTo>
                    <a:pt x="1575" y="328"/>
                    <a:pt x="1552" y="316"/>
                    <a:pt x="1538" y="291"/>
                  </a:cubicBezTo>
                  <a:cubicBezTo>
                    <a:pt x="1516" y="269"/>
                    <a:pt x="1516" y="235"/>
                    <a:pt x="1516" y="210"/>
                  </a:cubicBezTo>
                  <a:cubicBezTo>
                    <a:pt x="1516" y="188"/>
                    <a:pt x="1516" y="151"/>
                    <a:pt x="1493" y="140"/>
                  </a:cubicBezTo>
                  <a:cubicBezTo>
                    <a:pt x="1468" y="118"/>
                    <a:pt x="1446" y="118"/>
                    <a:pt x="1424" y="107"/>
                  </a:cubicBezTo>
                  <a:cubicBezTo>
                    <a:pt x="1398" y="95"/>
                    <a:pt x="1387" y="81"/>
                    <a:pt x="1376" y="70"/>
                  </a:cubicBezTo>
                  <a:cubicBezTo>
                    <a:pt x="1376" y="59"/>
                    <a:pt x="1365" y="48"/>
                    <a:pt x="1365" y="37"/>
                  </a:cubicBezTo>
                  <a:cubicBezTo>
                    <a:pt x="1354" y="26"/>
                    <a:pt x="1328" y="12"/>
                    <a:pt x="1317" y="12"/>
                  </a:cubicBezTo>
                  <a:cubicBezTo>
                    <a:pt x="1295" y="0"/>
                    <a:pt x="1273" y="0"/>
                    <a:pt x="125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4" name="Google Shape;372;p17">
              <a:extLst>
                <a:ext uri="{FF2B5EF4-FFF2-40B4-BE49-F238E27FC236}">
                  <a16:creationId xmlns:a16="http://schemas.microsoft.com/office/drawing/2014/main" xmlns="" id="{351A1F0C-1B9A-57F4-313B-44FFB4E48BFA}"/>
                </a:ext>
              </a:extLst>
            </p:cNvPr>
            <p:cNvSpPr/>
            <p:nvPr/>
          </p:nvSpPr>
          <p:spPr>
            <a:xfrm>
              <a:off x="1169499" y="1438233"/>
              <a:ext cx="532109" cy="757834"/>
            </a:xfrm>
            <a:custGeom>
              <a:avLst/>
              <a:gdLst/>
              <a:ahLst/>
              <a:cxnLst/>
              <a:rect l="l" t="t" r="r" b="b"/>
              <a:pathLst>
                <a:path w="2308" h="3287" extrusionOk="0">
                  <a:moveTo>
                    <a:pt x="1284" y="49"/>
                  </a:moveTo>
                  <a:cubicBezTo>
                    <a:pt x="1284" y="49"/>
                    <a:pt x="1295" y="49"/>
                    <a:pt x="1306" y="60"/>
                  </a:cubicBezTo>
                  <a:cubicBezTo>
                    <a:pt x="1328" y="60"/>
                    <a:pt x="1342" y="71"/>
                    <a:pt x="1342" y="71"/>
                  </a:cubicBezTo>
                  <a:cubicBezTo>
                    <a:pt x="1342" y="82"/>
                    <a:pt x="1354" y="93"/>
                    <a:pt x="1354" y="104"/>
                  </a:cubicBezTo>
                  <a:cubicBezTo>
                    <a:pt x="1365" y="130"/>
                    <a:pt x="1387" y="141"/>
                    <a:pt x="1412" y="152"/>
                  </a:cubicBezTo>
                  <a:cubicBezTo>
                    <a:pt x="1424" y="163"/>
                    <a:pt x="1446" y="163"/>
                    <a:pt x="1457" y="163"/>
                  </a:cubicBezTo>
                  <a:cubicBezTo>
                    <a:pt x="1468" y="163"/>
                    <a:pt x="1468" y="174"/>
                    <a:pt x="1482" y="174"/>
                  </a:cubicBezTo>
                  <a:cubicBezTo>
                    <a:pt x="1482" y="188"/>
                    <a:pt x="1493" y="188"/>
                    <a:pt x="1493" y="200"/>
                  </a:cubicBezTo>
                  <a:lnTo>
                    <a:pt x="1493" y="233"/>
                  </a:lnTo>
                  <a:cubicBezTo>
                    <a:pt x="1493" y="258"/>
                    <a:pt x="1493" y="292"/>
                    <a:pt x="1516" y="328"/>
                  </a:cubicBezTo>
                  <a:cubicBezTo>
                    <a:pt x="1527" y="339"/>
                    <a:pt x="1538" y="351"/>
                    <a:pt x="1552" y="362"/>
                  </a:cubicBezTo>
                  <a:cubicBezTo>
                    <a:pt x="1563" y="373"/>
                    <a:pt x="1563" y="373"/>
                    <a:pt x="1563" y="384"/>
                  </a:cubicBezTo>
                  <a:lnTo>
                    <a:pt x="1563" y="398"/>
                  </a:lnTo>
                  <a:cubicBezTo>
                    <a:pt x="1563" y="409"/>
                    <a:pt x="1563" y="420"/>
                    <a:pt x="1552" y="432"/>
                  </a:cubicBezTo>
                  <a:cubicBezTo>
                    <a:pt x="1538" y="443"/>
                    <a:pt x="1527" y="454"/>
                    <a:pt x="1505" y="479"/>
                  </a:cubicBezTo>
                  <a:lnTo>
                    <a:pt x="1505" y="513"/>
                  </a:lnTo>
                  <a:cubicBezTo>
                    <a:pt x="1505" y="524"/>
                    <a:pt x="1505" y="538"/>
                    <a:pt x="1516" y="549"/>
                  </a:cubicBezTo>
                  <a:cubicBezTo>
                    <a:pt x="1516" y="560"/>
                    <a:pt x="1527" y="560"/>
                    <a:pt x="1527" y="560"/>
                  </a:cubicBezTo>
                  <a:lnTo>
                    <a:pt x="1538" y="571"/>
                  </a:lnTo>
                  <a:lnTo>
                    <a:pt x="1538" y="583"/>
                  </a:lnTo>
                  <a:cubicBezTo>
                    <a:pt x="1538" y="594"/>
                    <a:pt x="1538" y="608"/>
                    <a:pt x="1552" y="619"/>
                  </a:cubicBezTo>
                  <a:cubicBezTo>
                    <a:pt x="1552" y="641"/>
                    <a:pt x="1563" y="653"/>
                    <a:pt x="1575" y="664"/>
                  </a:cubicBezTo>
                  <a:cubicBezTo>
                    <a:pt x="1597" y="689"/>
                    <a:pt x="1622" y="700"/>
                    <a:pt x="1656" y="700"/>
                  </a:cubicBezTo>
                  <a:lnTo>
                    <a:pt x="1703" y="700"/>
                  </a:lnTo>
                  <a:lnTo>
                    <a:pt x="1703" y="711"/>
                  </a:lnTo>
                  <a:cubicBezTo>
                    <a:pt x="1703" y="722"/>
                    <a:pt x="1703" y="734"/>
                    <a:pt x="1692" y="748"/>
                  </a:cubicBezTo>
                  <a:cubicBezTo>
                    <a:pt x="1692" y="759"/>
                    <a:pt x="1692" y="770"/>
                    <a:pt x="1678" y="781"/>
                  </a:cubicBezTo>
                  <a:cubicBezTo>
                    <a:pt x="1678" y="792"/>
                    <a:pt x="1667" y="792"/>
                    <a:pt x="1667" y="792"/>
                  </a:cubicBezTo>
                  <a:cubicBezTo>
                    <a:pt x="1656" y="804"/>
                    <a:pt x="1656" y="804"/>
                    <a:pt x="1644" y="804"/>
                  </a:cubicBezTo>
                  <a:cubicBezTo>
                    <a:pt x="1633" y="804"/>
                    <a:pt x="1622" y="804"/>
                    <a:pt x="1608" y="817"/>
                  </a:cubicBezTo>
                  <a:cubicBezTo>
                    <a:pt x="1608" y="829"/>
                    <a:pt x="1597" y="851"/>
                    <a:pt x="1597" y="862"/>
                  </a:cubicBezTo>
                  <a:lnTo>
                    <a:pt x="1597" y="873"/>
                  </a:lnTo>
                  <a:cubicBezTo>
                    <a:pt x="1608" y="887"/>
                    <a:pt x="1608" y="910"/>
                    <a:pt x="1622" y="921"/>
                  </a:cubicBezTo>
                  <a:cubicBezTo>
                    <a:pt x="1644" y="943"/>
                    <a:pt x="1656" y="957"/>
                    <a:pt x="1678" y="968"/>
                  </a:cubicBezTo>
                  <a:cubicBezTo>
                    <a:pt x="1692" y="980"/>
                    <a:pt x="1703" y="1002"/>
                    <a:pt x="1703" y="1013"/>
                  </a:cubicBezTo>
                  <a:cubicBezTo>
                    <a:pt x="1714" y="1013"/>
                    <a:pt x="1714" y="1027"/>
                    <a:pt x="1714" y="1027"/>
                  </a:cubicBezTo>
                  <a:cubicBezTo>
                    <a:pt x="1714" y="1050"/>
                    <a:pt x="1703" y="1061"/>
                    <a:pt x="1703" y="1083"/>
                  </a:cubicBezTo>
                  <a:cubicBezTo>
                    <a:pt x="1703" y="1097"/>
                    <a:pt x="1703" y="1108"/>
                    <a:pt x="1714" y="1119"/>
                  </a:cubicBezTo>
                  <a:cubicBezTo>
                    <a:pt x="1726" y="1142"/>
                    <a:pt x="1748" y="1167"/>
                    <a:pt x="1773" y="1178"/>
                  </a:cubicBezTo>
                  <a:cubicBezTo>
                    <a:pt x="1784" y="1178"/>
                    <a:pt x="1795" y="1178"/>
                    <a:pt x="1807" y="1189"/>
                  </a:cubicBezTo>
                  <a:cubicBezTo>
                    <a:pt x="1843" y="1189"/>
                    <a:pt x="1877" y="1167"/>
                    <a:pt x="1902" y="1153"/>
                  </a:cubicBezTo>
                  <a:cubicBezTo>
                    <a:pt x="1913" y="1153"/>
                    <a:pt x="1924" y="1142"/>
                    <a:pt x="1935" y="1131"/>
                  </a:cubicBezTo>
                  <a:lnTo>
                    <a:pt x="1983" y="1131"/>
                  </a:lnTo>
                  <a:cubicBezTo>
                    <a:pt x="1983" y="1131"/>
                    <a:pt x="1994" y="1142"/>
                    <a:pt x="2005" y="1153"/>
                  </a:cubicBezTo>
                  <a:cubicBezTo>
                    <a:pt x="2012" y="1157"/>
                    <a:pt x="2019" y="1160"/>
                    <a:pt x="2026" y="1162"/>
                  </a:cubicBezTo>
                  <a:lnTo>
                    <a:pt x="2026" y="1162"/>
                  </a:lnTo>
                  <a:cubicBezTo>
                    <a:pt x="2022" y="1172"/>
                    <a:pt x="2014" y="1181"/>
                    <a:pt x="2005" y="1189"/>
                  </a:cubicBezTo>
                  <a:cubicBezTo>
                    <a:pt x="2005" y="1201"/>
                    <a:pt x="1994" y="1212"/>
                    <a:pt x="1994" y="1223"/>
                  </a:cubicBezTo>
                  <a:lnTo>
                    <a:pt x="1994" y="1237"/>
                  </a:lnTo>
                  <a:lnTo>
                    <a:pt x="1994" y="1248"/>
                  </a:lnTo>
                  <a:cubicBezTo>
                    <a:pt x="1994" y="1259"/>
                    <a:pt x="1994" y="1259"/>
                    <a:pt x="1983" y="1259"/>
                  </a:cubicBezTo>
                  <a:cubicBezTo>
                    <a:pt x="1958" y="1259"/>
                    <a:pt x="1946" y="1282"/>
                    <a:pt x="1935" y="1293"/>
                  </a:cubicBezTo>
                  <a:cubicBezTo>
                    <a:pt x="1924" y="1318"/>
                    <a:pt x="1913" y="1329"/>
                    <a:pt x="1913" y="1352"/>
                  </a:cubicBezTo>
                  <a:lnTo>
                    <a:pt x="1913" y="1363"/>
                  </a:lnTo>
                  <a:cubicBezTo>
                    <a:pt x="1924" y="1399"/>
                    <a:pt x="1935" y="1433"/>
                    <a:pt x="1946" y="1469"/>
                  </a:cubicBezTo>
                  <a:cubicBezTo>
                    <a:pt x="1957" y="1491"/>
                    <a:pt x="1971" y="1515"/>
                    <a:pt x="1972" y="1526"/>
                  </a:cubicBezTo>
                  <a:lnTo>
                    <a:pt x="1972" y="1526"/>
                  </a:lnTo>
                  <a:cubicBezTo>
                    <a:pt x="1968" y="1525"/>
                    <a:pt x="1965" y="1522"/>
                    <a:pt x="1958" y="1517"/>
                  </a:cubicBezTo>
                  <a:cubicBezTo>
                    <a:pt x="1946" y="1517"/>
                    <a:pt x="1935" y="1503"/>
                    <a:pt x="1924" y="1491"/>
                  </a:cubicBezTo>
                  <a:cubicBezTo>
                    <a:pt x="1902" y="1480"/>
                    <a:pt x="1877" y="1458"/>
                    <a:pt x="1843" y="1458"/>
                  </a:cubicBezTo>
                  <a:cubicBezTo>
                    <a:pt x="1832" y="1458"/>
                    <a:pt x="1818" y="1469"/>
                    <a:pt x="1807" y="1480"/>
                  </a:cubicBezTo>
                  <a:cubicBezTo>
                    <a:pt x="1795" y="1480"/>
                    <a:pt x="1784" y="1491"/>
                    <a:pt x="1784" y="1503"/>
                  </a:cubicBezTo>
                  <a:cubicBezTo>
                    <a:pt x="1773" y="1517"/>
                    <a:pt x="1773" y="1528"/>
                    <a:pt x="1773" y="1539"/>
                  </a:cubicBezTo>
                  <a:cubicBezTo>
                    <a:pt x="1773" y="1550"/>
                    <a:pt x="1773" y="1561"/>
                    <a:pt x="1762" y="1586"/>
                  </a:cubicBezTo>
                  <a:cubicBezTo>
                    <a:pt x="1748" y="1586"/>
                    <a:pt x="1748" y="1598"/>
                    <a:pt x="1748" y="1609"/>
                  </a:cubicBezTo>
                  <a:lnTo>
                    <a:pt x="1748" y="1620"/>
                  </a:lnTo>
                  <a:cubicBezTo>
                    <a:pt x="1748" y="1642"/>
                    <a:pt x="1773" y="1668"/>
                    <a:pt x="1773" y="1679"/>
                  </a:cubicBezTo>
                  <a:lnTo>
                    <a:pt x="1784" y="1679"/>
                  </a:lnTo>
                  <a:cubicBezTo>
                    <a:pt x="1795" y="1712"/>
                    <a:pt x="1818" y="1726"/>
                    <a:pt x="1843" y="1737"/>
                  </a:cubicBezTo>
                  <a:lnTo>
                    <a:pt x="1854" y="1749"/>
                  </a:lnTo>
                  <a:cubicBezTo>
                    <a:pt x="1854" y="1749"/>
                    <a:pt x="1854" y="1760"/>
                    <a:pt x="1843" y="1782"/>
                  </a:cubicBezTo>
                  <a:cubicBezTo>
                    <a:pt x="1843" y="1807"/>
                    <a:pt x="1854" y="1819"/>
                    <a:pt x="1865" y="1830"/>
                  </a:cubicBezTo>
                  <a:cubicBezTo>
                    <a:pt x="1877" y="1841"/>
                    <a:pt x="1888" y="1852"/>
                    <a:pt x="1888" y="1866"/>
                  </a:cubicBezTo>
                  <a:cubicBezTo>
                    <a:pt x="1888" y="1877"/>
                    <a:pt x="1877" y="1888"/>
                    <a:pt x="1865" y="1911"/>
                  </a:cubicBezTo>
                  <a:cubicBezTo>
                    <a:pt x="1865" y="1922"/>
                    <a:pt x="1843" y="1947"/>
                    <a:pt x="1843" y="1981"/>
                  </a:cubicBezTo>
                  <a:cubicBezTo>
                    <a:pt x="1843" y="1992"/>
                    <a:pt x="1854" y="2006"/>
                    <a:pt x="1865" y="2017"/>
                  </a:cubicBezTo>
                  <a:cubicBezTo>
                    <a:pt x="1865" y="2025"/>
                    <a:pt x="1878" y="2034"/>
                    <a:pt x="1890" y="2038"/>
                  </a:cubicBezTo>
                  <a:lnTo>
                    <a:pt x="1890" y="2038"/>
                  </a:lnTo>
                  <a:lnTo>
                    <a:pt x="1888" y="2039"/>
                  </a:lnTo>
                  <a:cubicBezTo>
                    <a:pt x="1888" y="2051"/>
                    <a:pt x="1877" y="2062"/>
                    <a:pt x="1877" y="2087"/>
                  </a:cubicBezTo>
                  <a:cubicBezTo>
                    <a:pt x="1877" y="2109"/>
                    <a:pt x="1888" y="2132"/>
                    <a:pt x="1902" y="2146"/>
                  </a:cubicBezTo>
                  <a:cubicBezTo>
                    <a:pt x="1913" y="2157"/>
                    <a:pt x="1924" y="2157"/>
                    <a:pt x="1935" y="2168"/>
                  </a:cubicBezTo>
                  <a:cubicBezTo>
                    <a:pt x="1946" y="2168"/>
                    <a:pt x="1958" y="2179"/>
                    <a:pt x="1972" y="2179"/>
                  </a:cubicBezTo>
                  <a:cubicBezTo>
                    <a:pt x="1983" y="2190"/>
                    <a:pt x="1983" y="2190"/>
                    <a:pt x="1983" y="2202"/>
                  </a:cubicBezTo>
                  <a:cubicBezTo>
                    <a:pt x="1983" y="2202"/>
                    <a:pt x="1994" y="2202"/>
                    <a:pt x="1994" y="2216"/>
                  </a:cubicBezTo>
                  <a:cubicBezTo>
                    <a:pt x="1994" y="2227"/>
                    <a:pt x="1983" y="2238"/>
                    <a:pt x="1983" y="2260"/>
                  </a:cubicBezTo>
                  <a:cubicBezTo>
                    <a:pt x="1983" y="2260"/>
                    <a:pt x="1983" y="2272"/>
                    <a:pt x="1994" y="2286"/>
                  </a:cubicBezTo>
                  <a:cubicBezTo>
                    <a:pt x="1994" y="2308"/>
                    <a:pt x="2016" y="2319"/>
                    <a:pt x="2028" y="2330"/>
                  </a:cubicBezTo>
                  <a:cubicBezTo>
                    <a:pt x="2053" y="2341"/>
                    <a:pt x="2075" y="2341"/>
                    <a:pt x="2086" y="2341"/>
                  </a:cubicBezTo>
                  <a:lnTo>
                    <a:pt x="2134" y="2341"/>
                  </a:lnTo>
                  <a:cubicBezTo>
                    <a:pt x="2156" y="2341"/>
                    <a:pt x="2167" y="2341"/>
                    <a:pt x="2181" y="2355"/>
                  </a:cubicBezTo>
                  <a:cubicBezTo>
                    <a:pt x="2192" y="2355"/>
                    <a:pt x="2215" y="2378"/>
                    <a:pt x="2237" y="2400"/>
                  </a:cubicBezTo>
                  <a:cubicBezTo>
                    <a:pt x="2251" y="2436"/>
                    <a:pt x="2262" y="2470"/>
                    <a:pt x="2262" y="2506"/>
                  </a:cubicBezTo>
                  <a:cubicBezTo>
                    <a:pt x="2262" y="2529"/>
                    <a:pt x="2251" y="2540"/>
                    <a:pt x="2237" y="2565"/>
                  </a:cubicBezTo>
                  <a:cubicBezTo>
                    <a:pt x="2237" y="2565"/>
                    <a:pt x="2215" y="2576"/>
                    <a:pt x="2204" y="2587"/>
                  </a:cubicBezTo>
                  <a:cubicBezTo>
                    <a:pt x="2192" y="2587"/>
                    <a:pt x="2167" y="2599"/>
                    <a:pt x="2145" y="2610"/>
                  </a:cubicBezTo>
                  <a:cubicBezTo>
                    <a:pt x="2145" y="2610"/>
                    <a:pt x="2134" y="2621"/>
                    <a:pt x="2123" y="2621"/>
                  </a:cubicBezTo>
                  <a:cubicBezTo>
                    <a:pt x="2111" y="2646"/>
                    <a:pt x="2086" y="2669"/>
                    <a:pt x="2086" y="2705"/>
                  </a:cubicBezTo>
                  <a:cubicBezTo>
                    <a:pt x="2086" y="2716"/>
                    <a:pt x="2097" y="2727"/>
                    <a:pt x="2097" y="2738"/>
                  </a:cubicBezTo>
                  <a:cubicBezTo>
                    <a:pt x="2111" y="2750"/>
                    <a:pt x="2123" y="2750"/>
                    <a:pt x="2123" y="2761"/>
                  </a:cubicBezTo>
                  <a:cubicBezTo>
                    <a:pt x="2134" y="2761"/>
                    <a:pt x="2134" y="2775"/>
                    <a:pt x="2134" y="2775"/>
                  </a:cubicBezTo>
                  <a:cubicBezTo>
                    <a:pt x="2123" y="2786"/>
                    <a:pt x="2111" y="2797"/>
                    <a:pt x="2097" y="2808"/>
                  </a:cubicBezTo>
                  <a:cubicBezTo>
                    <a:pt x="2075" y="2808"/>
                    <a:pt x="2053" y="2820"/>
                    <a:pt x="2041" y="2845"/>
                  </a:cubicBezTo>
                  <a:cubicBezTo>
                    <a:pt x="2028" y="2856"/>
                    <a:pt x="2016" y="2867"/>
                    <a:pt x="2005" y="2867"/>
                  </a:cubicBezTo>
                  <a:cubicBezTo>
                    <a:pt x="2005" y="2878"/>
                    <a:pt x="1994" y="2878"/>
                    <a:pt x="1983" y="2878"/>
                  </a:cubicBezTo>
                  <a:cubicBezTo>
                    <a:pt x="1958" y="2878"/>
                    <a:pt x="1935" y="2867"/>
                    <a:pt x="1902" y="2845"/>
                  </a:cubicBezTo>
                  <a:cubicBezTo>
                    <a:pt x="1877" y="2831"/>
                    <a:pt x="1854" y="2820"/>
                    <a:pt x="1818" y="2820"/>
                  </a:cubicBezTo>
                  <a:cubicBezTo>
                    <a:pt x="1795" y="2820"/>
                    <a:pt x="1773" y="2831"/>
                    <a:pt x="1748" y="2856"/>
                  </a:cubicBezTo>
                  <a:cubicBezTo>
                    <a:pt x="1748" y="2867"/>
                    <a:pt x="1737" y="2867"/>
                    <a:pt x="1737" y="2878"/>
                  </a:cubicBezTo>
                  <a:lnTo>
                    <a:pt x="1726" y="2889"/>
                  </a:lnTo>
                  <a:lnTo>
                    <a:pt x="1714" y="2889"/>
                  </a:lnTo>
                  <a:cubicBezTo>
                    <a:pt x="1703" y="2889"/>
                    <a:pt x="1678" y="2889"/>
                    <a:pt x="1667" y="2901"/>
                  </a:cubicBezTo>
                  <a:cubicBezTo>
                    <a:pt x="1644" y="2915"/>
                    <a:pt x="1644" y="2926"/>
                    <a:pt x="1633" y="2937"/>
                  </a:cubicBezTo>
                  <a:cubicBezTo>
                    <a:pt x="1633" y="2948"/>
                    <a:pt x="1622" y="2971"/>
                    <a:pt x="1622" y="2985"/>
                  </a:cubicBezTo>
                  <a:cubicBezTo>
                    <a:pt x="1622" y="2998"/>
                    <a:pt x="1626" y="3011"/>
                    <a:pt x="1629" y="3022"/>
                  </a:cubicBezTo>
                  <a:lnTo>
                    <a:pt x="1629" y="3022"/>
                  </a:lnTo>
                  <a:cubicBezTo>
                    <a:pt x="1619" y="3026"/>
                    <a:pt x="1608" y="3033"/>
                    <a:pt x="1608" y="3040"/>
                  </a:cubicBezTo>
                  <a:cubicBezTo>
                    <a:pt x="1597" y="3040"/>
                    <a:pt x="1586" y="3054"/>
                    <a:pt x="1586" y="3077"/>
                  </a:cubicBezTo>
                  <a:lnTo>
                    <a:pt x="1586" y="3088"/>
                  </a:lnTo>
                  <a:lnTo>
                    <a:pt x="1586" y="3136"/>
                  </a:lnTo>
                  <a:lnTo>
                    <a:pt x="1586" y="3147"/>
                  </a:lnTo>
                  <a:cubicBezTo>
                    <a:pt x="1575" y="3147"/>
                    <a:pt x="1552" y="3136"/>
                    <a:pt x="1538" y="3124"/>
                  </a:cubicBezTo>
                  <a:cubicBezTo>
                    <a:pt x="1516" y="3110"/>
                    <a:pt x="1505" y="3099"/>
                    <a:pt x="1468" y="3099"/>
                  </a:cubicBezTo>
                  <a:lnTo>
                    <a:pt x="1424" y="3099"/>
                  </a:lnTo>
                  <a:cubicBezTo>
                    <a:pt x="1412" y="3099"/>
                    <a:pt x="1412" y="3099"/>
                    <a:pt x="1412" y="3088"/>
                  </a:cubicBezTo>
                  <a:cubicBezTo>
                    <a:pt x="1412" y="3088"/>
                    <a:pt x="1412" y="3077"/>
                    <a:pt x="1398" y="3066"/>
                  </a:cubicBezTo>
                  <a:cubicBezTo>
                    <a:pt x="1398" y="3040"/>
                    <a:pt x="1398" y="3029"/>
                    <a:pt x="1376" y="3018"/>
                  </a:cubicBezTo>
                  <a:cubicBezTo>
                    <a:pt x="1365" y="3007"/>
                    <a:pt x="1354" y="2996"/>
                    <a:pt x="1342" y="2996"/>
                  </a:cubicBezTo>
                  <a:lnTo>
                    <a:pt x="1284" y="2996"/>
                  </a:lnTo>
                  <a:lnTo>
                    <a:pt x="1284" y="3007"/>
                  </a:lnTo>
                  <a:cubicBezTo>
                    <a:pt x="1284" y="3018"/>
                    <a:pt x="1284" y="3018"/>
                    <a:pt x="1273" y="3029"/>
                  </a:cubicBezTo>
                  <a:lnTo>
                    <a:pt x="1236" y="3029"/>
                  </a:lnTo>
                  <a:cubicBezTo>
                    <a:pt x="1236" y="3018"/>
                    <a:pt x="1225" y="3018"/>
                    <a:pt x="1225" y="3007"/>
                  </a:cubicBezTo>
                  <a:cubicBezTo>
                    <a:pt x="1225" y="3007"/>
                    <a:pt x="1225" y="2996"/>
                    <a:pt x="1236" y="2985"/>
                  </a:cubicBezTo>
                  <a:cubicBezTo>
                    <a:pt x="1236" y="2971"/>
                    <a:pt x="1225" y="2971"/>
                    <a:pt x="1225" y="2959"/>
                  </a:cubicBezTo>
                  <a:cubicBezTo>
                    <a:pt x="1214" y="2948"/>
                    <a:pt x="1214" y="2948"/>
                    <a:pt x="1203" y="2937"/>
                  </a:cubicBezTo>
                  <a:lnTo>
                    <a:pt x="1189" y="2937"/>
                  </a:lnTo>
                  <a:lnTo>
                    <a:pt x="1189" y="2926"/>
                  </a:lnTo>
                  <a:lnTo>
                    <a:pt x="1189" y="2889"/>
                  </a:lnTo>
                  <a:lnTo>
                    <a:pt x="1189" y="2867"/>
                  </a:lnTo>
                  <a:lnTo>
                    <a:pt x="1189" y="2856"/>
                  </a:lnTo>
                  <a:lnTo>
                    <a:pt x="1177" y="2856"/>
                  </a:lnTo>
                  <a:lnTo>
                    <a:pt x="1177" y="2845"/>
                  </a:lnTo>
                  <a:lnTo>
                    <a:pt x="1144" y="2845"/>
                  </a:lnTo>
                  <a:cubicBezTo>
                    <a:pt x="1119" y="2845"/>
                    <a:pt x="1096" y="2856"/>
                    <a:pt x="1085" y="2878"/>
                  </a:cubicBezTo>
                  <a:cubicBezTo>
                    <a:pt x="1074" y="2889"/>
                    <a:pt x="1063" y="2915"/>
                    <a:pt x="1063" y="2926"/>
                  </a:cubicBezTo>
                  <a:cubicBezTo>
                    <a:pt x="1063" y="2948"/>
                    <a:pt x="1074" y="2971"/>
                    <a:pt x="1085" y="2996"/>
                  </a:cubicBezTo>
                  <a:lnTo>
                    <a:pt x="1085" y="3018"/>
                  </a:lnTo>
                  <a:lnTo>
                    <a:pt x="1085" y="3029"/>
                  </a:lnTo>
                  <a:lnTo>
                    <a:pt x="1074" y="3040"/>
                  </a:lnTo>
                  <a:lnTo>
                    <a:pt x="1063" y="3054"/>
                  </a:lnTo>
                  <a:cubicBezTo>
                    <a:pt x="1038" y="3066"/>
                    <a:pt x="1026" y="3088"/>
                    <a:pt x="1026" y="3110"/>
                  </a:cubicBezTo>
                  <a:cubicBezTo>
                    <a:pt x="1026" y="3124"/>
                    <a:pt x="1026" y="3136"/>
                    <a:pt x="1038" y="3147"/>
                  </a:cubicBezTo>
                  <a:cubicBezTo>
                    <a:pt x="1049" y="3169"/>
                    <a:pt x="1085" y="3180"/>
                    <a:pt x="1096" y="3180"/>
                  </a:cubicBezTo>
                  <a:cubicBezTo>
                    <a:pt x="1119" y="3194"/>
                    <a:pt x="1133" y="3194"/>
                    <a:pt x="1144" y="3205"/>
                  </a:cubicBezTo>
                  <a:lnTo>
                    <a:pt x="1144" y="3217"/>
                  </a:lnTo>
                  <a:lnTo>
                    <a:pt x="1144" y="3228"/>
                  </a:lnTo>
                  <a:lnTo>
                    <a:pt x="1119" y="3228"/>
                  </a:lnTo>
                  <a:cubicBezTo>
                    <a:pt x="1108" y="3228"/>
                    <a:pt x="1096" y="3217"/>
                    <a:pt x="1074" y="3217"/>
                  </a:cubicBezTo>
                  <a:lnTo>
                    <a:pt x="1063" y="3217"/>
                  </a:lnTo>
                  <a:cubicBezTo>
                    <a:pt x="1038" y="3217"/>
                    <a:pt x="1026" y="3228"/>
                    <a:pt x="1015" y="3239"/>
                  </a:cubicBezTo>
                  <a:lnTo>
                    <a:pt x="957" y="3239"/>
                  </a:lnTo>
                  <a:cubicBezTo>
                    <a:pt x="934" y="3228"/>
                    <a:pt x="923" y="3205"/>
                    <a:pt x="923" y="3194"/>
                  </a:cubicBezTo>
                  <a:cubicBezTo>
                    <a:pt x="923" y="3180"/>
                    <a:pt x="934" y="3158"/>
                    <a:pt x="945" y="3136"/>
                  </a:cubicBezTo>
                  <a:cubicBezTo>
                    <a:pt x="957" y="3124"/>
                    <a:pt x="968" y="3099"/>
                    <a:pt x="968" y="3066"/>
                  </a:cubicBezTo>
                  <a:lnTo>
                    <a:pt x="968" y="3040"/>
                  </a:lnTo>
                  <a:cubicBezTo>
                    <a:pt x="968" y="3018"/>
                    <a:pt x="957" y="3007"/>
                    <a:pt x="945" y="2996"/>
                  </a:cubicBezTo>
                  <a:cubicBezTo>
                    <a:pt x="923" y="2971"/>
                    <a:pt x="898" y="2948"/>
                    <a:pt x="887" y="2937"/>
                  </a:cubicBezTo>
                  <a:cubicBezTo>
                    <a:pt x="853" y="2901"/>
                    <a:pt x="828" y="2867"/>
                    <a:pt x="806" y="2831"/>
                  </a:cubicBezTo>
                  <a:cubicBezTo>
                    <a:pt x="769" y="2775"/>
                    <a:pt x="724" y="2716"/>
                    <a:pt x="655" y="2680"/>
                  </a:cubicBezTo>
                  <a:cubicBezTo>
                    <a:pt x="655" y="2680"/>
                    <a:pt x="643" y="2669"/>
                    <a:pt x="629" y="2669"/>
                  </a:cubicBezTo>
                  <a:lnTo>
                    <a:pt x="629" y="2657"/>
                  </a:lnTo>
                  <a:lnTo>
                    <a:pt x="618" y="2646"/>
                  </a:lnTo>
                  <a:lnTo>
                    <a:pt x="618" y="2621"/>
                  </a:lnTo>
                  <a:cubicBezTo>
                    <a:pt x="607" y="2610"/>
                    <a:pt x="596" y="2610"/>
                    <a:pt x="596" y="2610"/>
                  </a:cubicBezTo>
                  <a:cubicBezTo>
                    <a:pt x="573" y="2599"/>
                    <a:pt x="559" y="2587"/>
                    <a:pt x="559" y="2565"/>
                  </a:cubicBezTo>
                  <a:lnTo>
                    <a:pt x="559" y="2540"/>
                  </a:lnTo>
                  <a:lnTo>
                    <a:pt x="559" y="2481"/>
                  </a:lnTo>
                  <a:lnTo>
                    <a:pt x="573" y="2459"/>
                  </a:lnTo>
                  <a:lnTo>
                    <a:pt x="548" y="2459"/>
                  </a:lnTo>
                  <a:cubicBezTo>
                    <a:pt x="490" y="2459"/>
                    <a:pt x="445" y="2459"/>
                    <a:pt x="386" y="2448"/>
                  </a:cubicBezTo>
                  <a:lnTo>
                    <a:pt x="386" y="2459"/>
                  </a:lnTo>
                  <a:cubicBezTo>
                    <a:pt x="375" y="2448"/>
                    <a:pt x="364" y="2448"/>
                    <a:pt x="364" y="2448"/>
                  </a:cubicBezTo>
                  <a:cubicBezTo>
                    <a:pt x="364" y="2448"/>
                    <a:pt x="350" y="2448"/>
                    <a:pt x="350" y="2436"/>
                  </a:cubicBezTo>
                  <a:cubicBezTo>
                    <a:pt x="350" y="2425"/>
                    <a:pt x="339" y="2411"/>
                    <a:pt x="327" y="2411"/>
                  </a:cubicBezTo>
                  <a:cubicBezTo>
                    <a:pt x="305" y="2389"/>
                    <a:pt x="280" y="2389"/>
                    <a:pt x="269" y="2389"/>
                  </a:cubicBezTo>
                  <a:cubicBezTo>
                    <a:pt x="246" y="2378"/>
                    <a:pt x="235" y="2378"/>
                    <a:pt x="235" y="2367"/>
                  </a:cubicBezTo>
                  <a:cubicBezTo>
                    <a:pt x="224" y="2367"/>
                    <a:pt x="224" y="2341"/>
                    <a:pt x="210" y="2319"/>
                  </a:cubicBezTo>
                  <a:cubicBezTo>
                    <a:pt x="210" y="2308"/>
                    <a:pt x="199" y="2286"/>
                    <a:pt x="199" y="2260"/>
                  </a:cubicBezTo>
                  <a:cubicBezTo>
                    <a:pt x="176" y="2216"/>
                    <a:pt x="140" y="2168"/>
                    <a:pt x="118" y="2121"/>
                  </a:cubicBezTo>
                  <a:cubicBezTo>
                    <a:pt x="84" y="2076"/>
                    <a:pt x="59" y="2017"/>
                    <a:pt x="59" y="1958"/>
                  </a:cubicBezTo>
                  <a:lnTo>
                    <a:pt x="59" y="1911"/>
                  </a:lnTo>
                  <a:cubicBezTo>
                    <a:pt x="70" y="1900"/>
                    <a:pt x="70" y="1888"/>
                    <a:pt x="84" y="1866"/>
                  </a:cubicBezTo>
                  <a:cubicBezTo>
                    <a:pt x="95" y="1841"/>
                    <a:pt x="106" y="1830"/>
                    <a:pt x="106" y="1807"/>
                  </a:cubicBezTo>
                  <a:lnTo>
                    <a:pt x="106" y="1796"/>
                  </a:lnTo>
                  <a:cubicBezTo>
                    <a:pt x="106" y="1749"/>
                    <a:pt x="84" y="1712"/>
                    <a:pt x="70" y="1679"/>
                  </a:cubicBezTo>
                  <a:cubicBezTo>
                    <a:pt x="59" y="1656"/>
                    <a:pt x="48" y="1620"/>
                    <a:pt x="48" y="1598"/>
                  </a:cubicBezTo>
                  <a:lnTo>
                    <a:pt x="48" y="1586"/>
                  </a:lnTo>
                  <a:cubicBezTo>
                    <a:pt x="48" y="1561"/>
                    <a:pt x="59" y="1550"/>
                    <a:pt x="70" y="1539"/>
                  </a:cubicBezTo>
                  <a:cubicBezTo>
                    <a:pt x="95" y="1528"/>
                    <a:pt x="106" y="1517"/>
                    <a:pt x="129" y="1503"/>
                  </a:cubicBezTo>
                  <a:cubicBezTo>
                    <a:pt x="176" y="1491"/>
                    <a:pt x="224" y="1480"/>
                    <a:pt x="269" y="1458"/>
                  </a:cubicBezTo>
                  <a:cubicBezTo>
                    <a:pt x="294" y="1458"/>
                    <a:pt x="305" y="1447"/>
                    <a:pt x="316" y="1421"/>
                  </a:cubicBezTo>
                  <a:lnTo>
                    <a:pt x="316" y="1388"/>
                  </a:lnTo>
                  <a:lnTo>
                    <a:pt x="316" y="1377"/>
                  </a:lnTo>
                  <a:cubicBezTo>
                    <a:pt x="316" y="1324"/>
                    <a:pt x="316" y="1280"/>
                    <a:pt x="308" y="1237"/>
                  </a:cubicBezTo>
                  <a:lnTo>
                    <a:pt x="308" y="1237"/>
                  </a:lnTo>
                  <a:cubicBezTo>
                    <a:pt x="312" y="1234"/>
                    <a:pt x="316" y="1231"/>
                    <a:pt x="320" y="1229"/>
                  </a:cubicBezTo>
                  <a:lnTo>
                    <a:pt x="320" y="1229"/>
                  </a:lnTo>
                  <a:cubicBezTo>
                    <a:pt x="327" y="1243"/>
                    <a:pt x="342" y="1251"/>
                    <a:pt x="350" y="1259"/>
                  </a:cubicBezTo>
                  <a:cubicBezTo>
                    <a:pt x="375" y="1270"/>
                    <a:pt x="386" y="1282"/>
                    <a:pt x="408" y="1282"/>
                  </a:cubicBezTo>
                  <a:cubicBezTo>
                    <a:pt x="434" y="1282"/>
                    <a:pt x="467" y="1270"/>
                    <a:pt x="478" y="1248"/>
                  </a:cubicBezTo>
                  <a:cubicBezTo>
                    <a:pt x="490" y="1237"/>
                    <a:pt x="504" y="1212"/>
                    <a:pt x="504" y="1189"/>
                  </a:cubicBezTo>
                  <a:cubicBezTo>
                    <a:pt x="504" y="1142"/>
                    <a:pt x="478" y="1108"/>
                    <a:pt x="456" y="1083"/>
                  </a:cubicBezTo>
                  <a:cubicBezTo>
                    <a:pt x="434" y="1038"/>
                    <a:pt x="386" y="1002"/>
                    <a:pt x="375" y="968"/>
                  </a:cubicBezTo>
                  <a:lnTo>
                    <a:pt x="375" y="921"/>
                  </a:lnTo>
                  <a:lnTo>
                    <a:pt x="375" y="887"/>
                  </a:lnTo>
                  <a:cubicBezTo>
                    <a:pt x="375" y="873"/>
                    <a:pt x="375" y="862"/>
                    <a:pt x="364" y="851"/>
                  </a:cubicBezTo>
                  <a:lnTo>
                    <a:pt x="364" y="840"/>
                  </a:lnTo>
                  <a:cubicBezTo>
                    <a:pt x="364" y="832"/>
                    <a:pt x="356" y="816"/>
                    <a:pt x="352" y="804"/>
                  </a:cubicBezTo>
                  <a:lnTo>
                    <a:pt x="408" y="804"/>
                  </a:lnTo>
                  <a:cubicBezTo>
                    <a:pt x="434" y="804"/>
                    <a:pt x="456" y="792"/>
                    <a:pt x="467" y="781"/>
                  </a:cubicBezTo>
                  <a:cubicBezTo>
                    <a:pt x="490" y="770"/>
                    <a:pt x="504" y="748"/>
                    <a:pt x="504" y="734"/>
                  </a:cubicBezTo>
                  <a:cubicBezTo>
                    <a:pt x="515" y="711"/>
                    <a:pt x="515" y="689"/>
                    <a:pt x="526" y="664"/>
                  </a:cubicBezTo>
                  <a:cubicBezTo>
                    <a:pt x="526" y="653"/>
                    <a:pt x="537" y="641"/>
                    <a:pt x="548" y="630"/>
                  </a:cubicBezTo>
                  <a:cubicBezTo>
                    <a:pt x="559" y="619"/>
                    <a:pt x="573" y="608"/>
                    <a:pt x="573" y="608"/>
                  </a:cubicBezTo>
                  <a:lnTo>
                    <a:pt x="575" y="610"/>
                  </a:lnTo>
                  <a:lnTo>
                    <a:pt x="575" y="610"/>
                  </a:lnTo>
                  <a:cubicBezTo>
                    <a:pt x="579" y="624"/>
                    <a:pt x="587" y="633"/>
                    <a:pt x="596" y="641"/>
                  </a:cubicBezTo>
                  <a:lnTo>
                    <a:pt x="677" y="641"/>
                  </a:lnTo>
                  <a:cubicBezTo>
                    <a:pt x="688" y="630"/>
                    <a:pt x="688" y="619"/>
                    <a:pt x="699" y="619"/>
                  </a:cubicBezTo>
                  <a:cubicBezTo>
                    <a:pt x="713" y="608"/>
                    <a:pt x="724" y="608"/>
                    <a:pt x="724" y="608"/>
                  </a:cubicBezTo>
                  <a:lnTo>
                    <a:pt x="736" y="608"/>
                  </a:lnTo>
                  <a:cubicBezTo>
                    <a:pt x="736" y="608"/>
                    <a:pt x="736" y="619"/>
                    <a:pt x="747" y="619"/>
                  </a:cubicBezTo>
                  <a:cubicBezTo>
                    <a:pt x="747" y="630"/>
                    <a:pt x="758" y="630"/>
                    <a:pt x="758" y="641"/>
                  </a:cubicBezTo>
                  <a:cubicBezTo>
                    <a:pt x="769" y="664"/>
                    <a:pt x="794" y="664"/>
                    <a:pt x="806" y="664"/>
                  </a:cubicBezTo>
                  <a:cubicBezTo>
                    <a:pt x="817" y="664"/>
                    <a:pt x="839" y="664"/>
                    <a:pt x="839" y="653"/>
                  </a:cubicBezTo>
                  <a:cubicBezTo>
                    <a:pt x="853" y="653"/>
                    <a:pt x="864" y="641"/>
                    <a:pt x="864" y="619"/>
                  </a:cubicBezTo>
                  <a:lnTo>
                    <a:pt x="875" y="619"/>
                  </a:lnTo>
                  <a:lnTo>
                    <a:pt x="875" y="608"/>
                  </a:lnTo>
                  <a:lnTo>
                    <a:pt x="934" y="608"/>
                  </a:lnTo>
                  <a:cubicBezTo>
                    <a:pt x="968" y="594"/>
                    <a:pt x="979" y="583"/>
                    <a:pt x="993" y="560"/>
                  </a:cubicBezTo>
                  <a:cubicBezTo>
                    <a:pt x="1004" y="549"/>
                    <a:pt x="1015" y="524"/>
                    <a:pt x="1015" y="502"/>
                  </a:cubicBezTo>
                  <a:lnTo>
                    <a:pt x="1015" y="490"/>
                  </a:lnTo>
                  <a:cubicBezTo>
                    <a:pt x="1004" y="454"/>
                    <a:pt x="993" y="420"/>
                    <a:pt x="993" y="384"/>
                  </a:cubicBezTo>
                  <a:lnTo>
                    <a:pt x="993" y="373"/>
                  </a:lnTo>
                  <a:lnTo>
                    <a:pt x="1004" y="362"/>
                  </a:lnTo>
                  <a:lnTo>
                    <a:pt x="1004" y="351"/>
                  </a:lnTo>
                  <a:lnTo>
                    <a:pt x="1038" y="351"/>
                  </a:lnTo>
                  <a:cubicBezTo>
                    <a:pt x="1049" y="339"/>
                    <a:pt x="1063" y="339"/>
                    <a:pt x="1074" y="328"/>
                  </a:cubicBezTo>
                  <a:cubicBezTo>
                    <a:pt x="1096" y="314"/>
                    <a:pt x="1108" y="303"/>
                    <a:pt x="1119" y="281"/>
                  </a:cubicBezTo>
                  <a:cubicBezTo>
                    <a:pt x="1119" y="269"/>
                    <a:pt x="1133" y="244"/>
                    <a:pt x="1133" y="233"/>
                  </a:cubicBezTo>
                  <a:lnTo>
                    <a:pt x="1133" y="222"/>
                  </a:lnTo>
                  <a:cubicBezTo>
                    <a:pt x="1119" y="211"/>
                    <a:pt x="1119" y="188"/>
                    <a:pt x="1119" y="174"/>
                  </a:cubicBezTo>
                  <a:cubicBezTo>
                    <a:pt x="1119" y="163"/>
                    <a:pt x="1119" y="152"/>
                    <a:pt x="1133" y="141"/>
                  </a:cubicBezTo>
                  <a:cubicBezTo>
                    <a:pt x="1133" y="118"/>
                    <a:pt x="1144" y="104"/>
                    <a:pt x="1155" y="93"/>
                  </a:cubicBezTo>
                  <a:cubicBezTo>
                    <a:pt x="1163" y="86"/>
                    <a:pt x="1170" y="78"/>
                    <a:pt x="1177" y="68"/>
                  </a:cubicBezTo>
                  <a:lnTo>
                    <a:pt x="1177" y="68"/>
                  </a:lnTo>
                  <a:cubicBezTo>
                    <a:pt x="1185" y="71"/>
                    <a:pt x="1193" y="71"/>
                    <a:pt x="1203" y="71"/>
                  </a:cubicBezTo>
                  <a:cubicBezTo>
                    <a:pt x="1214" y="71"/>
                    <a:pt x="1225" y="71"/>
                    <a:pt x="1236" y="60"/>
                  </a:cubicBezTo>
                  <a:cubicBezTo>
                    <a:pt x="1247" y="60"/>
                    <a:pt x="1259" y="60"/>
                    <a:pt x="1259" y="49"/>
                  </a:cubicBezTo>
                  <a:close/>
                  <a:moveTo>
                    <a:pt x="1284" y="1"/>
                  </a:moveTo>
                  <a:cubicBezTo>
                    <a:pt x="1273" y="1"/>
                    <a:pt x="1259" y="1"/>
                    <a:pt x="1247" y="12"/>
                  </a:cubicBezTo>
                  <a:cubicBezTo>
                    <a:pt x="1236" y="12"/>
                    <a:pt x="1225" y="12"/>
                    <a:pt x="1225" y="23"/>
                  </a:cubicBezTo>
                  <a:lnTo>
                    <a:pt x="1203" y="23"/>
                  </a:lnTo>
                  <a:cubicBezTo>
                    <a:pt x="1203" y="23"/>
                    <a:pt x="1189" y="23"/>
                    <a:pt x="1189" y="12"/>
                  </a:cubicBezTo>
                  <a:lnTo>
                    <a:pt x="1166" y="12"/>
                  </a:lnTo>
                  <a:lnTo>
                    <a:pt x="1155" y="23"/>
                  </a:lnTo>
                  <a:cubicBezTo>
                    <a:pt x="1144" y="35"/>
                    <a:pt x="1133" y="49"/>
                    <a:pt x="1119" y="71"/>
                  </a:cubicBezTo>
                  <a:cubicBezTo>
                    <a:pt x="1108" y="82"/>
                    <a:pt x="1096" y="93"/>
                    <a:pt x="1085" y="118"/>
                  </a:cubicBezTo>
                  <a:cubicBezTo>
                    <a:pt x="1085" y="141"/>
                    <a:pt x="1074" y="152"/>
                    <a:pt x="1074" y="174"/>
                  </a:cubicBezTo>
                  <a:cubicBezTo>
                    <a:pt x="1074" y="188"/>
                    <a:pt x="1085" y="211"/>
                    <a:pt x="1085" y="222"/>
                  </a:cubicBezTo>
                  <a:lnTo>
                    <a:pt x="1085" y="233"/>
                  </a:lnTo>
                  <a:cubicBezTo>
                    <a:pt x="1085" y="244"/>
                    <a:pt x="1074" y="258"/>
                    <a:pt x="1074" y="269"/>
                  </a:cubicBezTo>
                  <a:cubicBezTo>
                    <a:pt x="1074" y="281"/>
                    <a:pt x="1063" y="292"/>
                    <a:pt x="1049" y="292"/>
                  </a:cubicBezTo>
                  <a:cubicBezTo>
                    <a:pt x="1049" y="292"/>
                    <a:pt x="1038" y="303"/>
                    <a:pt x="1015" y="303"/>
                  </a:cubicBezTo>
                  <a:cubicBezTo>
                    <a:pt x="1004" y="303"/>
                    <a:pt x="1004" y="303"/>
                    <a:pt x="993" y="314"/>
                  </a:cubicBezTo>
                  <a:cubicBezTo>
                    <a:pt x="979" y="314"/>
                    <a:pt x="968" y="314"/>
                    <a:pt x="968" y="328"/>
                  </a:cubicBezTo>
                  <a:cubicBezTo>
                    <a:pt x="957" y="351"/>
                    <a:pt x="945" y="362"/>
                    <a:pt x="945" y="373"/>
                  </a:cubicBezTo>
                  <a:lnTo>
                    <a:pt x="945" y="384"/>
                  </a:lnTo>
                  <a:cubicBezTo>
                    <a:pt x="945" y="432"/>
                    <a:pt x="957" y="468"/>
                    <a:pt x="968" y="490"/>
                  </a:cubicBezTo>
                  <a:lnTo>
                    <a:pt x="968" y="502"/>
                  </a:lnTo>
                  <a:cubicBezTo>
                    <a:pt x="968" y="513"/>
                    <a:pt x="957" y="524"/>
                    <a:pt x="957" y="538"/>
                  </a:cubicBezTo>
                  <a:cubicBezTo>
                    <a:pt x="945" y="549"/>
                    <a:pt x="934" y="560"/>
                    <a:pt x="934" y="560"/>
                  </a:cubicBezTo>
                  <a:lnTo>
                    <a:pt x="864" y="560"/>
                  </a:lnTo>
                  <a:cubicBezTo>
                    <a:pt x="853" y="571"/>
                    <a:pt x="839" y="571"/>
                    <a:pt x="828" y="583"/>
                  </a:cubicBezTo>
                  <a:cubicBezTo>
                    <a:pt x="828" y="594"/>
                    <a:pt x="828" y="608"/>
                    <a:pt x="817" y="608"/>
                  </a:cubicBezTo>
                  <a:lnTo>
                    <a:pt x="817" y="619"/>
                  </a:lnTo>
                  <a:lnTo>
                    <a:pt x="794" y="619"/>
                  </a:lnTo>
                  <a:cubicBezTo>
                    <a:pt x="794" y="608"/>
                    <a:pt x="783" y="594"/>
                    <a:pt x="783" y="594"/>
                  </a:cubicBezTo>
                  <a:cubicBezTo>
                    <a:pt x="769" y="583"/>
                    <a:pt x="758" y="571"/>
                    <a:pt x="747" y="560"/>
                  </a:cubicBezTo>
                  <a:lnTo>
                    <a:pt x="724" y="560"/>
                  </a:lnTo>
                  <a:cubicBezTo>
                    <a:pt x="713" y="560"/>
                    <a:pt x="688" y="571"/>
                    <a:pt x="677" y="571"/>
                  </a:cubicBezTo>
                  <a:cubicBezTo>
                    <a:pt x="666" y="583"/>
                    <a:pt x="655" y="594"/>
                    <a:pt x="655" y="594"/>
                  </a:cubicBezTo>
                  <a:lnTo>
                    <a:pt x="618" y="594"/>
                  </a:lnTo>
                  <a:lnTo>
                    <a:pt x="618" y="583"/>
                  </a:lnTo>
                  <a:lnTo>
                    <a:pt x="607" y="571"/>
                  </a:lnTo>
                  <a:cubicBezTo>
                    <a:pt x="596" y="571"/>
                    <a:pt x="585" y="560"/>
                    <a:pt x="573" y="560"/>
                  </a:cubicBezTo>
                  <a:cubicBezTo>
                    <a:pt x="548" y="560"/>
                    <a:pt x="526" y="583"/>
                    <a:pt x="515" y="594"/>
                  </a:cubicBezTo>
                  <a:cubicBezTo>
                    <a:pt x="490" y="608"/>
                    <a:pt x="478" y="630"/>
                    <a:pt x="478" y="653"/>
                  </a:cubicBezTo>
                  <a:cubicBezTo>
                    <a:pt x="467" y="689"/>
                    <a:pt x="467" y="711"/>
                    <a:pt x="456" y="734"/>
                  </a:cubicBezTo>
                  <a:lnTo>
                    <a:pt x="445" y="748"/>
                  </a:lnTo>
                  <a:cubicBezTo>
                    <a:pt x="434" y="748"/>
                    <a:pt x="420" y="759"/>
                    <a:pt x="408" y="759"/>
                  </a:cubicBezTo>
                  <a:lnTo>
                    <a:pt x="327" y="759"/>
                  </a:lnTo>
                  <a:cubicBezTo>
                    <a:pt x="316" y="770"/>
                    <a:pt x="316" y="770"/>
                    <a:pt x="316" y="781"/>
                  </a:cubicBezTo>
                  <a:cubicBezTo>
                    <a:pt x="305" y="781"/>
                    <a:pt x="305" y="792"/>
                    <a:pt x="305" y="792"/>
                  </a:cubicBezTo>
                  <a:cubicBezTo>
                    <a:pt x="305" y="817"/>
                    <a:pt x="316" y="829"/>
                    <a:pt x="316" y="840"/>
                  </a:cubicBezTo>
                  <a:lnTo>
                    <a:pt x="316" y="851"/>
                  </a:lnTo>
                  <a:lnTo>
                    <a:pt x="316" y="862"/>
                  </a:lnTo>
                  <a:cubicBezTo>
                    <a:pt x="327" y="862"/>
                    <a:pt x="327" y="873"/>
                    <a:pt x="327" y="887"/>
                  </a:cubicBezTo>
                  <a:lnTo>
                    <a:pt x="327" y="921"/>
                  </a:lnTo>
                  <a:lnTo>
                    <a:pt x="327" y="980"/>
                  </a:lnTo>
                  <a:cubicBezTo>
                    <a:pt x="350" y="1038"/>
                    <a:pt x="397" y="1072"/>
                    <a:pt x="420" y="1108"/>
                  </a:cubicBezTo>
                  <a:cubicBezTo>
                    <a:pt x="445" y="1131"/>
                    <a:pt x="456" y="1167"/>
                    <a:pt x="456" y="1189"/>
                  </a:cubicBezTo>
                  <a:cubicBezTo>
                    <a:pt x="456" y="1201"/>
                    <a:pt x="456" y="1212"/>
                    <a:pt x="445" y="1223"/>
                  </a:cubicBezTo>
                  <a:cubicBezTo>
                    <a:pt x="434" y="1237"/>
                    <a:pt x="420" y="1237"/>
                    <a:pt x="408" y="1237"/>
                  </a:cubicBezTo>
                  <a:cubicBezTo>
                    <a:pt x="397" y="1237"/>
                    <a:pt x="386" y="1237"/>
                    <a:pt x="375" y="1223"/>
                  </a:cubicBezTo>
                  <a:cubicBezTo>
                    <a:pt x="375" y="1223"/>
                    <a:pt x="364" y="1212"/>
                    <a:pt x="364" y="1201"/>
                  </a:cubicBezTo>
                  <a:lnTo>
                    <a:pt x="364" y="1178"/>
                  </a:lnTo>
                  <a:lnTo>
                    <a:pt x="339" y="1178"/>
                  </a:lnTo>
                  <a:cubicBezTo>
                    <a:pt x="316" y="1178"/>
                    <a:pt x="294" y="1189"/>
                    <a:pt x="269" y="1201"/>
                  </a:cubicBezTo>
                  <a:lnTo>
                    <a:pt x="257" y="1212"/>
                  </a:lnTo>
                  <a:lnTo>
                    <a:pt x="257" y="1223"/>
                  </a:lnTo>
                  <a:cubicBezTo>
                    <a:pt x="269" y="1270"/>
                    <a:pt x="269" y="1329"/>
                    <a:pt x="269" y="1377"/>
                  </a:cubicBezTo>
                  <a:lnTo>
                    <a:pt x="269" y="1388"/>
                  </a:lnTo>
                  <a:lnTo>
                    <a:pt x="269" y="1399"/>
                  </a:lnTo>
                  <a:cubicBezTo>
                    <a:pt x="269" y="1410"/>
                    <a:pt x="257" y="1410"/>
                    <a:pt x="257" y="1421"/>
                  </a:cubicBezTo>
                  <a:cubicBezTo>
                    <a:pt x="210" y="1433"/>
                    <a:pt x="165" y="1447"/>
                    <a:pt x="118" y="1458"/>
                  </a:cubicBezTo>
                  <a:cubicBezTo>
                    <a:pt x="95" y="1469"/>
                    <a:pt x="70" y="1480"/>
                    <a:pt x="48" y="1503"/>
                  </a:cubicBezTo>
                  <a:cubicBezTo>
                    <a:pt x="25" y="1517"/>
                    <a:pt x="0" y="1539"/>
                    <a:pt x="0" y="1572"/>
                  </a:cubicBezTo>
                  <a:lnTo>
                    <a:pt x="0" y="1598"/>
                  </a:lnTo>
                  <a:cubicBezTo>
                    <a:pt x="0" y="1642"/>
                    <a:pt x="14" y="1668"/>
                    <a:pt x="25" y="1701"/>
                  </a:cubicBezTo>
                  <a:cubicBezTo>
                    <a:pt x="48" y="1737"/>
                    <a:pt x="59" y="1760"/>
                    <a:pt x="59" y="1796"/>
                  </a:cubicBezTo>
                  <a:cubicBezTo>
                    <a:pt x="59" y="1819"/>
                    <a:pt x="48" y="1830"/>
                    <a:pt x="48" y="1841"/>
                  </a:cubicBezTo>
                  <a:cubicBezTo>
                    <a:pt x="37" y="1866"/>
                    <a:pt x="25" y="1877"/>
                    <a:pt x="14" y="1900"/>
                  </a:cubicBezTo>
                  <a:lnTo>
                    <a:pt x="14" y="1958"/>
                  </a:lnTo>
                  <a:cubicBezTo>
                    <a:pt x="14" y="2028"/>
                    <a:pt x="37" y="2098"/>
                    <a:pt x="70" y="2157"/>
                  </a:cubicBezTo>
                  <a:cubicBezTo>
                    <a:pt x="106" y="2190"/>
                    <a:pt x="129" y="2238"/>
                    <a:pt x="154" y="2272"/>
                  </a:cubicBezTo>
                  <a:cubicBezTo>
                    <a:pt x="154" y="2297"/>
                    <a:pt x="165" y="2308"/>
                    <a:pt x="165" y="2330"/>
                  </a:cubicBezTo>
                  <a:cubicBezTo>
                    <a:pt x="176" y="2355"/>
                    <a:pt x="176" y="2378"/>
                    <a:pt x="199" y="2400"/>
                  </a:cubicBezTo>
                  <a:cubicBezTo>
                    <a:pt x="224" y="2425"/>
                    <a:pt x="246" y="2425"/>
                    <a:pt x="257" y="2425"/>
                  </a:cubicBezTo>
                  <a:cubicBezTo>
                    <a:pt x="280" y="2436"/>
                    <a:pt x="294" y="2436"/>
                    <a:pt x="294" y="2448"/>
                  </a:cubicBezTo>
                  <a:cubicBezTo>
                    <a:pt x="305" y="2448"/>
                    <a:pt x="305" y="2448"/>
                    <a:pt x="316" y="2459"/>
                  </a:cubicBezTo>
                  <a:cubicBezTo>
                    <a:pt x="316" y="2470"/>
                    <a:pt x="327" y="2481"/>
                    <a:pt x="339" y="2495"/>
                  </a:cubicBezTo>
                  <a:lnTo>
                    <a:pt x="386" y="2495"/>
                  </a:lnTo>
                  <a:cubicBezTo>
                    <a:pt x="427" y="2505"/>
                    <a:pt x="474" y="2506"/>
                    <a:pt x="516" y="2506"/>
                  </a:cubicBezTo>
                  <a:lnTo>
                    <a:pt x="516" y="2506"/>
                  </a:lnTo>
                  <a:cubicBezTo>
                    <a:pt x="515" y="2517"/>
                    <a:pt x="515" y="2528"/>
                    <a:pt x="515" y="2540"/>
                  </a:cubicBezTo>
                  <a:lnTo>
                    <a:pt x="515" y="2565"/>
                  </a:lnTo>
                  <a:cubicBezTo>
                    <a:pt x="515" y="2599"/>
                    <a:pt x="537" y="2635"/>
                    <a:pt x="573" y="2646"/>
                  </a:cubicBezTo>
                  <a:lnTo>
                    <a:pt x="573" y="2657"/>
                  </a:lnTo>
                  <a:cubicBezTo>
                    <a:pt x="573" y="2657"/>
                    <a:pt x="585" y="2657"/>
                    <a:pt x="585" y="2669"/>
                  </a:cubicBezTo>
                  <a:cubicBezTo>
                    <a:pt x="585" y="2680"/>
                    <a:pt x="596" y="2691"/>
                    <a:pt x="607" y="2705"/>
                  </a:cubicBezTo>
                  <a:cubicBezTo>
                    <a:pt x="618" y="2716"/>
                    <a:pt x="618" y="2716"/>
                    <a:pt x="629" y="2727"/>
                  </a:cubicBezTo>
                  <a:cubicBezTo>
                    <a:pt x="688" y="2761"/>
                    <a:pt x="736" y="2808"/>
                    <a:pt x="769" y="2856"/>
                  </a:cubicBezTo>
                  <a:cubicBezTo>
                    <a:pt x="794" y="2901"/>
                    <a:pt x="817" y="2926"/>
                    <a:pt x="853" y="2959"/>
                  </a:cubicBezTo>
                  <a:cubicBezTo>
                    <a:pt x="864" y="2985"/>
                    <a:pt x="887" y="3007"/>
                    <a:pt x="909" y="3029"/>
                  </a:cubicBezTo>
                  <a:cubicBezTo>
                    <a:pt x="923" y="3040"/>
                    <a:pt x="923" y="3054"/>
                    <a:pt x="923" y="3054"/>
                  </a:cubicBezTo>
                  <a:lnTo>
                    <a:pt x="923" y="3066"/>
                  </a:lnTo>
                  <a:cubicBezTo>
                    <a:pt x="923" y="3077"/>
                    <a:pt x="923" y="3099"/>
                    <a:pt x="909" y="3110"/>
                  </a:cubicBezTo>
                  <a:cubicBezTo>
                    <a:pt x="898" y="3136"/>
                    <a:pt x="875" y="3158"/>
                    <a:pt x="875" y="3194"/>
                  </a:cubicBezTo>
                  <a:cubicBezTo>
                    <a:pt x="875" y="3228"/>
                    <a:pt x="898" y="3264"/>
                    <a:pt x="934" y="3275"/>
                  </a:cubicBezTo>
                  <a:cubicBezTo>
                    <a:pt x="945" y="3287"/>
                    <a:pt x="968" y="3287"/>
                    <a:pt x="979" y="3287"/>
                  </a:cubicBezTo>
                  <a:cubicBezTo>
                    <a:pt x="1004" y="3287"/>
                    <a:pt x="1015" y="3287"/>
                    <a:pt x="1026" y="3275"/>
                  </a:cubicBezTo>
                  <a:cubicBezTo>
                    <a:pt x="1049" y="3275"/>
                    <a:pt x="1063" y="3264"/>
                    <a:pt x="1074" y="3264"/>
                  </a:cubicBezTo>
                  <a:cubicBezTo>
                    <a:pt x="1085" y="3264"/>
                    <a:pt x="1096" y="3264"/>
                    <a:pt x="1108" y="3275"/>
                  </a:cubicBezTo>
                  <a:lnTo>
                    <a:pt x="1133" y="3275"/>
                  </a:lnTo>
                  <a:cubicBezTo>
                    <a:pt x="1144" y="3275"/>
                    <a:pt x="1166" y="3275"/>
                    <a:pt x="1177" y="3250"/>
                  </a:cubicBezTo>
                  <a:cubicBezTo>
                    <a:pt x="1189" y="3250"/>
                    <a:pt x="1189" y="3228"/>
                    <a:pt x="1189" y="3217"/>
                  </a:cubicBezTo>
                  <a:cubicBezTo>
                    <a:pt x="1189" y="3205"/>
                    <a:pt x="1189" y="3180"/>
                    <a:pt x="1166" y="3169"/>
                  </a:cubicBezTo>
                  <a:cubicBezTo>
                    <a:pt x="1155" y="3158"/>
                    <a:pt x="1133" y="3147"/>
                    <a:pt x="1108" y="3147"/>
                  </a:cubicBezTo>
                  <a:cubicBezTo>
                    <a:pt x="1096" y="3136"/>
                    <a:pt x="1085" y="3136"/>
                    <a:pt x="1074" y="3124"/>
                  </a:cubicBezTo>
                  <a:lnTo>
                    <a:pt x="1074" y="3110"/>
                  </a:lnTo>
                  <a:cubicBezTo>
                    <a:pt x="1074" y="3099"/>
                    <a:pt x="1074" y="3088"/>
                    <a:pt x="1085" y="3088"/>
                  </a:cubicBezTo>
                  <a:cubicBezTo>
                    <a:pt x="1085" y="3088"/>
                    <a:pt x="1096" y="3077"/>
                    <a:pt x="1108" y="3077"/>
                  </a:cubicBezTo>
                  <a:cubicBezTo>
                    <a:pt x="1119" y="3066"/>
                    <a:pt x="1119" y="3054"/>
                    <a:pt x="1133" y="3040"/>
                  </a:cubicBezTo>
                  <a:lnTo>
                    <a:pt x="1133" y="3018"/>
                  </a:lnTo>
                  <a:lnTo>
                    <a:pt x="1133" y="2985"/>
                  </a:lnTo>
                  <a:cubicBezTo>
                    <a:pt x="1119" y="2959"/>
                    <a:pt x="1108" y="2937"/>
                    <a:pt x="1108" y="2926"/>
                  </a:cubicBezTo>
                  <a:cubicBezTo>
                    <a:pt x="1108" y="2915"/>
                    <a:pt x="1119" y="2915"/>
                    <a:pt x="1119" y="2901"/>
                  </a:cubicBezTo>
                  <a:cubicBezTo>
                    <a:pt x="1119" y="2892"/>
                    <a:pt x="1132" y="2890"/>
                    <a:pt x="1144" y="2890"/>
                  </a:cubicBezTo>
                  <a:lnTo>
                    <a:pt x="1144" y="2890"/>
                  </a:lnTo>
                  <a:lnTo>
                    <a:pt x="1144" y="2926"/>
                  </a:lnTo>
                  <a:cubicBezTo>
                    <a:pt x="1144" y="2926"/>
                    <a:pt x="1144" y="2937"/>
                    <a:pt x="1155" y="2948"/>
                  </a:cubicBezTo>
                  <a:cubicBezTo>
                    <a:pt x="1155" y="2959"/>
                    <a:pt x="1155" y="2971"/>
                    <a:pt x="1166" y="2971"/>
                  </a:cubicBezTo>
                  <a:lnTo>
                    <a:pt x="1177" y="2985"/>
                  </a:lnTo>
                  <a:lnTo>
                    <a:pt x="1189" y="2985"/>
                  </a:lnTo>
                  <a:cubicBezTo>
                    <a:pt x="1189" y="2985"/>
                    <a:pt x="1177" y="2996"/>
                    <a:pt x="1177" y="3007"/>
                  </a:cubicBezTo>
                  <a:cubicBezTo>
                    <a:pt x="1177" y="3029"/>
                    <a:pt x="1189" y="3040"/>
                    <a:pt x="1203" y="3054"/>
                  </a:cubicBezTo>
                  <a:cubicBezTo>
                    <a:pt x="1214" y="3066"/>
                    <a:pt x="1225" y="3077"/>
                    <a:pt x="1247" y="3077"/>
                  </a:cubicBezTo>
                  <a:lnTo>
                    <a:pt x="1259" y="3077"/>
                  </a:lnTo>
                  <a:cubicBezTo>
                    <a:pt x="1273" y="3077"/>
                    <a:pt x="1295" y="3077"/>
                    <a:pt x="1306" y="3066"/>
                  </a:cubicBezTo>
                  <a:cubicBezTo>
                    <a:pt x="1313" y="3059"/>
                    <a:pt x="1320" y="3051"/>
                    <a:pt x="1324" y="3040"/>
                  </a:cubicBezTo>
                  <a:lnTo>
                    <a:pt x="1354" y="3040"/>
                  </a:lnTo>
                  <a:cubicBezTo>
                    <a:pt x="1354" y="3054"/>
                    <a:pt x="1354" y="3066"/>
                    <a:pt x="1365" y="3088"/>
                  </a:cubicBezTo>
                  <a:lnTo>
                    <a:pt x="1365" y="3110"/>
                  </a:lnTo>
                  <a:cubicBezTo>
                    <a:pt x="1376" y="3124"/>
                    <a:pt x="1376" y="3136"/>
                    <a:pt x="1387" y="3136"/>
                  </a:cubicBezTo>
                  <a:cubicBezTo>
                    <a:pt x="1398" y="3147"/>
                    <a:pt x="1424" y="3147"/>
                    <a:pt x="1435" y="3147"/>
                  </a:cubicBezTo>
                  <a:lnTo>
                    <a:pt x="1468" y="3147"/>
                  </a:lnTo>
                  <a:cubicBezTo>
                    <a:pt x="1482" y="3147"/>
                    <a:pt x="1493" y="3158"/>
                    <a:pt x="1516" y="3169"/>
                  </a:cubicBezTo>
                  <a:cubicBezTo>
                    <a:pt x="1527" y="3180"/>
                    <a:pt x="1552" y="3194"/>
                    <a:pt x="1575" y="3194"/>
                  </a:cubicBezTo>
                  <a:lnTo>
                    <a:pt x="1597" y="3194"/>
                  </a:lnTo>
                  <a:cubicBezTo>
                    <a:pt x="1608" y="3180"/>
                    <a:pt x="1622" y="3169"/>
                    <a:pt x="1633" y="3169"/>
                  </a:cubicBezTo>
                  <a:lnTo>
                    <a:pt x="1633" y="3136"/>
                  </a:lnTo>
                  <a:lnTo>
                    <a:pt x="1633" y="3088"/>
                  </a:lnTo>
                  <a:lnTo>
                    <a:pt x="1633" y="3077"/>
                  </a:lnTo>
                  <a:lnTo>
                    <a:pt x="1644" y="3066"/>
                  </a:lnTo>
                  <a:lnTo>
                    <a:pt x="1678" y="3077"/>
                  </a:lnTo>
                  <a:lnTo>
                    <a:pt x="1678" y="3040"/>
                  </a:lnTo>
                  <a:cubicBezTo>
                    <a:pt x="1678" y="3018"/>
                    <a:pt x="1667" y="2996"/>
                    <a:pt x="1667" y="2985"/>
                  </a:cubicBezTo>
                  <a:cubicBezTo>
                    <a:pt x="1667" y="2971"/>
                    <a:pt x="1678" y="2959"/>
                    <a:pt x="1678" y="2959"/>
                  </a:cubicBezTo>
                  <a:cubicBezTo>
                    <a:pt x="1678" y="2948"/>
                    <a:pt x="1678" y="2948"/>
                    <a:pt x="1692" y="2948"/>
                  </a:cubicBezTo>
                  <a:cubicBezTo>
                    <a:pt x="1692" y="2937"/>
                    <a:pt x="1703" y="2937"/>
                    <a:pt x="1714" y="2937"/>
                  </a:cubicBezTo>
                  <a:cubicBezTo>
                    <a:pt x="1726" y="2937"/>
                    <a:pt x="1748" y="2937"/>
                    <a:pt x="1762" y="2926"/>
                  </a:cubicBezTo>
                  <a:cubicBezTo>
                    <a:pt x="1773" y="2915"/>
                    <a:pt x="1773" y="2901"/>
                    <a:pt x="1773" y="2901"/>
                  </a:cubicBezTo>
                  <a:cubicBezTo>
                    <a:pt x="1784" y="2889"/>
                    <a:pt x="1784" y="2889"/>
                    <a:pt x="1784" y="2878"/>
                  </a:cubicBezTo>
                  <a:cubicBezTo>
                    <a:pt x="1795" y="2878"/>
                    <a:pt x="1807" y="2867"/>
                    <a:pt x="1818" y="2867"/>
                  </a:cubicBezTo>
                  <a:cubicBezTo>
                    <a:pt x="1843" y="2867"/>
                    <a:pt x="1865" y="2878"/>
                    <a:pt x="1877" y="2889"/>
                  </a:cubicBezTo>
                  <a:cubicBezTo>
                    <a:pt x="1913" y="2901"/>
                    <a:pt x="1946" y="2926"/>
                    <a:pt x="1983" y="2926"/>
                  </a:cubicBezTo>
                  <a:cubicBezTo>
                    <a:pt x="2005" y="2926"/>
                    <a:pt x="2016" y="2926"/>
                    <a:pt x="2028" y="2915"/>
                  </a:cubicBezTo>
                  <a:cubicBezTo>
                    <a:pt x="2053" y="2901"/>
                    <a:pt x="2064" y="2878"/>
                    <a:pt x="2075" y="2867"/>
                  </a:cubicBezTo>
                  <a:cubicBezTo>
                    <a:pt x="2086" y="2856"/>
                    <a:pt x="2097" y="2856"/>
                    <a:pt x="2111" y="2845"/>
                  </a:cubicBezTo>
                  <a:cubicBezTo>
                    <a:pt x="2134" y="2845"/>
                    <a:pt x="2167" y="2820"/>
                    <a:pt x="2181" y="2786"/>
                  </a:cubicBezTo>
                  <a:lnTo>
                    <a:pt x="2181" y="2775"/>
                  </a:lnTo>
                  <a:cubicBezTo>
                    <a:pt x="2181" y="2750"/>
                    <a:pt x="2167" y="2738"/>
                    <a:pt x="2156" y="2727"/>
                  </a:cubicBezTo>
                  <a:cubicBezTo>
                    <a:pt x="2145" y="2716"/>
                    <a:pt x="2145" y="2716"/>
                    <a:pt x="2145" y="2705"/>
                  </a:cubicBezTo>
                  <a:lnTo>
                    <a:pt x="2134" y="2705"/>
                  </a:lnTo>
                  <a:cubicBezTo>
                    <a:pt x="2134" y="2691"/>
                    <a:pt x="2145" y="2669"/>
                    <a:pt x="2156" y="2657"/>
                  </a:cubicBezTo>
                  <a:cubicBezTo>
                    <a:pt x="2156" y="2657"/>
                    <a:pt x="2167" y="2657"/>
                    <a:pt x="2167" y="2646"/>
                  </a:cubicBezTo>
                  <a:cubicBezTo>
                    <a:pt x="2192" y="2646"/>
                    <a:pt x="2204" y="2635"/>
                    <a:pt x="2226" y="2621"/>
                  </a:cubicBezTo>
                  <a:cubicBezTo>
                    <a:pt x="2237" y="2621"/>
                    <a:pt x="2262" y="2610"/>
                    <a:pt x="2274" y="2587"/>
                  </a:cubicBezTo>
                  <a:cubicBezTo>
                    <a:pt x="2296" y="2565"/>
                    <a:pt x="2307" y="2529"/>
                    <a:pt x="2307" y="2506"/>
                  </a:cubicBezTo>
                  <a:cubicBezTo>
                    <a:pt x="2307" y="2459"/>
                    <a:pt x="2296" y="2425"/>
                    <a:pt x="2274" y="2378"/>
                  </a:cubicBezTo>
                  <a:cubicBezTo>
                    <a:pt x="2251" y="2341"/>
                    <a:pt x="2226" y="2319"/>
                    <a:pt x="2192" y="2308"/>
                  </a:cubicBezTo>
                  <a:cubicBezTo>
                    <a:pt x="2167" y="2297"/>
                    <a:pt x="2156" y="2297"/>
                    <a:pt x="2134" y="2297"/>
                  </a:cubicBezTo>
                  <a:lnTo>
                    <a:pt x="2053" y="2297"/>
                  </a:lnTo>
                  <a:cubicBezTo>
                    <a:pt x="2041" y="2286"/>
                    <a:pt x="2041" y="2286"/>
                    <a:pt x="2041" y="2272"/>
                  </a:cubicBezTo>
                  <a:cubicBezTo>
                    <a:pt x="2028" y="2272"/>
                    <a:pt x="2028" y="2260"/>
                    <a:pt x="2028" y="2260"/>
                  </a:cubicBezTo>
                  <a:cubicBezTo>
                    <a:pt x="2028" y="2249"/>
                    <a:pt x="2041" y="2227"/>
                    <a:pt x="2041" y="2216"/>
                  </a:cubicBezTo>
                  <a:cubicBezTo>
                    <a:pt x="2041" y="2202"/>
                    <a:pt x="2028" y="2190"/>
                    <a:pt x="2028" y="2179"/>
                  </a:cubicBezTo>
                  <a:cubicBezTo>
                    <a:pt x="2016" y="2157"/>
                    <a:pt x="2005" y="2146"/>
                    <a:pt x="1994" y="2146"/>
                  </a:cubicBezTo>
                  <a:cubicBezTo>
                    <a:pt x="1983" y="2132"/>
                    <a:pt x="1972" y="2132"/>
                    <a:pt x="1958" y="2121"/>
                  </a:cubicBezTo>
                  <a:cubicBezTo>
                    <a:pt x="1946" y="2121"/>
                    <a:pt x="1935" y="2109"/>
                    <a:pt x="1924" y="2109"/>
                  </a:cubicBezTo>
                  <a:lnTo>
                    <a:pt x="1924" y="2087"/>
                  </a:lnTo>
                  <a:cubicBezTo>
                    <a:pt x="1924" y="2087"/>
                    <a:pt x="1924" y="2076"/>
                    <a:pt x="1935" y="2062"/>
                  </a:cubicBezTo>
                  <a:cubicBezTo>
                    <a:pt x="1935" y="2051"/>
                    <a:pt x="1946" y="2039"/>
                    <a:pt x="1946" y="2028"/>
                  </a:cubicBezTo>
                  <a:cubicBezTo>
                    <a:pt x="1946" y="2028"/>
                    <a:pt x="1946" y="2017"/>
                    <a:pt x="1935" y="2017"/>
                  </a:cubicBezTo>
                  <a:cubicBezTo>
                    <a:pt x="1935" y="2006"/>
                    <a:pt x="1935" y="1992"/>
                    <a:pt x="1924" y="1992"/>
                  </a:cubicBezTo>
                  <a:lnTo>
                    <a:pt x="1902" y="1992"/>
                  </a:lnTo>
                  <a:lnTo>
                    <a:pt x="1888" y="1981"/>
                  </a:lnTo>
                  <a:cubicBezTo>
                    <a:pt x="1888" y="1970"/>
                    <a:pt x="1902" y="1947"/>
                    <a:pt x="1913" y="1936"/>
                  </a:cubicBezTo>
                  <a:cubicBezTo>
                    <a:pt x="1924" y="1911"/>
                    <a:pt x="1935" y="1888"/>
                    <a:pt x="1935" y="1866"/>
                  </a:cubicBezTo>
                  <a:lnTo>
                    <a:pt x="1935" y="1852"/>
                  </a:lnTo>
                  <a:cubicBezTo>
                    <a:pt x="1924" y="1830"/>
                    <a:pt x="1913" y="1819"/>
                    <a:pt x="1913" y="1807"/>
                  </a:cubicBezTo>
                  <a:lnTo>
                    <a:pt x="1888" y="1782"/>
                  </a:lnTo>
                  <a:cubicBezTo>
                    <a:pt x="1888" y="1771"/>
                    <a:pt x="1902" y="1760"/>
                    <a:pt x="1902" y="1749"/>
                  </a:cubicBezTo>
                  <a:lnTo>
                    <a:pt x="1902" y="1737"/>
                  </a:lnTo>
                  <a:cubicBezTo>
                    <a:pt x="1902" y="1726"/>
                    <a:pt x="1888" y="1726"/>
                    <a:pt x="1888" y="1712"/>
                  </a:cubicBezTo>
                  <a:cubicBezTo>
                    <a:pt x="1877" y="1701"/>
                    <a:pt x="1865" y="1701"/>
                    <a:pt x="1865" y="1701"/>
                  </a:cubicBezTo>
                  <a:cubicBezTo>
                    <a:pt x="1843" y="1690"/>
                    <a:pt x="1832" y="1679"/>
                    <a:pt x="1818" y="1656"/>
                  </a:cubicBezTo>
                  <a:cubicBezTo>
                    <a:pt x="1807" y="1631"/>
                    <a:pt x="1795" y="1620"/>
                    <a:pt x="1795" y="1609"/>
                  </a:cubicBezTo>
                  <a:cubicBezTo>
                    <a:pt x="1807" y="1586"/>
                    <a:pt x="1818" y="1561"/>
                    <a:pt x="1818" y="1539"/>
                  </a:cubicBezTo>
                  <a:lnTo>
                    <a:pt x="1818" y="1528"/>
                  </a:lnTo>
                  <a:lnTo>
                    <a:pt x="1832" y="1517"/>
                  </a:lnTo>
                  <a:lnTo>
                    <a:pt x="1843" y="1503"/>
                  </a:lnTo>
                  <a:cubicBezTo>
                    <a:pt x="1854" y="1503"/>
                    <a:pt x="1877" y="1517"/>
                    <a:pt x="1888" y="1528"/>
                  </a:cubicBezTo>
                  <a:cubicBezTo>
                    <a:pt x="1902" y="1539"/>
                    <a:pt x="1913" y="1550"/>
                    <a:pt x="1935" y="1561"/>
                  </a:cubicBezTo>
                  <a:cubicBezTo>
                    <a:pt x="1946" y="1561"/>
                    <a:pt x="1958" y="1572"/>
                    <a:pt x="1983" y="1572"/>
                  </a:cubicBezTo>
                  <a:lnTo>
                    <a:pt x="2016" y="1572"/>
                  </a:lnTo>
                  <a:lnTo>
                    <a:pt x="2016" y="1550"/>
                  </a:lnTo>
                  <a:lnTo>
                    <a:pt x="2016" y="1528"/>
                  </a:lnTo>
                  <a:cubicBezTo>
                    <a:pt x="2016" y="1503"/>
                    <a:pt x="2005" y="1469"/>
                    <a:pt x="1994" y="1447"/>
                  </a:cubicBezTo>
                  <a:cubicBezTo>
                    <a:pt x="1983" y="1410"/>
                    <a:pt x="1972" y="1388"/>
                    <a:pt x="1958" y="1352"/>
                  </a:cubicBezTo>
                  <a:cubicBezTo>
                    <a:pt x="1958" y="1340"/>
                    <a:pt x="1972" y="1329"/>
                    <a:pt x="1972" y="1318"/>
                  </a:cubicBezTo>
                  <a:cubicBezTo>
                    <a:pt x="1983" y="1307"/>
                    <a:pt x="1983" y="1307"/>
                    <a:pt x="1994" y="1307"/>
                  </a:cubicBezTo>
                  <a:lnTo>
                    <a:pt x="2005" y="1293"/>
                  </a:lnTo>
                  <a:cubicBezTo>
                    <a:pt x="2016" y="1293"/>
                    <a:pt x="2028" y="1293"/>
                    <a:pt x="2041" y="1282"/>
                  </a:cubicBezTo>
                  <a:lnTo>
                    <a:pt x="2041" y="1259"/>
                  </a:lnTo>
                  <a:lnTo>
                    <a:pt x="2041" y="1237"/>
                  </a:lnTo>
                  <a:lnTo>
                    <a:pt x="2041" y="1223"/>
                  </a:lnTo>
                  <a:lnTo>
                    <a:pt x="2041" y="1212"/>
                  </a:lnTo>
                  <a:cubicBezTo>
                    <a:pt x="2053" y="1212"/>
                    <a:pt x="2064" y="1201"/>
                    <a:pt x="2064" y="1189"/>
                  </a:cubicBezTo>
                  <a:cubicBezTo>
                    <a:pt x="2075" y="1178"/>
                    <a:pt x="2086" y="1167"/>
                    <a:pt x="2086" y="1153"/>
                  </a:cubicBezTo>
                  <a:lnTo>
                    <a:pt x="2111" y="1119"/>
                  </a:lnTo>
                  <a:lnTo>
                    <a:pt x="2075" y="1119"/>
                  </a:lnTo>
                  <a:cubicBezTo>
                    <a:pt x="2053" y="1119"/>
                    <a:pt x="2041" y="1119"/>
                    <a:pt x="2028" y="1108"/>
                  </a:cubicBezTo>
                  <a:cubicBezTo>
                    <a:pt x="2016" y="1108"/>
                    <a:pt x="2016" y="1097"/>
                    <a:pt x="1994" y="1083"/>
                  </a:cubicBezTo>
                  <a:lnTo>
                    <a:pt x="1972" y="1083"/>
                  </a:lnTo>
                  <a:cubicBezTo>
                    <a:pt x="1946" y="1083"/>
                    <a:pt x="1935" y="1083"/>
                    <a:pt x="1913" y="1097"/>
                  </a:cubicBezTo>
                  <a:cubicBezTo>
                    <a:pt x="1902" y="1097"/>
                    <a:pt x="1888" y="1108"/>
                    <a:pt x="1877" y="1119"/>
                  </a:cubicBezTo>
                  <a:cubicBezTo>
                    <a:pt x="1854" y="1131"/>
                    <a:pt x="1832" y="1142"/>
                    <a:pt x="1807" y="1142"/>
                  </a:cubicBezTo>
                  <a:cubicBezTo>
                    <a:pt x="1795" y="1142"/>
                    <a:pt x="1795" y="1131"/>
                    <a:pt x="1784" y="1131"/>
                  </a:cubicBezTo>
                  <a:cubicBezTo>
                    <a:pt x="1773" y="1131"/>
                    <a:pt x="1762" y="1119"/>
                    <a:pt x="1762" y="1108"/>
                  </a:cubicBezTo>
                  <a:cubicBezTo>
                    <a:pt x="1748" y="1097"/>
                    <a:pt x="1748" y="1097"/>
                    <a:pt x="1748" y="1083"/>
                  </a:cubicBezTo>
                  <a:cubicBezTo>
                    <a:pt x="1748" y="1072"/>
                    <a:pt x="1762" y="1050"/>
                    <a:pt x="1762" y="1027"/>
                  </a:cubicBezTo>
                  <a:cubicBezTo>
                    <a:pt x="1762" y="1027"/>
                    <a:pt x="1748" y="1013"/>
                    <a:pt x="1748" y="1002"/>
                  </a:cubicBezTo>
                  <a:cubicBezTo>
                    <a:pt x="1737" y="957"/>
                    <a:pt x="1714" y="943"/>
                    <a:pt x="1692" y="921"/>
                  </a:cubicBezTo>
                  <a:cubicBezTo>
                    <a:pt x="1678" y="910"/>
                    <a:pt x="1667" y="899"/>
                    <a:pt x="1656" y="887"/>
                  </a:cubicBezTo>
                  <a:cubicBezTo>
                    <a:pt x="1656" y="887"/>
                    <a:pt x="1644" y="873"/>
                    <a:pt x="1644" y="862"/>
                  </a:cubicBezTo>
                  <a:lnTo>
                    <a:pt x="1644" y="851"/>
                  </a:lnTo>
                  <a:lnTo>
                    <a:pt x="1656" y="851"/>
                  </a:lnTo>
                  <a:cubicBezTo>
                    <a:pt x="1667" y="851"/>
                    <a:pt x="1667" y="840"/>
                    <a:pt x="1678" y="840"/>
                  </a:cubicBezTo>
                  <a:cubicBezTo>
                    <a:pt x="1703" y="829"/>
                    <a:pt x="1714" y="817"/>
                    <a:pt x="1726" y="804"/>
                  </a:cubicBezTo>
                  <a:cubicBezTo>
                    <a:pt x="1726" y="792"/>
                    <a:pt x="1737" y="781"/>
                    <a:pt x="1737" y="770"/>
                  </a:cubicBezTo>
                  <a:cubicBezTo>
                    <a:pt x="1748" y="759"/>
                    <a:pt x="1748" y="734"/>
                    <a:pt x="1748" y="711"/>
                  </a:cubicBezTo>
                  <a:cubicBezTo>
                    <a:pt x="1748" y="700"/>
                    <a:pt x="1748" y="689"/>
                    <a:pt x="1737" y="678"/>
                  </a:cubicBezTo>
                  <a:cubicBezTo>
                    <a:pt x="1737" y="664"/>
                    <a:pt x="1726" y="653"/>
                    <a:pt x="1714" y="653"/>
                  </a:cubicBezTo>
                  <a:lnTo>
                    <a:pt x="1656" y="653"/>
                  </a:lnTo>
                  <a:cubicBezTo>
                    <a:pt x="1633" y="653"/>
                    <a:pt x="1622" y="641"/>
                    <a:pt x="1608" y="630"/>
                  </a:cubicBezTo>
                  <a:cubicBezTo>
                    <a:pt x="1597" y="619"/>
                    <a:pt x="1597" y="619"/>
                    <a:pt x="1597" y="608"/>
                  </a:cubicBezTo>
                  <a:cubicBezTo>
                    <a:pt x="1586" y="608"/>
                    <a:pt x="1586" y="594"/>
                    <a:pt x="1586" y="583"/>
                  </a:cubicBezTo>
                  <a:cubicBezTo>
                    <a:pt x="1586" y="571"/>
                    <a:pt x="1586" y="560"/>
                    <a:pt x="1575" y="538"/>
                  </a:cubicBezTo>
                  <a:cubicBezTo>
                    <a:pt x="1563" y="538"/>
                    <a:pt x="1563" y="524"/>
                    <a:pt x="1552" y="524"/>
                  </a:cubicBezTo>
                  <a:lnTo>
                    <a:pt x="1552" y="513"/>
                  </a:lnTo>
                  <a:lnTo>
                    <a:pt x="1552" y="502"/>
                  </a:lnTo>
                  <a:cubicBezTo>
                    <a:pt x="1552" y="490"/>
                    <a:pt x="1563" y="479"/>
                    <a:pt x="1586" y="468"/>
                  </a:cubicBezTo>
                  <a:cubicBezTo>
                    <a:pt x="1597" y="443"/>
                    <a:pt x="1608" y="420"/>
                    <a:pt x="1608" y="398"/>
                  </a:cubicBezTo>
                  <a:lnTo>
                    <a:pt x="1608" y="362"/>
                  </a:lnTo>
                  <a:cubicBezTo>
                    <a:pt x="1597" y="351"/>
                    <a:pt x="1586" y="339"/>
                    <a:pt x="1575" y="328"/>
                  </a:cubicBezTo>
                  <a:cubicBezTo>
                    <a:pt x="1563" y="314"/>
                    <a:pt x="1563" y="303"/>
                    <a:pt x="1552" y="303"/>
                  </a:cubicBezTo>
                  <a:cubicBezTo>
                    <a:pt x="1538" y="292"/>
                    <a:pt x="1538" y="269"/>
                    <a:pt x="1538" y="233"/>
                  </a:cubicBezTo>
                  <a:lnTo>
                    <a:pt x="1538" y="188"/>
                  </a:lnTo>
                  <a:cubicBezTo>
                    <a:pt x="1527" y="174"/>
                    <a:pt x="1527" y="152"/>
                    <a:pt x="1516" y="141"/>
                  </a:cubicBezTo>
                  <a:cubicBezTo>
                    <a:pt x="1493" y="130"/>
                    <a:pt x="1482" y="130"/>
                    <a:pt x="1468" y="118"/>
                  </a:cubicBezTo>
                  <a:cubicBezTo>
                    <a:pt x="1446" y="118"/>
                    <a:pt x="1435" y="118"/>
                    <a:pt x="1435" y="104"/>
                  </a:cubicBezTo>
                  <a:cubicBezTo>
                    <a:pt x="1412" y="104"/>
                    <a:pt x="1398" y="93"/>
                    <a:pt x="1398" y="82"/>
                  </a:cubicBezTo>
                  <a:cubicBezTo>
                    <a:pt x="1387" y="71"/>
                    <a:pt x="1387" y="60"/>
                    <a:pt x="1376" y="49"/>
                  </a:cubicBezTo>
                  <a:cubicBezTo>
                    <a:pt x="1365" y="23"/>
                    <a:pt x="1342" y="23"/>
                    <a:pt x="1328" y="12"/>
                  </a:cubicBezTo>
                  <a:cubicBezTo>
                    <a:pt x="1317" y="12"/>
                    <a:pt x="1295" y="1"/>
                    <a:pt x="128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5" name="Google Shape;373;p17">
              <a:extLst>
                <a:ext uri="{FF2B5EF4-FFF2-40B4-BE49-F238E27FC236}">
                  <a16:creationId xmlns:a16="http://schemas.microsoft.com/office/drawing/2014/main" xmlns="" id="{4159E5C8-3425-8EB3-A154-020D3E63881C}"/>
                </a:ext>
              </a:extLst>
            </p:cNvPr>
            <p:cNvSpPr/>
            <p:nvPr/>
          </p:nvSpPr>
          <p:spPr>
            <a:xfrm>
              <a:off x="1669103" y="2033522"/>
              <a:ext cx="975688" cy="680829"/>
            </a:xfrm>
            <a:custGeom>
              <a:avLst/>
              <a:gdLst/>
              <a:ahLst/>
              <a:cxnLst/>
              <a:rect l="l" t="t" r="r" b="b"/>
              <a:pathLst>
                <a:path w="4232" h="2953" extrusionOk="0">
                  <a:moveTo>
                    <a:pt x="561" y="1"/>
                  </a:moveTo>
                  <a:cubicBezTo>
                    <a:pt x="556" y="1"/>
                    <a:pt x="552" y="2"/>
                    <a:pt x="548" y="5"/>
                  </a:cubicBezTo>
                  <a:cubicBezTo>
                    <a:pt x="537" y="5"/>
                    <a:pt x="526" y="17"/>
                    <a:pt x="515" y="17"/>
                  </a:cubicBezTo>
                  <a:cubicBezTo>
                    <a:pt x="504" y="17"/>
                    <a:pt x="490" y="5"/>
                    <a:pt x="467" y="5"/>
                  </a:cubicBezTo>
                  <a:cubicBezTo>
                    <a:pt x="445" y="5"/>
                    <a:pt x="420" y="17"/>
                    <a:pt x="409" y="28"/>
                  </a:cubicBezTo>
                  <a:cubicBezTo>
                    <a:pt x="397" y="39"/>
                    <a:pt x="397" y="39"/>
                    <a:pt x="386" y="39"/>
                  </a:cubicBezTo>
                  <a:cubicBezTo>
                    <a:pt x="375" y="53"/>
                    <a:pt x="364" y="53"/>
                    <a:pt x="350" y="53"/>
                  </a:cubicBezTo>
                  <a:cubicBezTo>
                    <a:pt x="339" y="53"/>
                    <a:pt x="327" y="53"/>
                    <a:pt x="327" y="64"/>
                  </a:cubicBezTo>
                  <a:cubicBezTo>
                    <a:pt x="316" y="75"/>
                    <a:pt x="339" y="98"/>
                    <a:pt x="316" y="109"/>
                  </a:cubicBezTo>
                  <a:lnTo>
                    <a:pt x="305" y="109"/>
                  </a:lnTo>
                  <a:cubicBezTo>
                    <a:pt x="294" y="109"/>
                    <a:pt x="280" y="98"/>
                    <a:pt x="269" y="87"/>
                  </a:cubicBezTo>
                  <a:cubicBezTo>
                    <a:pt x="258" y="75"/>
                    <a:pt x="246" y="53"/>
                    <a:pt x="235" y="53"/>
                  </a:cubicBezTo>
                  <a:cubicBezTo>
                    <a:pt x="224" y="53"/>
                    <a:pt x="210" y="64"/>
                    <a:pt x="210" y="64"/>
                  </a:cubicBezTo>
                  <a:cubicBezTo>
                    <a:pt x="199" y="75"/>
                    <a:pt x="176" y="87"/>
                    <a:pt x="176" y="98"/>
                  </a:cubicBezTo>
                  <a:lnTo>
                    <a:pt x="176" y="123"/>
                  </a:lnTo>
                  <a:cubicBezTo>
                    <a:pt x="176" y="134"/>
                    <a:pt x="154" y="134"/>
                    <a:pt x="140" y="134"/>
                  </a:cubicBezTo>
                  <a:cubicBezTo>
                    <a:pt x="118" y="145"/>
                    <a:pt x="95" y="156"/>
                    <a:pt x="95" y="168"/>
                  </a:cubicBezTo>
                  <a:cubicBezTo>
                    <a:pt x="84" y="179"/>
                    <a:pt x="84" y="179"/>
                    <a:pt x="70" y="193"/>
                  </a:cubicBezTo>
                  <a:cubicBezTo>
                    <a:pt x="59" y="204"/>
                    <a:pt x="48" y="204"/>
                    <a:pt x="37" y="204"/>
                  </a:cubicBezTo>
                  <a:lnTo>
                    <a:pt x="25" y="204"/>
                  </a:lnTo>
                  <a:lnTo>
                    <a:pt x="25" y="226"/>
                  </a:lnTo>
                  <a:cubicBezTo>
                    <a:pt x="25" y="249"/>
                    <a:pt x="37" y="274"/>
                    <a:pt x="59" y="296"/>
                  </a:cubicBezTo>
                  <a:cubicBezTo>
                    <a:pt x="70" y="307"/>
                    <a:pt x="84" y="319"/>
                    <a:pt x="95" y="333"/>
                  </a:cubicBezTo>
                  <a:cubicBezTo>
                    <a:pt x="118" y="344"/>
                    <a:pt x="129" y="355"/>
                    <a:pt x="118" y="377"/>
                  </a:cubicBezTo>
                  <a:cubicBezTo>
                    <a:pt x="118" y="389"/>
                    <a:pt x="95" y="403"/>
                    <a:pt x="95" y="414"/>
                  </a:cubicBezTo>
                  <a:lnTo>
                    <a:pt x="95" y="458"/>
                  </a:lnTo>
                  <a:cubicBezTo>
                    <a:pt x="84" y="484"/>
                    <a:pt x="59" y="484"/>
                    <a:pt x="37" y="495"/>
                  </a:cubicBezTo>
                  <a:cubicBezTo>
                    <a:pt x="14" y="506"/>
                    <a:pt x="0" y="528"/>
                    <a:pt x="14" y="554"/>
                  </a:cubicBezTo>
                  <a:cubicBezTo>
                    <a:pt x="37" y="565"/>
                    <a:pt x="70" y="576"/>
                    <a:pt x="107" y="587"/>
                  </a:cubicBezTo>
                  <a:cubicBezTo>
                    <a:pt x="118" y="598"/>
                    <a:pt x="129" y="598"/>
                    <a:pt x="129" y="612"/>
                  </a:cubicBezTo>
                  <a:cubicBezTo>
                    <a:pt x="140" y="623"/>
                    <a:pt x="154" y="635"/>
                    <a:pt x="165" y="646"/>
                  </a:cubicBezTo>
                  <a:cubicBezTo>
                    <a:pt x="188" y="657"/>
                    <a:pt x="224" y="646"/>
                    <a:pt x="235" y="668"/>
                  </a:cubicBezTo>
                  <a:cubicBezTo>
                    <a:pt x="246" y="682"/>
                    <a:pt x="235" y="705"/>
                    <a:pt x="224" y="716"/>
                  </a:cubicBezTo>
                  <a:cubicBezTo>
                    <a:pt x="210" y="738"/>
                    <a:pt x="199" y="752"/>
                    <a:pt x="210" y="774"/>
                  </a:cubicBezTo>
                  <a:lnTo>
                    <a:pt x="224" y="786"/>
                  </a:lnTo>
                  <a:cubicBezTo>
                    <a:pt x="246" y="808"/>
                    <a:pt x="235" y="844"/>
                    <a:pt x="246" y="867"/>
                  </a:cubicBezTo>
                  <a:cubicBezTo>
                    <a:pt x="254" y="870"/>
                    <a:pt x="262" y="872"/>
                    <a:pt x="269" y="872"/>
                  </a:cubicBezTo>
                  <a:cubicBezTo>
                    <a:pt x="284" y="872"/>
                    <a:pt x="298" y="867"/>
                    <a:pt x="305" y="867"/>
                  </a:cubicBezTo>
                  <a:cubicBezTo>
                    <a:pt x="339" y="856"/>
                    <a:pt x="375" y="856"/>
                    <a:pt x="409" y="856"/>
                  </a:cubicBezTo>
                  <a:cubicBezTo>
                    <a:pt x="434" y="867"/>
                    <a:pt x="456" y="878"/>
                    <a:pt x="467" y="892"/>
                  </a:cubicBezTo>
                  <a:cubicBezTo>
                    <a:pt x="478" y="914"/>
                    <a:pt x="478" y="948"/>
                    <a:pt x="467" y="962"/>
                  </a:cubicBezTo>
                  <a:cubicBezTo>
                    <a:pt x="459" y="970"/>
                    <a:pt x="439" y="978"/>
                    <a:pt x="424" y="978"/>
                  </a:cubicBezTo>
                  <a:cubicBezTo>
                    <a:pt x="417" y="978"/>
                    <a:pt x="412" y="976"/>
                    <a:pt x="409" y="973"/>
                  </a:cubicBezTo>
                  <a:cubicBezTo>
                    <a:pt x="386" y="973"/>
                    <a:pt x="364" y="973"/>
                    <a:pt x="350" y="984"/>
                  </a:cubicBezTo>
                  <a:cubicBezTo>
                    <a:pt x="339" y="1007"/>
                    <a:pt x="350" y="1018"/>
                    <a:pt x="350" y="1043"/>
                  </a:cubicBezTo>
                  <a:lnTo>
                    <a:pt x="350" y="1054"/>
                  </a:lnTo>
                  <a:cubicBezTo>
                    <a:pt x="350" y="1054"/>
                    <a:pt x="350" y="1065"/>
                    <a:pt x="339" y="1065"/>
                  </a:cubicBezTo>
                  <a:cubicBezTo>
                    <a:pt x="305" y="1076"/>
                    <a:pt x="327" y="1146"/>
                    <a:pt x="339" y="1172"/>
                  </a:cubicBezTo>
                  <a:cubicBezTo>
                    <a:pt x="339" y="1194"/>
                    <a:pt x="350" y="1205"/>
                    <a:pt x="375" y="1216"/>
                  </a:cubicBezTo>
                  <a:cubicBezTo>
                    <a:pt x="386" y="1216"/>
                    <a:pt x="397" y="1227"/>
                    <a:pt x="397" y="1227"/>
                  </a:cubicBezTo>
                  <a:cubicBezTo>
                    <a:pt x="409" y="1241"/>
                    <a:pt x="409" y="1241"/>
                    <a:pt x="409" y="1253"/>
                  </a:cubicBezTo>
                  <a:cubicBezTo>
                    <a:pt x="420" y="1264"/>
                    <a:pt x="445" y="1275"/>
                    <a:pt x="456" y="1275"/>
                  </a:cubicBezTo>
                  <a:cubicBezTo>
                    <a:pt x="471" y="1275"/>
                    <a:pt x="487" y="1270"/>
                    <a:pt x="500" y="1270"/>
                  </a:cubicBezTo>
                  <a:cubicBezTo>
                    <a:pt x="506" y="1270"/>
                    <a:pt x="511" y="1271"/>
                    <a:pt x="515" y="1275"/>
                  </a:cubicBezTo>
                  <a:cubicBezTo>
                    <a:pt x="537" y="1275"/>
                    <a:pt x="548" y="1286"/>
                    <a:pt x="574" y="1297"/>
                  </a:cubicBezTo>
                  <a:cubicBezTo>
                    <a:pt x="581" y="1297"/>
                    <a:pt x="593" y="1304"/>
                    <a:pt x="608" y="1304"/>
                  </a:cubicBezTo>
                  <a:cubicBezTo>
                    <a:pt x="615" y="1304"/>
                    <a:pt x="622" y="1302"/>
                    <a:pt x="629" y="1297"/>
                  </a:cubicBezTo>
                  <a:cubicBezTo>
                    <a:pt x="651" y="1288"/>
                    <a:pt x="662" y="1262"/>
                    <a:pt x="679" y="1262"/>
                  </a:cubicBezTo>
                  <a:cubicBezTo>
                    <a:pt x="682" y="1262"/>
                    <a:pt x="685" y="1262"/>
                    <a:pt x="688" y="1264"/>
                  </a:cubicBezTo>
                  <a:cubicBezTo>
                    <a:pt x="699" y="1264"/>
                    <a:pt x="713" y="1286"/>
                    <a:pt x="713" y="1297"/>
                  </a:cubicBezTo>
                  <a:cubicBezTo>
                    <a:pt x="713" y="1323"/>
                    <a:pt x="713" y="1345"/>
                    <a:pt x="736" y="1356"/>
                  </a:cubicBezTo>
                  <a:cubicBezTo>
                    <a:pt x="747" y="1356"/>
                    <a:pt x="769" y="1345"/>
                    <a:pt x="769" y="1334"/>
                  </a:cubicBezTo>
                  <a:cubicBezTo>
                    <a:pt x="783" y="1323"/>
                    <a:pt x="794" y="1311"/>
                    <a:pt x="794" y="1286"/>
                  </a:cubicBezTo>
                  <a:lnTo>
                    <a:pt x="794" y="1253"/>
                  </a:lnTo>
                  <a:cubicBezTo>
                    <a:pt x="794" y="1241"/>
                    <a:pt x="806" y="1227"/>
                    <a:pt x="828" y="1216"/>
                  </a:cubicBezTo>
                  <a:lnTo>
                    <a:pt x="876" y="1216"/>
                  </a:lnTo>
                  <a:cubicBezTo>
                    <a:pt x="887" y="1216"/>
                    <a:pt x="898" y="1216"/>
                    <a:pt x="909" y="1227"/>
                  </a:cubicBezTo>
                  <a:lnTo>
                    <a:pt x="909" y="1264"/>
                  </a:lnTo>
                  <a:cubicBezTo>
                    <a:pt x="909" y="1277"/>
                    <a:pt x="922" y="1282"/>
                    <a:pt x="934" y="1282"/>
                  </a:cubicBezTo>
                  <a:cubicBezTo>
                    <a:pt x="943" y="1282"/>
                    <a:pt x="952" y="1280"/>
                    <a:pt x="957" y="1275"/>
                  </a:cubicBezTo>
                  <a:cubicBezTo>
                    <a:pt x="968" y="1264"/>
                    <a:pt x="979" y="1253"/>
                    <a:pt x="979" y="1227"/>
                  </a:cubicBezTo>
                  <a:lnTo>
                    <a:pt x="979" y="1205"/>
                  </a:lnTo>
                  <a:cubicBezTo>
                    <a:pt x="993" y="1194"/>
                    <a:pt x="1004" y="1194"/>
                    <a:pt x="1004" y="1183"/>
                  </a:cubicBezTo>
                  <a:cubicBezTo>
                    <a:pt x="1015" y="1183"/>
                    <a:pt x="1015" y="1172"/>
                    <a:pt x="1004" y="1158"/>
                  </a:cubicBezTo>
                  <a:cubicBezTo>
                    <a:pt x="1004" y="1146"/>
                    <a:pt x="1015" y="1135"/>
                    <a:pt x="1015" y="1124"/>
                  </a:cubicBezTo>
                  <a:cubicBezTo>
                    <a:pt x="1023" y="1116"/>
                    <a:pt x="1031" y="1108"/>
                    <a:pt x="1039" y="1108"/>
                  </a:cubicBezTo>
                  <a:cubicBezTo>
                    <a:pt x="1042" y="1108"/>
                    <a:pt x="1046" y="1110"/>
                    <a:pt x="1049" y="1113"/>
                  </a:cubicBezTo>
                  <a:cubicBezTo>
                    <a:pt x="1063" y="1124"/>
                    <a:pt x="1063" y="1135"/>
                    <a:pt x="1074" y="1146"/>
                  </a:cubicBezTo>
                  <a:cubicBezTo>
                    <a:pt x="1080" y="1152"/>
                    <a:pt x="1091" y="1152"/>
                    <a:pt x="1104" y="1152"/>
                  </a:cubicBezTo>
                  <a:cubicBezTo>
                    <a:pt x="1117" y="1152"/>
                    <a:pt x="1131" y="1152"/>
                    <a:pt x="1144" y="1158"/>
                  </a:cubicBezTo>
                  <a:cubicBezTo>
                    <a:pt x="1155" y="1158"/>
                    <a:pt x="1166" y="1158"/>
                    <a:pt x="1166" y="1172"/>
                  </a:cubicBezTo>
                  <a:cubicBezTo>
                    <a:pt x="1178" y="1183"/>
                    <a:pt x="1203" y="1194"/>
                    <a:pt x="1203" y="1216"/>
                  </a:cubicBezTo>
                  <a:cubicBezTo>
                    <a:pt x="1203" y="1227"/>
                    <a:pt x="1203" y="1253"/>
                    <a:pt x="1189" y="1264"/>
                  </a:cubicBezTo>
                  <a:cubicBezTo>
                    <a:pt x="1178" y="1275"/>
                    <a:pt x="1166" y="1275"/>
                    <a:pt x="1155" y="1286"/>
                  </a:cubicBezTo>
                  <a:cubicBezTo>
                    <a:pt x="1133" y="1297"/>
                    <a:pt x="1119" y="1311"/>
                    <a:pt x="1108" y="1334"/>
                  </a:cubicBezTo>
                  <a:cubicBezTo>
                    <a:pt x="1096" y="1367"/>
                    <a:pt x="1155" y="1415"/>
                    <a:pt x="1144" y="1462"/>
                  </a:cubicBezTo>
                  <a:cubicBezTo>
                    <a:pt x="1144" y="1474"/>
                    <a:pt x="1133" y="1496"/>
                    <a:pt x="1144" y="1507"/>
                  </a:cubicBezTo>
                  <a:cubicBezTo>
                    <a:pt x="1144" y="1521"/>
                    <a:pt x="1144" y="1521"/>
                    <a:pt x="1155" y="1532"/>
                  </a:cubicBezTo>
                  <a:cubicBezTo>
                    <a:pt x="1166" y="1555"/>
                    <a:pt x="1155" y="1577"/>
                    <a:pt x="1155" y="1602"/>
                  </a:cubicBezTo>
                  <a:lnTo>
                    <a:pt x="1155" y="1625"/>
                  </a:lnTo>
                  <a:lnTo>
                    <a:pt x="1144" y="1625"/>
                  </a:lnTo>
                  <a:cubicBezTo>
                    <a:pt x="1119" y="1636"/>
                    <a:pt x="1133" y="1647"/>
                    <a:pt x="1133" y="1661"/>
                  </a:cubicBezTo>
                  <a:lnTo>
                    <a:pt x="1133" y="1717"/>
                  </a:lnTo>
                  <a:cubicBezTo>
                    <a:pt x="1144" y="1742"/>
                    <a:pt x="1133" y="1787"/>
                    <a:pt x="1096" y="1801"/>
                  </a:cubicBezTo>
                  <a:lnTo>
                    <a:pt x="1049" y="1801"/>
                  </a:lnTo>
                  <a:cubicBezTo>
                    <a:pt x="1038" y="1801"/>
                    <a:pt x="1015" y="1801"/>
                    <a:pt x="1015" y="1823"/>
                  </a:cubicBezTo>
                  <a:cubicBezTo>
                    <a:pt x="1004" y="1823"/>
                    <a:pt x="1004" y="1834"/>
                    <a:pt x="1004" y="1845"/>
                  </a:cubicBezTo>
                  <a:cubicBezTo>
                    <a:pt x="993" y="1857"/>
                    <a:pt x="968" y="1857"/>
                    <a:pt x="957" y="1857"/>
                  </a:cubicBezTo>
                  <a:cubicBezTo>
                    <a:pt x="934" y="1857"/>
                    <a:pt x="923" y="1871"/>
                    <a:pt x="898" y="1882"/>
                  </a:cubicBezTo>
                  <a:cubicBezTo>
                    <a:pt x="898" y="1882"/>
                    <a:pt x="898" y="1893"/>
                    <a:pt x="887" y="1893"/>
                  </a:cubicBezTo>
                  <a:cubicBezTo>
                    <a:pt x="887" y="1904"/>
                    <a:pt x="898" y="1904"/>
                    <a:pt x="898" y="1915"/>
                  </a:cubicBezTo>
                  <a:cubicBezTo>
                    <a:pt x="909" y="1926"/>
                    <a:pt x="909" y="1952"/>
                    <a:pt x="909" y="1974"/>
                  </a:cubicBezTo>
                  <a:lnTo>
                    <a:pt x="909" y="1996"/>
                  </a:lnTo>
                  <a:lnTo>
                    <a:pt x="898" y="2010"/>
                  </a:lnTo>
                  <a:cubicBezTo>
                    <a:pt x="876" y="2022"/>
                    <a:pt x="876" y="2044"/>
                    <a:pt x="876" y="2066"/>
                  </a:cubicBezTo>
                  <a:lnTo>
                    <a:pt x="876" y="2080"/>
                  </a:lnTo>
                  <a:cubicBezTo>
                    <a:pt x="864" y="2091"/>
                    <a:pt x="853" y="2091"/>
                    <a:pt x="853" y="2091"/>
                  </a:cubicBezTo>
                  <a:cubicBezTo>
                    <a:pt x="864" y="2103"/>
                    <a:pt x="876" y="2114"/>
                    <a:pt x="887" y="2114"/>
                  </a:cubicBezTo>
                  <a:cubicBezTo>
                    <a:pt x="923" y="2114"/>
                    <a:pt x="945" y="2066"/>
                    <a:pt x="979" y="2055"/>
                  </a:cubicBezTo>
                  <a:cubicBezTo>
                    <a:pt x="995" y="2046"/>
                    <a:pt x="1012" y="2043"/>
                    <a:pt x="1028" y="2043"/>
                  </a:cubicBezTo>
                  <a:cubicBezTo>
                    <a:pt x="1095" y="2043"/>
                    <a:pt x="1162" y="2103"/>
                    <a:pt x="1236" y="2103"/>
                  </a:cubicBezTo>
                  <a:cubicBezTo>
                    <a:pt x="1254" y="2103"/>
                    <a:pt x="1269" y="2100"/>
                    <a:pt x="1283" y="2100"/>
                  </a:cubicBezTo>
                  <a:cubicBezTo>
                    <a:pt x="1298" y="2100"/>
                    <a:pt x="1312" y="2103"/>
                    <a:pt x="1329" y="2114"/>
                  </a:cubicBezTo>
                  <a:cubicBezTo>
                    <a:pt x="1365" y="2125"/>
                    <a:pt x="1365" y="2173"/>
                    <a:pt x="1398" y="2195"/>
                  </a:cubicBezTo>
                  <a:cubicBezTo>
                    <a:pt x="1411" y="2202"/>
                    <a:pt x="1424" y="2204"/>
                    <a:pt x="1437" y="2204"/>
                  </a:cubicBezTo>
                  <a:cubicBezTo>
                    <a:pt x="1494" y="2204"/>
                    <a:pt x="1554" y="2150"/>
                    <a:pt x="1622" y="2150"/>
                  </a:cubicBezTo>
                  <a:cubicBezTo>
                    <a:pt x="1694" y="2150"/>
                    <a:pt x="1759" y="2213"/>
                    <a:pt x="1817" y="2213"/>
                  </a:cubicBezTo>
                  <a:cubicBezTo>
                    <a:pt x="1834" y="2213"/>
                    <a:pt x="1850" y="2208"/>
                    <a:pt x="1865" y="2195"/>
                  </a:cubicBezTo>
                  <a:cubicBezTo>
                    <a:pt x="1888" y="2161"/>
                    <a:pt x="1854" y="2114"/>
                    <a:pt x="1843" y="2066"/>
                  </a:cubicBezTo>
                  <a:cubicBezTo>
                    <a:pt x="1821" y="2027"/>
                    <a:pt x="1838" y="1959"/>
                    <a:pt x="1873" y="1959"/>
                  </a:cubicBezTo>
                  <a:cubicBezTo>
                    <a:pt x="1878" y="1959"/>
                    <a:pt x="1883" y="1960"/>
                    <a:pt x="1888" y="1963"/>
                  </a:cubicBezTo>
                  <a:cubicBezTo>
                    <a:pt x="1924" y="1974"/>
                    <a:pt x="1924" y="2033"/>
                    <a:pt x="1947" y="2066"/>
                  </a:cubicBezTo>
                  <a:cubicBezTo>
                    <a:pt x="1958" y="2080"/>
                    <a:pt x="1994" y="2080"/>
                    <a:pt x="2005" y="2103"/>
                  </a:cubicBezTo>
                  <a:cubicBezTo>
                    <a:pt x="2097" y="2150"/>
                    <a:pt x="2064" y="2312"/>
                    <a:pt x="2156" y="2346"/>
                  </a:cubicBezTo>
                  <a:cubicBezTo>
                    <a:pt x="2167" y="2360"/>
                    <a:pt x="2181" y="2360"/>
                    <a:pt x="2193" y="2360"/>
                  </a:cubicBezTo>
                  <a:cubicBezTo>
                    <a:pt x="2251" y="2335"/>
                    <a:pt x="2167" y="2231"/>
                    <a:pt x="2204" y="2173"/>
                  </a:cubicBezTo>
                  <a:lnTo>
                    <a:pt x="2274" y="2173"/>
                  </a:lnTo>
                  <a:cubicBezTo>
                    <a:pt x="2285" y="2136"/>
                    <a:pt x="2296" y="2103"/>
                    <a:pt x="2307" y="2066"/>
                  </a:cubicBezTo>
                  <a:cubicBezTo>
                    <a:pt x="2344" y="2080"/>
                    <a:pt x="2366" y="2125"/>
                    <a:pt x="2355" y="2161"/>
                  </a:cubicBezTo>
                  <a:cubicBezTo>
                    <a:pt x="2355" y="2206"/>
                    <a:pt x="2355" y="2254"/>
                    <a:pt x="2377" y="2276"/>
                  </a:cubicBezTo>
                  <a:cubicBezTo>
                    <a:pt x="2425" y="2312"/>
                    <a:pt x="2495" y="2276"/>
                    <a:pt x="2531" y="2324"/>
                  </a:cubicBezTo>
                  <a:cubicBezTo>
                    <a:pt x="2542" y="2346"/>
                    <a:pt x="2517" y="2393"/>
                    <a:pt x="2531" y="2416"/>
                  </a:cubicBezTo>
                  <a:cubicBezTo>
                    <a:pt x="2542" y="2441"/>
                    <a:pt x="2564" y="2441"/>
                    <a:pt x="2587" y="2452"/>
                  </a:cubicBezTo>
                  <a:cubicBezTo>
                    <a:pt x="2682" y="2475"/>
                    <a:pt x="2785" y="2511"/>
                    <a:pt x="2892" y="2533"/>
                  </a:cubicBezTo>
                  <a:cubicBezTo>
                    <a:pt x="2936" y="2533"/>
                    <a:pt x="2984" y="2544"/>
                    <a:pt x="3031" y="2544"/>
                  </a:cubicBezTo>
                  <a:cubicBezTo>
                    <a:pt x="3054" y="2544"/>
                    <a:pt x="3076" y="2556"/>
                    <a:pt x="3101" y="2556"/>
                  </a:cubicBezTo>
                  <a:cubicBezTo>
                    <a:pt x="3171" y="2556"/>
                    <a:pt x="3230" y="2570"/>
                    <a:pt x="3286" y="2592"/>
                  </a:cubicBezTo>
                  <a:cubicBezTo>
                    <a:pt x="3311" y="2592"/>
                    <a:pt x="3333" y="2581"/>
                    <a:pt x="3356" y="2581"/>
                  </a:cubicBezTo>
                  <a:cubicBezTo>
                    <a:pt x="3385" y="2581"/>
                    <a:pt x="3412" y="2595"/>
                    <a:pt x="3441" y="2595"/>
                  </a:cubicBezTo>
                  <a:cubicBezTo>
                    <a:pt x="3448" y="2595"/>
                    <a:pt x="3455" y="2594"/>
                    <a:pt x="3462" y="2592"/>
                  </a:cubicBezTo>
                  <a:cubicBezTo>
                    <a:pt x="3473" y="2581"/>
                    <a:pt x="3462" y="2544"/>
                    <a:pt x="3451" y="2522"/>
                  </a:cubicBezTo>
                  <a:cubicBezTo>
                    <a:pt x="3440" y="2500"/>
                    <a:pt x="3426" y="2475"/>
                    <a:pt x="3440" y="2452"/>
                  </a:cubicBezTo>
                  <a:cubicBezTo>
                    <a:pt x="3448" y="2444"/>
                    <a:pt x="3460" y="2442"/>
                    <a:pt x="3473" y="2442"/>
                  </a:cubicBezTo>
                  <a:cubicBezTo>
                    <a:pt x="3487" y="2442"/>
                    <a:pt x="3503" y="2444"/>
                    <a:pt x="3519" y="2444"/>
                  </a:cubicBezTo>
                  <a:cubicBezTo>
                    <a:pt x="3527" y="2444"/>
                    <a:pt x="3536" y="2444"/>
                    <a:pt x="3543" y="2441"/>
                  </a:cubicBezTo>
                  <a:cubicBezTo>
                    <a:pt x="3554" y="2430"/>
                    <a:pt x="3566" y="2416"/>
                    <a:pt x="3580" y="2393"/>
                  </a:cubicBezTo>
                  <a:cubicBezTo>
                    <a:pt x="3591" y="2371"/>
                    <a:pt x="3613" y="2360"/>
                    <a:pt x="3635" y="2360"/>
                  </a:cubicBezTo>
                  <a:cubicBezTo>
                    <a:pt x="3661" y="2371"/>
                    <a:pt x="3683" y="2393"/>
                    <a:pt x="3672" y="2416"/>
                  </a:cubicBezTo>
                  <a:cubicBezTo>
                    <a:pt x="3661" y="2416"/>
                    <a:pt x="3661" y="2430"/>
                    <a:pt x="3649" y="2430"/>
                  </a:cubicBezTo>
                  <a:cubicBezTo>
                    <a:pt x="3635" y="2452"/>
                    <a:pt x="3649" y="2475"/>
                    <a:pt x="3672" y="2500"/>
                  </a:cubicBezTo>
                  <a:cubicBezTo>
                    <a:pt x="3694" y="2511"/>
                    <a:pt x="3719" y="2511"/>
                    <a:pt x="3742" y="2511"/>
                  </a:cubicBezTo>
                  <a:cubicBezTo>
                    <a:pt x="3764" y="2511"/>
                    <a:pt x="3789" y="2522"/>
                    <a:pt x="3812" y="2533"/>
                  </a:cubicBezTo>
                  <a:cubicBezTo>
                    <a:pt x="3823" y="2556"/>
                    <a:pt x="3800" y="2592"/>
                    <a:pt x="3800" y="2614"/>
                  </a:cubicBezTo>
                  <a:cubicBezTo>
                    <a:pt x="3800" y="2640"/>
                    <a:pt x="3812" y="2662"/>
                    <a:pt x="3823" y="2673"/>
                  </a:cubicBezTo>
                  <a:cubicBezTo>
                    <a:pt x="3859" y="2721"/>
                    <a:pt x="3859" y="2791"/>
                    <a:pt x="3834" y="2849"/>
                  </a:cubicBezTo>
                  <a:cubicBezTo>
                    <a:pt x="3812" y="2872"/>
                    <a:pt x="3789" y="2894"/>
                    <a:pt x="3800" y="2930"/>
                  </a:cubicBezTo>
                  <a:cubicBezTo>
                    <a:pt x="3800" y="2942"/>
                    <a:pt x="3812" y="2953"/>
                    <a:pt x="3823" y="2953"/>
                  </a:cubicBezTo>
                  <a:cubicBezTo>
                    <a:pt x="3834" y="2953"/>
                    <a:pt x="3834" y="2953"/>
                    <a:pt x="3834" y="2942"/>
                  </a:cubicBezTo>
                  <a:cubicBezTo>
                    <a:pt x="3859" y="2919"/>
                    <a:pt x="3881" y="2894"/>
                    <a:pt x="3915" y="2883"/>
                  </a:cubicBezTo>
                  <a:lnTo>
                    <a:pt x="3974" y="2883"/>
                  </a:lnTo>
                  <a:cubicBezTo>
                    <a:pt x="3999" y="2883"/>
                    <a:pt x="4021" y="2872"/>
                    <a:pt x="4021" y="2860"/>
                  </a:cubicBezTo>
                  <a:cubicBezTo>
                    <a:pt x="4032" y="2849"/>
                    <a:pt x="4021" y="2835"/>
                    <a:pt x="4032" y="2813"/>
                  </a:cubicBezTo>
                  <a:cubicBezTo>
                    <a:pt x="4032" y="2802"/>
                    <a:pt x="4044" y="2791"/>
                    <a:pt x="4055" y="2779"/>
                  </a:cubicBezTo>
                  <a:cubicBezTo>
                    <a:pt x="4102" y="2695"/>
                    <a:pt x="4069" y="2592"/>
                    <a:pt x="4114" y="2522"/>
                  </a:cubicBezTo>
                  <a:cubicBezTo>
                    <a:pt x="4150" y="2475"/>
                    <a:pt x="4209" y="2452"/>
                    <a:pt x="4209" y="2405"/>
                  </a:cubicBezTo>
                  <a:cubicBezTo>
                    <a:pt x="4209" y="2382"/>
                    <a:pt x="4183" y="2360"/>
                    <a:pt x="4183" y="2346"/>
                  </a:cubicBezTo>
                  <a:cubicBezTo>
                    <a:pt x="4161" y="2312"/>
                    <a:pt x="4172" y="2265"/>
                    <a:pt x="4195" y="2242"/>
                  </a:cubicBezTo>
                  <a:cubicBezTo>
                    <a:pt x="4209" y="2220"/>
                    <a:pt x="4220" y="2206"/>
                    <a:pt x="4231" y="2195"/>
                  </a:cubicBezTo>
                  <a:cubicBezTo>
                    <a:pt x="4209" y="2195"/>
                    <a:pt x="4183" y="2184"/>
                    <a:pt x="4161" y="2173"/>
                  </a:cubicBezTo>
                  <a:lnTo>
                    <a:pt x="4150" y="2161"/>
                  </a:lnTo>
                  <a:cubicBezTo>
                    <a:pt x="4139" y="2161"/>
                    <a:pt x="4125" y="2150"/>
                    <a:pt x="4125" y="2136"/>
                  </a:cubicBezTo>
                  <a:cubicBezTo>
                    <a:pt x="4114" y="2125"/>
                    <a:pt x="4139" y="2103"/>
                    <a:pt x="4150" y="2091"/>
                  </a:cubicBezTo>
                  <a:cubicBezTo>
                    <a:pt x="4102" y="2044"/>
                    <a:pt x="4069" y="1985"/>
                    <a:pt x="4044" y="1940"/>
                  </a:cubicBezTo>
                  <a:cubicBezTo>
                    <a:pt x="4032" y="1926"/>
                    <a:pt x="4032" y="1915"/>
                    <a:pt x="4032" y="1915"/>
                  </a:cubicBezTo>
                  <a:cubicBezTo>
                    <a:pt x="4032" y="1893"/>
                    <a:pt x="4044" y="1882"/>
                    <a:pt x="4044" y="1871"/>
                  </a:cubicBezTo>
                  <a:cubicBezTo>
                    <a:pt x="4032" y="1871"/>
                    <a:pt x="4021" y="1857"/>
                    <a:pt x="4010" y="1857"/>
                  </a:cubicBezTo>
                  <a:cubicBezTo>
                    <a:pt x="3999" y="1845"/>
                    <a:pt x="3974" y="1823"/>
                    <a:pt x="3951" y="1823"/>
                  </a:cubicBezTo>
                  <a:cubicBezTo>
                    <a:pt x="3940" y="1823"/>
                    <a:pt x="3915" y="1834"/>
                    <a:pt x="3904" y="1834"/>
                  </a:cubicBezTo>
                  <a:cubicBezTo>
                    <a:pt x="3889" y="1837"/>
                    <a:pt x="3874" y="1838"/>
                    <a:pt x="3858" y="1838"/>
                  </a:cubicBezTo>
                  <a:cubicBezTo>
                    <a:pt x="3812" y="1838"/>
                    <a:pt x="3764" y="1826"/>
                    <a:pt x="3730" y="1801"/>
                  </a:cubicBezTo>
                  <a:cubicBezTo>
                    <a:pt x="3719" y="1776"/>
                    <a:pt x="3694" y="1764"/>
                    <a:pt x="3672" y="1753"/>
                  </a:cubicBezTo>
                  <a:cubicBezTo>
                    <a:pt x="3664" y="1749"/>
                    <a:pt x="3657" y="1748"/>
                    <a:pt x="3649" y="1748"/>
                  </a:cubicBezTo>
                  <a:cubicBezTo>
                    <a:pt x="3634" y="1748"/>
                    <a:pt x="3621" y="1753"/>
                    <a:pt x="3613" y="1753"/>
                  </a:cubicBezTo>
                  <a:cubicBezTo>
                    <a:pt x="3566" y="1742"/>
                    <a:pt x="3543" y="1717"/>
                    <a:pt x="3532" y="1683"/>
                  </a:cubicBezTo>
                  <a:cubicBezTo>
                    <a:pt x="3510" y="1625"/>
                    <a:pt x="3566" y="1602"/>
                    <a:pt x="3554" y="1555"/>
                  </a:cubicBezTo>
                  <a:cubicBezTo>
                    <a:pt x="3554" y="1521"/>
                    <a:pt x="3532" y="1462"/>
                    <a:pt x="3484" y="1451"/>
                  </a:cubicBezTo>
                  <a:cubicBezTo>
                    <a:pt x="3468" y="1444"/>
                    <a:pt x="3447" y="1441"/>
                    <a:pt x="3427" y="1441"/>
                  </a:cubicBezTo>
                  <a:cubicBezTo>
                    <a:pt x="3407" y="1441"/>
                    <a:pt x="3387" y="1444"/>
                    <a:pt x="3370" y="1451"/>
                  </a:cubicBezTo>
                  <a:cubicBezTo>
                    <a:pt x="3338" y="1451"/>
                    <a:pt x="3301" y="1456"/>
                    <a:pt x="3266" y="1456"/>
                  </a:cubicBezTo>
                  <a:cubicBezTo>
                    <a:pt x="3249" y="1456"/>
                    <a:pt x="3232" y="1455"/>
                    <a:pt x="3216" y="1451"/>
                  </a:cubicBezTo>
                  <a:cubicBezTo>
                    <a:pt x="3171" y="1437"/>
                    <a:pt x="3124" y="1404"/>
                    <a:pt x="3113" y="1356"/>
                  </a:cubicBezTo>
                  <a:cubicBezTo>
                    <a:pt x="3101" y="1323"/>
                    <a:pt x="3101" y="1264"/>
                    <a:pt x="3065" y="1241"/>
                  </a:cubicBezTo>
                  <a:cubicBezTo>
                    <a:pt x="3050" y="1230"/>
                    <a:pt x="3033" y="1226"/>
                    <a:pt x="3014" y="1226"/>
                  </a:cubicBezTo>
                  <a:cubicBezTo>
                    <a:pt x="2980" y="1226"/>
                    <a:pt x="2941" y="1239"/>
                    <a:pt x="2909" y="1239"/>
                  </a:cubicBezTo>
                  <a:cubicBezTo>
                    <a:pt x="2888" y="1239"/>
                    <a:pt x="2869" y="1233"/>
                    <a:pt x="2855" y="1216"/>
                  </a:cubicBezTo>
                  <a:cubicBezTo>
                    <a:pt x="2844" y="1194"/>
                    <a:pt x="2844" y="1158"/>
                    <a:pt x="2822" y="1158"/>
                  </a:cubicBezTo>
                  <a:cubicBezTo>
                    <a:pt x="2818" y="1156"/>
                    <a:pt x="2814" y="1156"/>
                    <a:pt x="2811" y="1156"/>
                  </a:cubicBezTo>
                  <a:cubicBezTo>
                    <a:pt x="2783" y="1156"/>
                    <a:pt x="2771" y="1195"/>
                    <a:pt x="2741" y="1205"/>
                  </a:cubicBezTo>
                  <a:cubicBezTo>
                    <a:pt x="2737" y="1206"/>
                    <a:pt x="2733" y="1207"/>
                    <a:pt x="2730" y="1207"/>
                  </a:cubicBezTo>
                  <a:cubicBezTo>
                    <a:pt x="2700" y="1207"/>
                    <a:pt x="2681" y="1167"/>
                    <a:pt x="2671" y="1124"/>
                  </a:cubicBezTo>
                  <a:cubicBezTo>
                    <a:pt x="2629" y="1124"/>
                    <a:pt x="2588" y="1160"/>
                    <a:pt x="2548" y="1160"/>
                  </a:cubicBezTo>
                  <a:cubicBezTo>
                    <a:pt x="2542" y="1160"/>
                    <a:pt x="2537" y="1159"/>
                    <a:pt x="2531" y="1158"/>
                  </a:cubicBezTo>
                  <a:cubicBezTo>
                    <a:pt x="2447" y="1135"/>
                    <a:pt x="2461" y="1018"/>
                    <a:pt x="2402" y="984"/>
                  </a:cubicBezTo>
                  <a:cubicBezTo>
                    <a:pt x="2366" y="1018"/>
                    <a:pt x="2321" y="1054"/>
                    <a:pt x="2274" y="1054"/>
                  </a:cubicBezTo>
                  <a:cubicBezTo>
                    <a:pt x="2215" y="1054"/>
                    <a:pt x="2167" y="1018"/>
                    <a:pt x="2156" y="973"/>
                  </a:cubicBezTo>
                  <a:cubicBezTo>
                    <a:pt x="2156" y="925"/>
                    <a:pt x="2193" y="878"/>
                    <a:pt x="2237" y="856"/>
                  </a:cubicBezTo>
                  <a:cubicBezTo>
                    <a:pt x="2250" y="853"/>
                    <a:pt x="2263" y="851"/>
                    <a:pt x="2275" y="851"/>
                  </a:cubicBezTo>
                  <a:cubicBezTo>
                    <a:pt x="2309" y="851"/>
                    <a:pt x="2341" y="862"/>
                    <a:pt x="2366" y="878"/>
                  </a:cubicBezTo>
                  <a:cubicBezTo>
                    <a:pt x="2402" y="903"/>
                    <a:pt x="2425" y="937"/>
                    <a:pt x="2472" y="937"/>
                  </a:cubicBezTo>
                  <a:cubicBezTo>
                    <a:pt x="2478" y="938"/>
                    <a:pt x="2485" y="939"/>
                    <a:pt x="2490" y="939"/>
                  </a:cubicBezTo>
                  <a:cubicBezTo>
                    <a:pt x="2527" y="939"/>
                    <a:pt x="2560" y="913"/>
                    <a:pt x="2601" y="903"/>
                  </a:cubicBezTo>
                  <a:cubicBezTo>
                    <a:pt x="2620" y="903"/>
                    <a:pt x="2647" y="910"/>
                    <a:pt x="2669" y="910"/>
                  </a:cubicBezTo>
                  <a:cubicBezTo>
                    <a:pt x="2686" y="910"/>
                    <a:pt x="2699" y="906"/>
                    <a:pt x="2704" y="892"/>
                  </a:cubicBezTo>
                  <a:cubicBezTo>
                    <a:pt x="2715" y="878"/>
                    <a:pt x="2715" y="856"/>
                    <a:pt x="2715" y="844"/>
                  </a:cubicBezTo>
                  <a:cubicBezTo>
                    <a:pt x="2741" y="797"/>
                    <a:pt x="2785" y="786"/>
                    <a:pt x="2833" y="786"/>
                  </a:cubicBezTo>
                  <a:cubicBezTo>
                    <a:pt x="2850" y="786"/>
                    <a:pt x="2870" y="788"/>
                    <a:pt x="2892" y="788"/>
                  </a:cubicBezTo>
                  <a:cubicBezTo>
                    <a:pt x="2914" y="788"/>
                    <a:pt x="2938" y="786"/>
                    <a:pt x="2962" y="774"/>
                  </a:cubicBezTo>
                  <a:cubicBezTo>
                    <a:pt x="2973" y="763"/>
                    <a:pt x="2995" y="738"/>
                    <a:pt x="3006" y="716"/>
                  </a:cubicBezTo>
                  <a:cubicBezTo>
                    <a:pt x="2995" y="705"/>
                    <a:pt x="2973" y="705"/>
                    <a:pt x="2962" y="693"/>
                  </a:cubicBezTo>
                  <a:cubicBezTo>
                    <a:pt x="2950" y="693"/>
                    <a:pt x="2936" y="705"/>
                    <a:pt x="2936" y="705"/>
                  </a:cubicBezTo>
                  <a:cubicBezTo>
                    <a:pt x="2903" y="727"/>
                    <a:pt x="2880" y="738"/>
                    <a:pt x="2844" y="738"/>
                  </a:cubicBezTo>
                  <a:cubicBezTo>
                    <a:pt x="2822" y="738"/>
                    <a:pt x="2785" y="727"/>
                    <a:pt x="2763" y="705"/>
                  </a:cubicBezTo>
                  <a:cubicBezTo>
                    <a:pt x="2752" y="682"/>
                    <a:pt x="2752" y="668"/>
                    <a:pt x="2741" y="646"/>
                  </a:cubicBezTo>
                  <a:cubicBezTo>
                    <a:pt x="2727" y="646"/>
                    <a:pt x="2715" y="635"/>
                    <a:pt x="2704" y="635"/>
                  </a:cubicBezTo>
                  <a:cubicBezTo>
                    <a:pt x="2646" y="635"/>
                    <a:pt x="2601" y="657"/>
                    <a:pt x="2553" y="668"/>
                  </a:cubicBezTo>
                  <a:lnTo>
                    <a:pt x="2531" y="668"/>
                  </a:lnTo>
                  <a:lnTo>
                    <a:pt x="2531" y="657"/>
                  </a:lnTo>
                  <a:cubicBezTo>
                    <a:pt x="2506" y="635"/>
                    <a:pt x="2495" y="598"/>
                    <a:pt x="2472" y="598"/>
                  </a:cubicBezTo>
                  <a:cubicBezTo>
                    <a:pt x="2460" y="593"/>
                    <a:pt x="2448" y="593"/>
                    <a:pt x="2438" y="593"/>
                  </a:cubicBezTo>
                  <a:cubicBezTo>
                    <a:pt x="2427" y="593"/>
                    <a:pt x="2419" y="593"/>
                    <a:pt x="2413" y="587"/>
                  </a:cubicBezTo>
                  <a:cubicBezTo>
                    <a:pt x="2413" y="587"/>
                    <a:pt x="2402" y="576"/>
                    <a:pt x="2402" y="565"/>
                  </a:cubicBezTo>
                  <a:cubicBezTo>
                    <a:pt x="2391" y="542"/>
                    <a:pt x="2355" y="517"/>
                    <a:pt x="2321" y="517"/>
                  </a:cubicBezTo>
                  <a:cubicBezTo>
                    <a:pt x="2296" y="517"/>
                    <a:pt x="2262" y="528"/>
                    <a:pt x="2237" y="554"/>
                  </a:cubicBezTo>
                  <a:cubicBezTo>
                    <a:pt x="2223" y="567"/>
                    <a:pt x="2210" y="577"/>
                    <a:pt x="2193" y="577"/>
                  </a:cubicBezTo>
                  <a:cubicBezTo>
                    <a:pt x="2182" y="577"/>
                    <a:pt x="2170" y="573"/>
                    <a:pt x="2156" y="565"/>
                  </a:cubicBezTo>
                  <a:cubicBezTo>
                    <a:pt x="2145" y="554"/>
                    <a:pt x="2123" y="528"/>
                    <a:pt x="2097" y="528"/>
                  </a:cubicBezTo>
                  <a:cubicBezTo>
                    <a:pt x="2090" y="528"/>
                    <a:pt x="2083" y="535"/>
                    <a:pt x="2078" y="535"/>
                  </a:cubicBezTo>
                  <a:cubicBezTo>
                    <a:pt x="2076" y="535"/>
                    <a:pt x="2075" y="533"/>
                    <a:pt x="2075" y="528"/>
                  </a:cubicBezTo>
                  <a:cubicBezTo>
                    <a:pt x="2053" y="528"/>
                    <a:pt x="2053" y="506"/>
                    <a:pt x="2053" y="484"/>
                  </a:cubicBezTo>
                  <a:cubicBezTo>
                    <a:pt x="2053" y="458"/>
                    <a:pt x="2064" y="425"/>
                    <a:pt x="2064" y="389"/>
                  </a:cubicBezTo>
                  <a:cubicBezTo>
                    <a:pt x="2064" y="355"/>
                    <a:pt x="2064" y="333"/>
                    <a:pt x="2042" y="319"/>
                  </a:cubicBezTo>
                  <a:cubicBezTo>
                    <a:pt x="2016" y="307"/>
                    <a:pt x="1983" y="319"/>
                    <a:pt x="1972" y="296"/>
                  </a:cubicBezTo>
                  <a:cubicBezTo>
                    <a:pt x="1958" y="274"/>
                    <a:pt x="1983" y="238"/>
                    <a:pt x="1972" y="215"/>
                  </a:cubicBezTo>
                  <a:cubicBezTo>
                    <a:pt x="1958" y="193"/>
                    <a:pt x="1913" y="204"/>
                    <a:pt x="1902" y="168"/>
                  </a:cubicBezTo>
                  <a:cubicBezTo>
                    <a:pt x="1888" y="156"/>
                    <a:pt x="1902" y="145"/>
                    <a:pt x="1888" y="123"/>
                  </a:cubicBezTo>
                  <a:cubicBezTo>
                    <a:pt x="1888" y="98"/>
                    <a:pt x="1854" y="98"/>
                    <a:pt x="1832" y="98"/>
                  </a:cubicBezTo>
                  <a:lnTo>
                    <a:pt x="1714" y="98"/>
                  </a:lnTo>
                  <a:cubicBezTo>
                    <a:pt x="1703" y="87"/>
                    <a:pt x="1692" y="75"/>
                    <a:pt x="1692" y="53"/>
                  </a:cubicBezTo>
                  <a:cubicBezTo>
                    <a:pt x="1678" y="39"/>
                    <a:pt x="1667" y="17"/>
                    <a:pt x="1645" y="5"/>
                  </a:cubicBezTo>
                  <a:cubicBezTo>
                    <a:pt x="1622" y="5"/>
                    <a:pt x="1597" y="5"/>
                    <a:pt x="1586" y="17"/>
                  </a:cubicBezTo>
                  <a:cubicBezTo>
                    <a:pt x="1575" y="28"/>
                    <a:pt x="1575" y="39"/>
                    <a:pt x="1575" y="64"/>
                  </a:cubicBezTo>
                  <a:cubicBezTo>
                    <a:pt x="1563" y="134"/>
                    <a:pt x="1494" y="179"/>
                    <a:pt x="1424" y="226"/>
                  </a:cubicBezTo>
                  <a:lnTo>
                    <a:pt x="1412" y="238"/>
                  </a:lnTo>
                  <a:cubicBezTo>
                    <a:pt x="1398" y="249"/>
                    <a:pt x="1424" y="263"/>
                    <a:pt x="1435" y="285"/>
                  </a:cubicBezTo>
                  <a:cubicBezTo>
                    <a:pt x="1457" y="307"/>
                    <a:pt x="1435" y="355"/>
                    <a:pt x="1398" y="355"/>
                  </a:cubicBezTo>
                  <a:cubicBezTo>
                    <a:pt x="1387" y="355"/>
                    <a:pt x="1365" y="355"/>
                    <a:pt x="1354" y="366"/>
                  </a:cubicBezTo>
                  <a:cubicBezTo>
                    <a:pt x="1354" y="377"/>
                    <a:pt x="1343" y="377"/>
                    <a:pt x="1343" y="389"/>
                  </a:cubicBezTo>
                  <a:cubicBezTo>
                    <a:pt x="1339" y="392"/>
                    <a:pt x="1336" y="393"/>
                    <a:pt x="1332" y="393"/>
                  </a:cubicBezTo>
                  <a:cubicBezTo>
                    <a:pt x="1319" y="393"/>
                    <a:pt x="1301" y="377"/>
                    <a:pt x="1284" y="377"/>
                  </a:cubicBezTo>
                  <a:cubicBezTo>
                    <a:pt x="1273" y="377"/>
                    <a:pt x="1259" y="377"/>
                    <a:pt x="1247" y="389"/>
                  </a:cubicBezTo>
                  <a:lnTo>
                    <a:pt x="1247" y="414"/>
                  </a:lnTo>
                  <a:cubicBezTo>
                    <a:pt x="1236" y="425"/>
                    <a:pt x="1225" y="425"/>
                    <a:pt x="1225" y="425"/>
                  </a:cubicBezTo>
                  <a:cubicBezTo>
                    <a:pt x="1214" y="436"/>
                    <a:pt x="1214" y="447"/>
                    <a:pt x="1225" y="458"/>
                  </a:cubicBezTo>
                  <a:cubicBezTo>
                    <a:pt x="1225" y="472"/>
                    <a:pt x="1236" y="484"/>
                    <a:pt x="1236" y="495"/>
                  </a:cubicBezTo>
                  <a:cubicBezTo>
                    <a:pt x="1236" y="506"/>
                    <a:pt x="1214" y="506"/>
                    <a:pt x="1203" y="506"/>
                  </a:cubicBezTo>
                  <a:lnTo>
                    <a:pt x="1166" y="506"/>
                  </a:lnTo>
                  <a:cubicBezTo>
                    <a:pt x="1133" y="517"/>
                    <a:pt x="1119" y="554"/>
                    <a:pt x="1085" y="554"/>
                  </a:cubicBezTo>
                  <a:cubicBezTo>
                    <a:pt x="1063" y="554"/>
                    <a:pt x="1049" y="528"/>
                    <a:pt x="1049" y="506"/>
                  </a:cubicBezTo>
                  <a:cubicBezTo>
                    <a:pt x="1038" y="484"/>
                    <a:pt x="1049" y="458"/>
                    <a:pt x="1049" y="436"/>
                  </a:cubicBezTo>
                  <a:cubicBezTo>
                    <a:pt x="1049" y="414"/>
                    <a:pt x="1049" y="377"/>
                    <a:pt x="1027" y="366"/>
                  </a:cubicBezTo>
                  <a:lnTo>
                    <a:pt x="1004" y="366"/>
                  </a:lnTo>
                  <a:cubicBezTo>
                    <a:pt x="945" y="344"/>
                    <a:pt x="934" y="274"/>
                    <a:pt x="876" y="238"/>
                  </a:cubicBezTo>
                  <a:lnTo>
                    <a:pt x="864" y="238"/>
                  </a:lnTo>
                  <a:cubicBezTo>
                    <a:pt x="853" y="238"/>
                    <a:pt x="853" y="238"/>
                    <a:pt x="839" y="249"/>
                  </a:cubicBezTo>
                  <a:cubicBezTo>
                    <a:pt x="828" y="263"/>
                    <a:pt x="817" y="274"/>
                    <a:pt x="817" y="285"/>
                  </a:cubicBezTo>
                  <a:cubicBezTo>
                    <a:pt x="806" y="296"/>
                    <a:pt x="806" y="307"/>
                    <a:pt x="806" y="319"/>
                  </a:cubicBezTo>
                  <a:cubicBezTo>
                    <a:pt x="794" y="333"/>
                    <a:pt x="794" y="344"/>
                    <a:pt x="783" y="355"/>
                  </a:cubicBezTo>
                  <a:cubicBezTo>
                    <a:pt x="774" y="355"/>
                    <a:pt x="766" y="350"/>
                    <a:pt x="758" y="350"/>
                  </a:cubicBezTo>
                  <a:cubicBezTo>
                    <a:pt x="754" y="350"/>
                    <a:pt x="751" y="351"/>
                    <a:pt x="747" y="355"/>
                  </a:cubicBezTo>
                  <a:cubicBezTo>
                    <a:pt x="736" y="355"/>
                    <a:pt x="736" y="366"/>
                    <a:pt x="725" y="366"/>
                  </a:cubicBezTo>
                  <a:cubicBezTo>
                    <a:pt x="713" y="366"/>
                    <a:pt x="699" y="355"/>
                    <a:pt x="688" y="344"/>
                  </a:cubicBezTo>
                  <a:cubicBezTo>
                    <a:pt x="677" y="333"/>
                    <a:pt x="666" y="307"/>
                    <a:pt x="666" y="285"/>
                  </a:cubicBezTo>
                  <a:cubicBezTo>
                    <a:pt x="666" y="263"/>
                    <a:pt x="688" y="238"/>
                    <a:pt x="699" y="215"/>
                  </a:cubicBezTo>
                  <a:lnTo>
                    <a:pt x="699" y="204"/>
                  </a:lnTo>
                  <a:cubicBezTo>
                    <a:pt x="699" y="193"/>
                    <a:pt x="688" y="193"/>
                    <a:pt x="677" y="193"/>
                  </a:cubicBezTo>
                  <a:cubicBezTo>
                    <a:pt x="677" y="179"/>
                    <a:pt x="666" y="179"/>
                    <a:pt x="655" y="179"/>
                  </a:cubicBezTo>
                  <a:cubicBezTo>
                    <a:pt x="629" y="168"/>
                    <a:pt x="607" y="134"/>
                    <a:pt x="618" y="109"/>
                  </a:cubicBezTo>
                  <a:cubicBezTo>
                    <a:pt x="618" y="98"/>
                    <a:pt x="618" y="98"/>
                    <a:pt x="629" y="87"/>
                  </a:cubicBezTo>
                  <a:cubicBezTo>
                    <a:pt x="629" y="64"/>
                    <a:pt x="607" y="28"/>
                    <a:pt x="596" y="5"/>
                  </a:cubicBezTo>
                  <a:cubicBezTo>
                    <a:pt x="581" y="5"/>
                    <a:pt x="570" y="1"/>
                    <a:pt x="56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6" name="Google Shape;374;p17">
              <a:extLst>
                <a:ext uri="{FF2B5EF4-FFF2-40B4-BE49-F238E27FC236}">
                  <a16:creationId xmlns:a16="http://schemas.microsoft.com/office/drawing/2014/main" xmlns="" id="{00BA060A-D82D-BCF6-D1A7-D85F3FFDC8BC}"/>
                </a:ext>
              </a:extLst>
            </p:cNvPr>
            <p:cNvSpPr/>
            <p:nvPr/>
          </p:nvSpPr>
          <p:spPr>
            <a:xfrm>
              <a:off x="1663801" y="2029603"/>
              <a:ext cx="991826" cy="690051"/>
            </a:xfrm>
            <a:custGeom>
              <a:avLst/>
              <a:gdLst/>
              <a:ahLst/>
              <a:cxnLst/>
              <a:rect l="l" t="t" r="r" b="b"/>
              <a:pathLst>
                <a:path w="4302" h="2993" extrusionOk="0">
                  <a:moveTo>
                    <a:pt x="586" y="40"/>
                  </a:moveTo>
                  <a:cubicBezTo>
                    <a:pt x="590" y="40"/>
                    <a:pt x="597" y="45"/>
                    <a:pt x="597" y="45"/>
                  </a:cubicBezTo>
                  <a:cubicBezTo>
                    <a:pt x="608" y="45"/>
                    <a:pt x="608" y="56"/>
                    <a:pt x="619" y="70"/>
                  </a:cubicBezTo>
                  <a:cubicBezTo>
                    <a:pt x="619" y="81"/>
                    <a:pt x="630" y="92"/>
                    <a:pt x="630" y="92"/>
                  </a:cubicBezTo>
                  <a:cubicBezTo>
                    <a:pt x="630" y="101"/>
                    <a:pt x="623" y="103"/>
                    <a:pt x="620" y="115"/>
                  </a:cubicBezTo>
                  <a:lnTo>
                    <a:pt x="620" y="115"/>
                  </a:lnTo>
                  <a:lnTo>
                    <a:pt x="619" y="115"/>
                  </a:lnTo>
                  <a:lnTo>
                    <a:pt x="619" y="140"/>
                  </a:lnTo>
                  <a:cubicBezTo>
                    <a:pt x="619" y="173"/>
                    <a:pt x="630" y="210"/>
                    <a:pt x="666" y="221"/>
                  </a:cubicBezTo>
                  <a:lnTo>
                    <a:pt x="700" y="221"/>
                  </a:lnTo>
                  <a:lnTo>
                    <a:pt x="700" y="232"/>
                  </a:lnTo>
                  <a:cubicBezTo>
                    <a:pt x="689" y="232"/>
                    <a:pt x="689" y="243"/>
                    <a:pt x="678" y="255"/>
                  </a:cubicBezTo>
                  <a:cubicBezTo>
                    <a:pt x="666" y="266"/>
                    <a:pt x="666" y="291"/>
                    <a:pt x="666" y="302"/>
                  </a:cubicBezTo>
                  <a:cubicBezTo>
                    <a:pt x="666" y="324"/>
                    <a:pt x="666" y="336"/>
                    <a:pt x="678" y="350"/>
                  </a:cubicBezTo>
                  <a:cubicBezTo>
                    <a:pt x="678" y="361"/>
                    <a:pt x="689" y="372"/>
                    <a:pt x="689" y="372"/>
                  </a:cubicBezTo>
                  <a:lnTo>
                    <a:pt x="711" y="394"/>
                  </a:lnTo>
                  <a:cubicBezTo>
                    <a:pt x="722" y="394"/>
                    <a:pt x="722" y="406"/>
                    <a:pt x="748" y="406"/>
                  </a:cubicBezTo>
                  <a:cubicBezTo>
                    <a:pt x="759" y="394"/>
                    <a:pt x="770" y="394"/>
                    <a:pt x="770" y="394"/>
                  </a:cubicBezTo>
                  <a:lnTo>
                    <a:pt x="781" y="394"/>
                  </a:lnTo>
                  <a:cubicBezTo>
                    <a:pt x="792" y="394"/>
                    <a:pt x="792" y="394"/>
                    <a:pt x="806" y="383"/>
                  </a:cubicBezTo>
                  <a:cubicBezTo>
                    <a:pt x="817" y="383"/>
                    <a:pt x="829" y="372"/>
                    <a:pt x="829" y="372"/>
                  </a:cubicBezTo>
                  <a:cubicBezTo>
                    <a:pt x="840" y="361"/>
                    <a:pt x="840" y="350"/>
                    <a:pt x="851" y="350"/>
                  </a:cubicBezTo>
                  <a:lnTo>
                    <a:pt x="851" y="313"/>
                  </a:lnTo>
                  <a:cubicBezTo>
                    <a:pt x="862" y="302"/>
                    <a:pt x="876" y="291"/>
                    <a:pt x="887" y="280"/>
                  </a:cubicBezTo>
                  <a:cubicBezTo>
                    <a:pt x="910" y="291"/>
                    <a:pt x="921" y="313"/>
                    <a:pt x="946" y="336"/>
                  </a:cubicBezTo>
                  <a:cubicBezTo>
                    <a:pt x="957" y="361"/>
                    <a:pt x="980" y="394"/>
                    <a:pt x="1016" y="406"/>
                  </a:cubicBezTo>
                  <a:lnTo>
                    <a:pt x="1038" y="406"/>
                  </a:lnTo>
                  <a:lnTo>
                    <a:pt x="1050" y="420"/>
                  </a:lnTo>
                  <a:lnTo>
                    <a:pt x="1050" y="442"/>
                  </a:lnTo>
                  <a:lnTo>
                    <a:pt x="1050" y="453"/>
                  </a:lnTo>
                  <a:lnTo>
                    <a:pt x="1050" y="512"/>
                  </a:lnTo>
                  <a:lnTo>
                    <a:pt x="1050" y="523"/>
                  </a:lnTo>
                  <a:cubicBezTo>
                    <a:pt x="1050" y="534"/>
                    <a:pt x="1050" y="559"/>
                    <a:pt x="1061" y="571"/>
                  </a:cubicBezTo>
                  <a:cubicBezTo>
                    <a:pt x="1072" y="582"/>
                    <a:pt x="1086" y="593"/>
                    <a:pt x="1108" y="593"/>
                  </a:cubicBezTo>
                  <a:cubicBezTo>
                    <a:pt x="1119" y="593"/>
                    <a:pt x="1131" y="593"/>
                    <a:pt x="1142" y="582"/>
                  </a:cubicBezTo>
                  <a:cubicBezTo>
                    <a:pt x="1156" y="582"/>
                    <a:pt x="1167" y="571"/>
                    <a:pt x="1178" y="559"/>
                  </a:cubicBezTo>
                  <a:lnTo>
                    <a:pt x="1189" y="545"/>
                  </a:lnTo>
                  <a:lnTo>
                    <a:pt x="1237" y="545"/>
                  </a:lnTo>
                  <a:cubicBezTo>
                    <a:pt x="1237" y="545"/>
                    <a:pt x="1248" y="545"/>
                    <a:pt x="1259" y="534"/>
                  </a:cubicBezTo>
                  <a:cubicBezTo>
                    <a:pt x="1270" y="534"/>
                    <a:pt x="1282" y="523"/>
                    <a:pt x="1282" y="512"/>
                  </a:cubicBezTo>
                  <a:lnTo>
                    <a:pt x="1282" y="501"/>
                  </a:lnTo>
                  <a:cubicBezTo>
                    <a:pt x="1282" y="489"/>
                    <a:pt x="1282" y="489"/>
                    <a:pt x="1270" y="475"/>
                  </a:cubicBezTo>
                  <a:lnTo>
                    <a:pt x="1270" y="464"/>
                  </a:lnTo>
                  <a:cubicBezTo>
                    <a:pt x="1270" y="453"/>
                    <a:pt x="1282" y="453"/>
                    <a:pt x="1282" y="453"/>
                  </a:cubicBezTo>
                  <a:cubicBezTo>
                    <a:pt x="1296" y="442"/>
                    <a:pt x="1296" y="431"/>
                    <a:pt x="1296" y="431"/>
                  </a:cubicBezTo>
                  <a:lnTo>
                    <a:pt x="1296" y="420"/>
                  </a:lnTo>
                  <a:lnTo>
                    <a:pt x="1307" y="420"/>
                  </a:lnTo>
                  <a:cubicBezTo>
                    <a:pt x="1307" y="420"/>
                    <a:pt x="1318" y="420"/>
                    <a:pt x="1318" y="431"/>
                  </a:cubicBezTo>
                  <a:lnTo>
                    <a:pt x="1352" y="431"/>
                  </a:lnTo>
                  <a:cubicBezTo>
                    <a:pt x="1366" y="431"/>
                    <a:pt x="1377" y="431"/>
                    <a:pt x="1388" y="420"/>
                  </a:cubicBezTo>
                  <a:lnTo>
                    <a:pt x="1388" y="406"/>
                  </a:lnTo>
                  <a:lnTo>
                    <a:pt x="1399" y="394"/>
                  </a:lnTo>
                  <a:lnTo>
                    <a:pt x="1435" y="394"/>
                  </a:lnTo>
                  <a:cubicBezTo>
                    <a:pt x="1447" y="394"/>
                    <a:pt x="1469" y="383"/>
                    <a:pt x="1469" y="372"/>
                  </a:cubicBezTo>
                  <a:cubicBezTo>
                    <a:pt x="1480" y="361"/>
                    <a:pt x="1491" y="336"/>
                    <a:pt x="1491" y="324"/>
                  </a:cubicBezTo>
                  <a:cubicBezTo>
                    <a:pt x="1491" y="313"/>
                    <a:pt x="1480" y="302"/>
                    <a:pt x="1480" y="291"/>
                  </a:cubicBezTo>
                  <a:cubicBezTo>
                    <a:pt x="1469" y="280"/>
                    <a:pt x="1469" y="266"/>
                    <a:pt x="1458" y="266"/>
                  </a:cubicBezTo>
                  <a:lnTo>
                    <a:pt x="1458" y="255"/>
                  </a:lnTo>
                  <a:cubicBezTo>
                    <a:pt x="1491" y="243"/>
                    <a:pt x="1528" y="221"/>
                    <a:pt x="1561" y="185"/>
                  </a:cubicBezTo>
                  <a:cubicBezTo>
                    <a:pt x="1586" y="162"/>
                    <a:pt x="1609" y="126"/>
                    <a:pt x="1620" y="81"/>
                  </a:cubicBezTo>
                  <a:cubicBezTo>
                    <a:pt x="1620" y="70"/>
                    <a:pt x="1620" y="56"/>
                    <a:pt x="1631" y="56"/>
                  </a:cubicBezTo>
                  <a:cubicBezTo>
                    <a:pt x="1631" y="45"/>
                    <a:pt x="1645" y="45"/>
                    <a:pt x="1645" y="45"/>
                  </a:cubicBezTo>
                  <a:lnTo>
                    <a:pt x="1656" y="45"/>
                  </a:lnTo>
                  <a:cubicBezTo>
                    <a:pt x="1668" y="56"/>
                    <a:pt x="1679" y="70"/>
                    <a:pt x="1690" y="81"/>
                  </a:cubicBezTo>
                  <a:cubicBezTo>
                    <a:pt x="1690" y="92"/>
                    <a:pt x="1701" y="104"/>
                    <a:pt x="1701" y="104"/>
                  </a:cubicBezTo>
                  <a:cubicBezTo>
                    <a:pt x="1715" y="115"/>
                    <a:pt x="1715" y="126"/>
                    <a:pt x="1737" y="140"/>
                  </a:cubicBezTo>
                  <a:lnTo>
                    <a:pt x="1888" y="140"/>
                  </a:lnTo>
                  <a:cubicBezTo>
                    <a:pt x="1888" y="140"/>
                    <a:pt x="1888" y="151"/>
                    <a:pt x="1900" y="151"/>
                  </a:cubicBezTo>
                  <a:lnTo>
                    <a:pt x="1900" y="173"/>
                  </a:lnTo>
                  <a:lnTo>
                    <a:pt x="1900" y="196"/>
                  </a:lnTo>
                  <a:cubicBezTo>
                    <a:pt x="1911" y="210"/>
                    <a:pt x="1925" y="221"/>
                    <a:pt x="1925" y="221"/>
                  </a:cubicBezTo>
                  <a:cubicBezTo>
                    <a:pt x="1947" y="232"/>
                    <a:pt x="1958" y="232"/>
                    <a:pt x="1970" y="232"/>
                  </a:cubicBezTo>
                  <a:lnTo>
                    <a:pt x="1970" y="243"/>
                  </a:lnTo>
                  <a:lnTo>
                    <a:pt x="1981" y="243"/>
                  </a:lnTo>
                  <a:cubicBezTo>
                    <a:pt x="1981" y="243"/>
                    <a:pt x="1970" y="255"/>
                    <a:pt x="1970" y="266"/>
                  </a:cubicBezTo>
                  <a:lnTo>
                    <a:pt x="1970" y="302"/>
                  </a:lnTo>
                  <a:lnTo>
                    <a:pt x="1970" y="324"/>
                  </a:lnTo>
                  <a:cubicBezTo>
                    <a:pt x="1981" y="336"/>
                    <a:pt x="1995" y="350"/>
                    <a:pt x="1995" y="350"/>
                  </a:cubicBezTo>
                  <a:lnTo>
                    <a:pt x="2028" y="350"/>
                  </a:lnTo>
                  <a:cubicBezTo>
                    <a:pt x="2039" y="350"/>
                    <a:pt x="2051" y="350"/>
                    <a:pt x="2051" y="361"/>
                  </a:cubicBezTo>
                  <a:lnTo>
                    <a:pt x="2065" y="361"/>
                  </a:lnTo>
                  <a:lnTo>
                    <a:pt x="2065" y="383"/>
                  </a:lnTo>
                  <a:lnTo>
                    <a:pt x="2065" y="406"/>
                  </a:lnTo>
                  <a:cubicBezTo>
                    <a:pt x="2065" y="431"/>
                    <a:pt x="2051" y="464"/>
                    <a:pt x="2051" y="501"/>
                  </a:cubicBezTo>
                  <a:lnTo>
                    <a:pt x="2051" y="512"/>
                  </a:lnTo>
                  <a:cubicBezTo>
                    <a:pt x="2051" y="523"/>
                    <a:pt x="2051" y="534"/>
                    <a:pt x="2065" y="545"/>
                  </a:cubicBezTo>
                  <a:cubicBezTo>
                    <a:pt x="2065" y="559"/>
                    <a:pt x="2076" y="571"/>
                    <a:pt x="2087" y="571"/>
                  </a:cubicBezTo>
                  <a:lnTo>
                    <a:pt x="2120" y="571"/>
                  </a:lnTo>
                  <a:cubicBezTo>
                    <a:pt x="2134" y="571"/>
                    <a:pt x="2134" y="571"/>
                    <a:pt x="2146" y="582"/>
                  </a:cubicBezTo>
                  <a:cubicBezTo>
                    <a:pt x="2146" y="593"/>
                    <a:pt x="2157" y="593"/>
                    <a:pt x="2168" y="604"/>
                  </a:cubicBezTo>
                  <a:cubicBezTo>
                    <a:pt x="2179" y="615"/>
                    <a:pt x="2204" y="615"/>
                    <a:pt x="2216" y="615"/>
                  </a:cubicBezTo>
                  <a:cubicBezTo>
                    <a:pt x="2227" y="615"/>
                    <a:pt x="2238" y="615"/>
                    <a:pt x="2249" y="604"/>
                  </a:cubicBezTo>
                  <a:cubicBezTo>
                    <a:pt x="2260" y="604"/>
                    <a:pt x="2274" y="593"/>
                    <a:pt x="2285" y="582"/>
                  </a:cubicBezTo>
                  <a:cubicBezTo>
                    <a:pt x="2297" y="571"/>
                    <a:pt x="2319" y="559"/>
                    <a:pt x="2344" y="559"/>
                  </a:cubicBezTo>
                  <a:cubicBezTo>
                    <a:pt x="2367" y="559"/>
                    <a:pt x="2389" y="571"/>
                    <a:pt x="2400" y="593"/>
                  </a:cubicBezTo>
                  <a:cubicBezTo>
                    <a:pt x="2414" y="604"/>
                    <a:pt x="2414" y="615"/>
                    <a:pt x="2425" y="629"/>
                  </a:cubicBezTo>
                  <a:cubicBezTo>
                    <a:pt x="2436" y="640"/>
                    <a:pt x="2448" y="640"/>
                    <a:pt x="2459" y="640"/>
                  </a:cubicBezTo>
                  <a:lnTo>
                    <a:pt x="2495" y="640"/>
                  </a:lnTo>
                  <a:cubicBezTo>
                    <a:pt x="2495" y="640"/>
                    <a:pt x="2506" y="640"/>
                    <a:pt x="2506" y="652"/>
                  </a:cubicBezTo>
                  <a:cubicBezTo>
                    <a:pt x="2518" y="663"/>
                    <a:pt x="2518" y="674"/>
                    <a:pt x="2529" y="685"/>
                  </a:cubicBezTo>
                  <a:lnTo>
                    <a:pt x="2529" y="699"/>
                  </a:lnTo>
                  <a:cubicBezTo>
                    <a:pt x="2540" y="699"/>
                    <a:pt x="2540" y="710"/>
                    <a:pt x="2554" y="710"/>
                  </a:cubicBezTo>
                  <a:lnTo>
                    <a:pt x="2576" y="710"/>
                  </a:lnTo>
                  <a:cubicBezTo>
                    <a:pt x="2624" y="699"/>
                    <a:pt x="2669" y="674"/>
                    <a:pt x="2716" y="674"/>
                  </a:cubicBezTo>
                  <a:lnTo>
                    <a:pt x="2727" y="674"/>
                  </a:lnTo>
                  <a:cubicBezTo>
                    <a:pt x="2738" y="674"/>
                    <a:pt x="2738" y="685"/>
                    <a:pt x="2750" y="685"/>
                  </a:cubicBezTo>
                  <a:lnTo>
                    <a:pt x="2750" y="699"/>
                  </a:lnTo>
                  <a:cubicBezTo>
                    <a:pt x="2764" y="710"/>
                    <a:pt x="2764" y="722"/>
                    <a:pt x="2775" y="733"/>
                  </a:cubicBezTo>
                  <a:cubicBezTo>
                    <a:pt x="2797" y="769"/>
                    <a:pt x="2834" y="780"/>
                    <a:pt x="2867" y="780"/>
                  </a:cubicBezTo>
                  <a:cubicBezTo>
                    <a:pt x="2903" y="780"/>
                    <a:pt x="2937" y="769"/>
                    <a:pt x="2973" y="744"/>
                  </a:cubicBezTo>
                  <a:cubicBezTo>
                    <a:pt x="2981" y="744"/>
                    <a:pt x="2983" y="739"/>
                    <a:pt x="2987" y="736"/>
                  </a:cubicBezTo>
                  <a:lnTo>
                    <a:pt x="2987" y="736"/>
                  </a:lnTo>
                  <a:cubicBezTo>
                    <a:pt x="2990" y="737"/>
                    <a:pt x="2993" y="738"/>
                    <a:pt x="2996" y="740"/>
                  </a:cubicBezTo>
                  <a:lnTo>
                    <a:pt x="2996" y="740"/>
                  </a:lnTo>
                  <a:cubicBezTo>
                    <a:pt x="2987" y="751"/>
                    <a:pt x="2977" y="760"/>
                    <a:pt x="2959" y="769"/>
                  </a:cubicBezTo>
                  <a:cubicBezTo>
                    <a:pt x="2948" y="780"/>
                    <a:pt x="2926" y="780"/>
                    <a:pt x="2903" y="780"/>
                  </a:cubicBezTo>
                  <a:lnTo>
                    <a:pt x="2845" y="780"/>
                  </a:lnTo>
                  <a:cubicBezTo>
                    <a:pt x="2820" y="780"/>
                    <a:pt x="2797" y="780"/>
                    <a:pt x="2775" y="791"/>
                  </a:cubicBezTo>
                  <a:cubicBezTo>
                    <a:pt x="2750" y="803"/>
                    <a:pt x="2727" y="825"/>
                    <a:pt x="2727" y="850"/>
                  </a:cubicBezTo>
                  <a:cubicBezTo>
                    <a:pt x="2716" y="861"/>
                    <a:pt x="2716" y="873"/>
                    <a:pt x="2716" y="884"/>
                  </a:cubicBezTo>
                  <a:lnTo>
                    <a:pt x="2716" y="895"/>
                  </a:lnTo>
                  <a:lnTo>
                    <a:pt x="2705" y="895"/>
                  </a:lnTo>
                  <a:cubicBezTo>
                    <a:pt x="2705" y="895"/>
                    <a:pt x="2694" y="909"/>
                    <a:pt x="2680" y="909"/>
                  </a:cubicBezTo>
                  <a:cubicBezTo>
                    <a:pt x="2669" y="909"/>
                    <a:pt x="2646" y="895"/>
                    <a:pt x="2635" y="895"/>
                  </a:cubicBezTo>
                  <a:lnTo>
                    <a:pt x="2624" y="895"/>
                  </a:lnTo>
                  <a:cubicBezTo>
                    <a:pt x="2599" y="895"/>
                    <a:pt x="2576" y="909"/>
                    <a:pt x="2554" y="920"/>
                  </a:cubicBezTo>
                  <a:cubicBezTo>
                    <a:pt x="2529" y="931"/>
                    <a:pt x="2518" y="931"/>
                    <a:pt x="2495" y="931"/>
                  </a:cubicBezTo>
                  <a:cubicBezTo>
                    <a:pt x="2484" y="931"/>
                    <a:pt x="2470" y="920"/>
                    <a:pt x="2448" y="920"/>
                  </a:cubicBezTo>
                  <a:cubicBezTo>
                    <a:pt x="2436" y="909"/>
                    <a:pt x="2425" y="895"/>
                    <a:pt x="2400" y="884"/>
                  </a:cubicBezTo>
                  <a:cubicBezTo>
                    <a:pt x="2378" y="861"/>
                    <a:pt x="2344" y="850"/>
                    <a:pt x="2297" y="850"/>
                  </a:cubicBezTo>
                  <a:lnTo>
                    <a:pt x="2249" y="850"/>
                  </a:lnTo>
                  <a:cubicBezTo>
                    <a:pt x="2204" y="873"/>
                    <a:pt x="2157" y="920"/>
                    <a:pt x="2157" y="979"/>
                  </a:cubicBezTo>
                  <a:lnTo>
                    <a:pt x="2157" y="990"/>
                  </a:lnTo>
                  <a:cubicBezTo>
                    <a:pt x="2168" y="1024"/>
                    <a:pt x="2179" y="1049"/>
                    <a:pt x="2204" y="1060"/>
                  </a:cubicBezTo>
                  <a:cubicBezTo>
                    <a:pt x="2227" y="1082"/>
                    <a:pt x="2260" y="1093"/>
                    <a:pt x="2297" y="1093"/>
                  </a:cubicBezTo>
                  <a:cubicBezTo>
                    <a:pt x="2349" y="1093"/>
                    <a:pt x="2391" y="1067"/>
                    <a:pt x="2425" y="1027"/>
                  </a:cubicBezTo>
                  <a:lnTo>
                    <a:pt x="2425" y="1027"/>
                  </a:lnTo>
                  <a:cubicBezTo>
                    <a:pt x="2431" y="1031"/>
                    <a:pt x="2436" y="1039"/>
                    <a:pt x="2436" y="1049"/>
                  </a:cubicBezTo>
                  <a:cubicBezTo>
                    <a:pt x="2448" y="1071"/>
                    <a:pt x="2459" y="1093"/>
                    <a:pt x="2470" y="1130"/>
                  </a:cubicBezTo>
                  <a:cubicBezTo>
                    <a:pt x="2484" y="1141"/>
                    <a:pt x="2484" y="1152"/>
                    <a:pt x="2495" y="1163"/>
                  </a:cubicBezTo>
                  <a:cubicBezTo>
                    <a:pt x="2506" y="1175"/>
                    <a:pt x="2518" y="1189"/>
                    <a:pt x="2540" y="1200"/>
                  </a:cubicBezTo>
                  <a:lnTo>
                    <a:pt x="2576" y="1200"/>
                  </a:lnTo>
                  <a:cubicBezTo>
                    <a:pt x="2599" y="1200"/>
                    <a:pt x="2624" y="1189"/>
                    <a:pt x="2646" y="1189"/>
                  </a:cubicBezTo>
                  <a:cubicBezTo>
                    <a:pt x="2653" y="1179"/>
                    <a:pt x="2665" y="1172"/>
                    <a:pt x="2677" y="1167"/>
                  </a:cubicBezTo>
                  <a:lnTo>
                    <a:pt x="2677" y="1167"/>
                  </a:lnTo>
                  <a:cubicBezTo>
                    <a:pt x="2681" y="1180"/>
                    <a:pt x="2684" y="1196"/>
                    <a:pt x="2694" y="1211"/>
                  </a:cubicBezTo>
                  <a:cubicBezTo>
                    <a:pt x="2705" y="1222"/>
                    <a:pt x="2716" y="1222"/>
                    <a:pt x="2716" y="1233"/>
                  </a:cubicBezTo>
                  <a:cubicBezTo>
                    <a:pt x="2727" y="1233"/>
                    <a:pt x="2738" y="1244"/>
                    <a:pt x="2750" y="1244"/>
                  </a:cubicBezTo>
                  <a:lnTo>
                    <a:pt x="2775" y="1244"/>
                  </a:lnTo>
                  <a:cubicBezTo>
                    <a:pt x="2797" y="1233"/>
                    <a:pt x="2808" y="1222"/>
                    <a:pt x="2820" y="1211"/>
                  </a:cubicBezTo>
                  <a:cubicBezTo>
                    <a:pt x="2820" y="1211"/>
                    <a:pt x="2820" y="1200"/>
                    <a:pt x="2834" y="1200"/>
                  </a:cubicBezTo>
                  <a:cubicBezTo>
                    <a:pt x="2845" y="1200"/>
                    <a:pt x="2845" y="1211"/>
                    <a:pt x="2845" y="1222"/>
                  </a:cubicBezTo>
                  <a:cubicBezTo>
                    <a:pt x="2856" y="1222"/>
                    <a:pt x="2856" y="1233"/>
                    <a:pt x="2867" y="1244"/>
                  </a:cubicBezTo>
                  <a:cubicBezTo>
                    <a:pt x="2867" y="1258"/>
                    <a:pt x="2878" y="1270"/>
                    <a:pt x="2889" y="1270"/>
                  </a:cubicBezTo>
                  <a:cubicBezTo>
                    <a:pt x="2903" y="1281"/>
                    <a:pt x="2915" y="1281"/>
                    <a:pt x="2926" y="1281"/>
                  </a:cubicBezTo>
                  <a:cubicBezTo>
                    <a:pt x="2948" y="1281"/>
                    <a:pt x="2973" y="1281"/>
                    <a:pt x="2996" y="1270"/>
                  </a:cubicBezTo>
                  <a:lnTo>
                    <a:pt x="3077" y="1270"/>
                  </a:lnTo>
                  <a:cubicBezTo>
                    <a:pt x="3088" y="1281"/>
                    <a:pt x="3088" y="1281"/>
                    <a:pt x="3088" y="1292"/>
                  </a:cubicBezTo>
                  <a:cubicBezTo>
                    <a:pt x="3099" y="1303"/>
                    <a:pt x="3099" y="1314"/>
                    <a:pt x="3099" y="1328"/>
                  </a:cubicBezTo>
                  <a:cubicBezTo>
                    <a:pt x="3099" y="1351"/>
                    <a:pt x="3113" y="1373"/>
                    <a:pt x="3113" y="1384"/>
                  </a:cubicBezTo>
                  <a:cubicBezTo>
                    <a:pt x="3136" y="1443"/>
                    <a:pt x="3183" y="1479"/>
                    <a:pt x="3239" y="1491"/>
                  </a:cubicBezTo>
                  <a:lnTo>
                    <a:pt x="3393" y="1491"/>
                  </a:lnTo>
                  <a:cubicBezTo>
                    <a:pt x="3415" y="1479"/>
                    <a:pt x="3438" y="1479"/>
                    <a:pt x="3449" y="1479"/>
                  </a:cubicBezTo>
                  <a:cubicBezTo>
                    <a:pt x="3474" y="1479"/>
                    <a:pt x="3485" y="1479"/>
                    <a:pt x="3496" y="1491"/>
                  </a:cubicBezTo>
                  <a:cubicBezTo>
                    <a:pt x="3519" y="1491"/>
                    <a:pt x="3533" y="1502"/>
                    <a:pt x="3544" y="1524"/>
                  </a:cubicBezTo>
                  <a:cubicBezTo>
                    <a:pt x="3555" y="1538"/>
                    <a:pt x="3555" y="1560"/>
                    <a:pt x="3555" y="1572"/>
                  </a:cubicBezTo>
                  <a:lnTo>
                    <a:pt x="3555" y="1583"/>
                  </a:lnTo>
                  <a:cubicBezTo>
                    <a:pt x="3555" y="1594"/>
                    <a:pt x="3555" y="1608"/>
                    <a:pt x="3544" y="1619"/>
                  </a:cubicBezTo>
                  <a:cubicBezTo>
                    <a:pt x="3533" y="1630"/>
                    <a:pt x="3519" y="1653"/>
                    <a:pt x="3519" y="1678"/>
                  </a:cubicBezTo>
                  <a:cubicBezTo>
                    <a:pt x="3519" y="1689"/>
                    <a:pt x="3519" y="1700"/>
                    <a:pt x="3533" y="1711"/>
                  </a:cubicBezTo>
                  <a:cubicBezTo>
                    <a:pt x="3544" y="1748"/>
                    <a:pt x="3577" y="1781"/>
                    <a:pt x="3625" y="1793"/>
                  </a:cubicBezTo>
                  <a:lnTo>
                    <a:pt x="3695" y="1793"/>
                  </a:lnTo>
                  <a:cubicBezTo>
                    <a:pt x="3706" y="1793"/>
                    <a:pt x="3717" y="1818"/>
                    <a:pt x="3742" y="1829"/>
                  </a:cubicBezTo>
                  <a:cubicBezTo>
                    <a:pt x="3776" y="1862"/>
                    <a:pt x="3823" y="1888"/>
                    <a:pt x="3882" y="1888"/>
                  </a:cubicBezTo>
                  <a:cubicBezTo>
                    <a:pt x="3893" y="1888"/>
                    <a:pt x="3916" y="1874"/>
                    <a:pt x="3927" y="1874"/>
                  </a:cubicBezTo>
                  <a:cubicBezTo>
                    <a:pt x="3952" y="1874"/>
                    <a:pt x="3963" y="1862"/>
                    <a:pt x="3974" y="1862"/>
                  </a:cubicBezTo>
                  <a:cubicBezTo>
                    <a:pt x="3974" y="1862"/>
                    <a:pt x="3986" y="1862"/>
                    <a:pt x="3997" y="1874"/>
                  </a:cubicBezTo>
                  <a:cubicBezTo>
                    <a:pt x="4008" y="1874"/>
                    <a:pt x="4022" y="1888"/>
                    <a:pt x="4033" y="1899"/>
                  </a:cubicBezTo>
                  <a:cubicBezTo>
                    <a:pt x="4035" y="1899"/>
                    <a:pt x="4037" y="1899"/>
                    <a:pt x="4039" y="1900"/>
                  </a:cubicBezTo>
                  <a:lnTo>
                    <a:pt x="4039" y="1900"/>
                  </a:lnTo>
                  <a:cubicBezTo>
                    <a:pt x="4033" y="1903"/>
                    <a:pt x="4033" y="1912"/>
                    <a:pt x="4033" y="1921"/>
                  </a:cubicBezTo>
                  <a:lnTo>
                    <a:pt x="4033" y="1932"/>
                  </a:lnTo>
                  <a:cubicBezTo>
                    <a:pt x="4033" y="1943"/>
                    <a:pt x="4044" y="1957"/>
                    <a:pt x="4044" y="1957"/>
                  </a:cubicBezTo>
                  <a:cubicBezTo>
                    <a:pt x="4064" y="2006"/>
                    <a:pt x="4094" y="2057"/>
                    <a:pt x="4140" y="2100"/>
                  </a:cubicBezTo>
                  <a:lnTo>
                    <a:pt x="4140" y="2100"/>
                  </a:lnTo>
                  <a:cubicBezTo>
                    <a:pt x="4138" y="2102"/>
                    <a:pt x="4137" y="2105"/>
                    <a:pt x="4137" y="2108"/>
                  </a:cubicBezTo>
                  <a:cubicBezTo>
                    <a:pt x="4125" y="2120"/>
                    <a:pt x="4125" y="2131"/>
                    <a:pt x="4125" y="2142"/>
                  </a:cubicBezTo>
                  <a:lnTo>
                    <a:pt x="4125" y="2167"/>
                  </a:lnTo>
                  <a:cubicBezTo>
                    <a:pt x="4137" y="2190"/>
                    <a:pt x="4148" y="2201"/>
                    <a:pt x="4162" y="2201"/>
                  </a:cubicBezTo>
                  <a:lnTo>
                    <a:pt x="4173" y="2212"/>
                  </a:lnTo>
                  <a:cubicBezTo>
                    <a:pt x="4184" y="2217"/>
                    <a:pt x="4195" y="2224"/>
                    <a:pt x="4206" y="2228"/>
                  </a:cubicBezTo>
                  <a:lnTo>
                    <a:pt x="4206" y="2228"/>
                  </a:lnTo>
                  <a:cubicBezTo>
                    <a:pt x="4202" y="2234"/>
                    <a:pt x="4199" y="2240"/>
                    <a:pt x="4195" y="2248"/>
                  </a:cubicBezTo>
                  <a:cubicBezTo>
                    <a:pt x="4184" y="2271"/>
                    <a:pt x="4173" y="2293"/>
                    <a:pt x="4173" y="2329"/>
                  </a:cubicBezTo>
                  <a:cubicBezTo>
                    <a:pt x="4173" y="2341"/>
                    <a:pt x="4173" y="2352"/>
                    <a:pt x="4184" y="2363"/>
                  </a:cubicBezTo>
                  <a:cubicBezTo>
                    <a:pt x="4184" y="2377"/>
                    <a:pt x="4195" y="2388"/>
                    <a:pt x="4195" y="2399"/>
                  </a:cubicBezTo>
                  <a:cubicBezTo>
                    <a:pt x="4195" y="2410"/>
                    <a:pt x="4206" y="2422"/>
                    <a:pt x="4206" y="2422"/>
                  </a:cubicBezTo>
                  <a:cubicBezTo>
                    <a:pt x="4206" y="2433"/>
                    <a:pt x="4206" y="2433"/>
                    <a:pt x="4195" y="2447"/>
                  </a:cubicBezTo>
                  <a:cubicBezTo>
                    <a:pt x="4195" y="2458"/>
                    <a:pt x="4184" y="2469"/>
                    <a:pt x="4173" y="2480"/>
                  </a:cubicBezTo>
                  <a:cubicBezTo>
                    <a:pt x="4148" y="2492"/>
                    <a:pt x="4137" y="2503"/>
                    <a:pt x="4125" y="2517"/>
                  </a:cubicBezTo>
                  <a:cubicBezTo>
                    <a:pt x="4092" y="2561"/>
                    <a:pt x="4092" y="2620"/>
                    <a:pt x="4092" y="2668"/>
                  </a:cubicBezTo>
                  <a:cubicBezTo>
                    <a:pt x="4078" y="2712"/>
                    <a:pt x="4078" y="2749"/>
                    <a:pt x="4055" y="2782"/>
                  </a:cubicBezTo>
                  <a:cubicBezTo>
                    <a:pt x="4055" y="2796"/>
                    <a:pt x="4033" y="2808"/>
                    <a:pt x="4033" y="2830"/>
                  </a:cubicBezTo>
                  <a:lnTo>
                    <a:pt x="4033" y="2852"/>
                  </a:lnTo>
                  <a:cubicBezTo>
                    <a:pt x="4033" y="2866"/>
                    <a:pt x="4022" y="2866"/>
                    <a:pt x="4022" y="2866"/>
                  </a:cubicBezTo>
                  <a:lnTo>
                    <a:pt x="4022" y="2877"/>
                  </a:lnTo>
                  <a:lnTo>
                    <a:pt x="3927" y="2877"/>
                  </a:lnTo>
                  <a:cubicBezTo>
                    <a:pt x="3916" y="2889"/>
                    <a:pt x="3893" y="2900"/>
                    <a:pt x="3882" y="2911"/>
                  </a:cubicBezTo>
                  <a:cubicBezTo>
                    <a:pt x="3868" y="2922"/>
                    <a:pt x="3857" y="2936"/>
                    <a:pt x="3846" y="2947"/>
                  </a:cubicBezTo>
                  <a:lnTo>
                    <a:pt x="3846" y="2936"/>
                  </a:lnTo>
                  <a:cubicBezTo>
                    <a:pt x="3846" y="2936"/>
                    <a:pt x="3846" y="2922"/>
                    <a:pt x="3857" y="2911"/>
                  </a:cubicBezTo>
                  <a:cubicBezTo>
                    <a:pt x="3857" y="2900"/>
                    <a:pt x="3868" y="2889"/>
                    <a:pt x="3868" y="2877"/>
                  </a:cubicBezTo>
                  <a:cubicBezTo>
                    <a:pt x="3893" y="2841"/>
                    <a:pt x="3893" y="2819"/>
                    <a:pt x="3893" y="2782"/>
                  </a:cubicBezTo>
                  <a:cubicBezTo>
                    <a:pt x="3893" y="2749"/>
                    <a:pt x="3893" y="2712"/>
                    <a:pt x="3868" y="2679"/>
                  </a:cubicBezTo>
                  <a:cubicBezTo>
                    <a:pt x="3857" y="2668"/>
                    <a:pt x="3857" y="2657"/>
                    <a:pt x="3846" y="2657"/>
                  </a:cubicBezTo>
                  <a:lnTo>
                    <a:pt x="3846" y="2631"/>
                  </a:lnTo>
                  <a:lnTo>
                    <a:pt x="3846" y="2609"/>
                  </a:lnTo>
                  <a:cubicBezTo>
                    <a:pt x="3846" y="2598"/>
                    <a:pt x="3857" y="2587"/>
                    <a:pt x="3857" y="2561"/>
                  </a:cubicBezTo>
                  <a:cubicBezTo>
                    <a:pt x="3857" y="2561"/>
                    <a:pt x="3857" y="2550"/>
                    <a:pt x="3846" y="2539"/>
                  </a:cubicBezTo>
                  <a:cubicBezTo>
                    <a:pt x="3823" y="2517"/>
                    <a:pt x="3787" y="2503"/>
                    <a:pt x="3765" y="2503"/>
                  </a:cubicBezTo>
                  <a:cubicBezTo>
                    <a:pt x="3742" y="2503"/>
                    <a:pt x="3717" y="2503"/>
                    <a:pt x="3706" y="2492"/>
                  </a:cubicBezTo>
                  <a:cubicBezTo>
                    <a:pt x="3695" y="2480"/>
                    <a:pt x="3695" y="2469"/>
                    <a:pt x="3695" y="2469"/>
                  </a:cubicBezTo>
                  <a:lnTo>
                    <a:pt x="3695" y="2458"/>
                  </a:lnTo>
                  <a:cubicBezTo>
                    <a:pt x="3695" y="2458"/>
                    <a:pt x="3706" y="2458"/>
                    <a:pt x="3706" y="2447"/>
                  </a:cubicBezTo>
                  <a:cubicBezTo>
                    <a:pt x="3717" y="2433"/>
                    <a:pt x="3717" y="2422"/>
                    <a:pt x="3717" y="2422"/>
                  </a:cubicBezTo>
                  <a:cubicBezTo>
                    <a:pt x="3717" y="2399"/>
                    <a:pt x="3717" y="2388"/>
                    <a:pt x="3706" y="2377"/>
                  </a:cubicBezTo>
                  <a:cubicBezTo>
                    <a:pt x="3695" y="2363"/>
                    <a:pt x="3684" y="2363"/>
                    <a:pt x="3658" y="2352"/>
                  </a:cubicBezTo>
                  <a:cubicBezTo>
                    <a:pt x="3636" y="2352"/>
                    <a:pt x="3625" y="2363"/>
                    <a:pt x="3614" y="2363"/>
                  </a:cubicBezTo>
                  <a:cubicBezTo>
                    <a:pt x="3603" y="2377"/>
                    <a:pt x="3589" y="2388"/>
                    <a:pt x="3577" y="2399"/>
                  </a:cubicBezTo>
                  <a:cubicBezTo>
                    <a:pt x="3577" y="2410"/>
                    <a:pt x="3566" y="2422"/>
                    <a:pt x="3566" y="2422"/>
                  </a:cubicBezTo>
                  <a:lnTo>
                    <a:pt x="3555" y="2433"/>
                  </a:lnTo>
                  <a:cubicBezTo>
                    <a:pt x="3544" y="2433"/>
                    <a:pt x="3544" y="2447"/>
                    <a:pt x="3533" y="2447"/>
                  </a:cubicBezTo>
                  <a:cubicBezTo>
                    <a:pt x="3519" y="2447"/>
                    <a:pt x="3507" y="2433"/>
                    <a:pt x="3496" y="2433"/>
                  </a:cubicBezTo>
                  <a:cubicBezTo>
                    <a:pt x="3496" y="2433"/>
                    <a:pt x="3485" y="2433"/>
                    <a:pt x="3474" y="2447"/>
                  </a:cubicBezTo>
                  <a:cubicBezTo>
                    <a:pt x="3463" y="2447"/>
                    <a:pt x="3463" y="2447"/>
                    <a:pt x="3449" y="2458"/>
                  </a:cubicBezTo>
                  <a:cubicBezTo>
                    <a:pt x="3438" y="2469"/>
                    <a:pt x="3438" y="2480"/>
                    <a:pt x="3438" y="2492"/>
                  </a:cubicBezTo>
                  <a:cubicBezTo>
                    <a:pt x="3438" y="2517"/>
                    <a:pt x="3438" y="2539"/>
                    <a:pt x="3449" y="2550"/>
                  </a:cubicBezTo>
                  <a:cubicBezTo>
                    <a:pt x="3463" y="2573"/>
                    <a:pt x="3474" y="2587"/>
                    <a:pt x="3463" y="2598"/>
                  </a:cubicBezTo>
                  <a:cubicBezTo>
                    <a:pt x="3449" y="2598"/>
                    <a:pt x="3438" y="2587"/>
                    <a:pt x="3426" y="2587"/>
                  </a:cubicBezTo>
                  <a:cubicBezTo>
                    <a:pt x="3415" y="2587"/>
                    <a:pt x="3393" y="2573"/>
                    <a:pt x="3379" y="2573"/>
                  </a:cubicBezTo>
                  <a:lnTo>
                    <a:pt x="3368" y="2573"/>
                  </a:lnTo>
                  <a:cubicBezTo>
                    <a:pt x="3345" y="2573"/>
                    <a:pt x="3323" y="2587"/>
                    <a:pt x="3309" y="2587"/>
                  </a:cubicBezTo>
                  <a:cubicBezTo>
                    <a:pt x="3256" y="2563"/>
                    <a:pt x="3201" y="2552"/>
                    <a:pt x="3135" y="2550"/>
                  </a:cubicBezTo>
                  <a:lnTo>
                    <a:pt x="3135" y="2550"/>
                  </a:lnTo>
                  <a:lnTo>
                    <a:pt x="3136" y="2550"/>
                  </a:lnTo>
                  <a:cubicBezTo>
                    <a:pt x="3099" y="2550"/>
                    <a:pt x="3077" y="2550"/>
                    <a:pt x="3054" y="2539"/>
                  </a:cubicBezTo>
                  <a:cubicBezTo>
                    <a:pt x="3007" y="2539"/>
                    <a:pt x="2959" y="2528"/>
                    <a:pt x="2915" y="2528"/>
                  </a:cubicBezTo>
                  <a:cubicBezTo>
                    <a:pt x="2820" y="2503"/>
                    <a:pt x="2716" y="2469"/>
                    <a:pt x="2610" y="2447"/>
                  </a:cubicBezTo>
                  <a:cubicBezTo>
                    <a:pt x="2610" y="2433"/>
                    <a:pt x="2599" y="2433"/>
                    <a:pt x="2587" y="2433"/>
                  </a:cubicBezTo>
                  <a:lnTo>
                    <a:pt x="2576" y="2422"/>
                  </a:lnTo>
                  <a:lnTo>
                    <a:pt x="2576" y="2410"/>
                  </a:lnTo>
                  <a:lnTo>
                    <a:pt x="2576" y="2363"/>
                  </a:lnTo>
                  <a:cubicBezTo>
                    <a:pt x="2576" y="2352"/>
                    <a:pt x="2576" y="2341"/>
                    <a:pt x="2565" y="2329"/>
                  </a:cubicBezTo>
                  <a:cubicBezTo>
                    <a:pt x="2565" y="2307"/>
                    <a:pt x="2540" y="2293"/>
                    <a:pt x="2529" y="2293"/>
                  </a:cubicBezTo>
                  <a:cubicBezTo>
                    <a:pt x="2506" y="2282"/>
                    <a:pt x="2484" y="2282"/>
                    <a:pt x="2459" y="2282"/>
                  </a:cubicBezTo>
                  <a:cubicBezTo>
                    <a:pt x="2448" y="2282"/>
                    <a:pt x="2425" y="2282"/>
                    <a:pt x="2425" y="2271"/>
                  </a:cubicBezTo>
                  <a:cubicBezTo>
                    <a:pt x="2414" y="2271"/>
                    <a:pt x="2414" y="2271"/>
                    <a:pt x="2400" y="2259"/>
                  </a:cubicBezTo>
                  <a:lnTo>
                    <a:pt x="2400" y="2223"/>
                  </a:lnTo>
                  <a:lnTo>
                    <a:pt x="2400" y="2190"/>
                  </a:lnTo>
                  <a:lnTo>
                    <a:pt x="2400" y="2178"/>
                  </a:lnTo>
                  <a:cubicBezTo>
                    <a:pt x="2400" y="2153"/>
                    <a:pt x="2400" y="2131"/>
                    <a:pt x="2389" y="2108"/>
                  </a:cubicBezTo>
                  <a:cubicBezTo>
                    <a:pt x="2389" y="2097"/>
                    <a:pt x="2378" y="2083"/>
                    <a:pt x="2367" y="2083"/>
                  </a:cubicBezTo>
                  <a:cubicBezTo>
                    <a:pt x="2355" y="2072"/>
                    <a:pt x="2344" y="2061"/>
                    <a:pt x="2330" y="2061"/>
                  </a:cubicBezTo>
                  <a:lnTo>
                    <a:pt x="2308" y="2061"/>
                  </a:lnTo>
                  <a:lnTo>
                    <a:pt x="2308" y="2083"/>
                  </a:lnTo>
                  <a:cubicBezTo>
                    <a:pt x="2298" y="2116"/>
                    <a:pt x="2288" y="2137"/>
                    <a:pt x="2278" y="2167"/>
                  </a:cubicBezTo>
                  <a:lnTo>
                    <a:pt x="2216" y="2167"/>
                  </a:lnTo>
                  <a:lnTo>
                    <a:pt x="2216" y="2178"/>
                  </a:lnTo>
                  <a:cubicBezTo>
                    <a:pt x="2204" y="2190"/>
                    <a:pt x="2190" y="2212"/>
                    <a:pt x="2190" y="2223"/>
                  </a:cubicBezTo>
                  <a:cubicBezTo>
                    <a:pt x="2190" y="2248"/>
                    <a:pt x="2204" y="2271"/>
                    <a:pt x="2204" y="2282"/>
                  </a:cubicBezTo>
                  <a:cubicBezTo>
                    <a:pt x="2216" y="2307"/>
                    <a:pt x="2216" y="2329"/>
                    <a:pt x="2216" y="2329"/>
                  </a:cubicBezTo>
                  <a:lnTo>
                    <a:pt x="2216" y="2341"/>
                  </a:lnTo>
                  <a:cubicBezTo>
                    <a:pt x="2216" y="2341"/>
                    <a:pt x="2216" y="2352"/>
                    <a:pt x="2204" y="2352"/>
                  </a:cubicBezTo>
                  <a:cubicBezTo>
                    <a:pt x="2204" y="2352"/>
                    <a:pt x="2190" y="2352"/>
                    <a:pt x="2190" y="2341"/>
                  </a:cubicBezTo>
                  <a:cubicBezTo>
                    <a:pt x="2168" y="2341"/>
                    <a:pt x="2157" y="2329"/>
                    <a:pt x="2146" y="2307"/>
                  </a:cubicBezTo>
                  <a:cubicBezTo>
                    <a:pt x="2134" y="2282"/>
                    <a:pt x="2120" y="2237"/>
                    <a:pt x="2109" y="2201"/>
                  </a:cubicBezTo>
                  <a:cubicBezTo>
                    <a:pt x="2109" y="2178"/>
                    <a:pt x="2098" y="2153"/>
                    <a:pt x="2087" y="2142"/>
                  </a:cubicBezTo>
                  <a:cubicBezTo>
                    <a:pt x="2076" y="2120"/>
                    <a:pt x="2065" y="2108"/>
                    <a:pt x="2039" y="2097"/>
                  </a:cubicBezTo>
                  <a:cubicBezTo>
                    <a:pt x="2028" y="2083"/>
                    <a:pt x="2017" y="2083"/>
                    <a:pt x="2006" y="2072"/>
                  </a:cubicBezTo>
                  <a:cubicBezTo>
                    <a:pt x="1995" y="2072"/>
                    <a:pt x="1995" y="2072"/>
                    <a:pt x="1981" y="2061"/>
                  </a:cubicBezTo>
                  <a:cubicBezTo>
                    <a:pt x="1981" y="2050"/>
                    <a:pt x="1970" y="2039"/>
                    <a:pt x="1970" y="2013"/>
                  </a:cubicBezTo>
                  <a:cubicBezTo>
                    <a:pt x="1958" y="2002"/>
                    <a:pt x="1958" y="1991"/>
                    <a:pt x="1947" y="1980"/>
                  </a:cubicBezTo>
                  <a:cubicBezTo>
                    <a:pt x="1947" y="1969"/>
                    <a:pt x="1936" y="1957"/>
                    <a:pt x="1911" y="1957"/>
                  </a:cubicBezTo>
                  <a:lnTo>
                    <a:pt x="1900" y="1957"/>
                  </a:lnTo>
                  <a:cubicBezTo>
                    <a:pt x="1888" y="1957"/>
                    <a:pt x="1877" y="1957"/>
                    <a:pt x="1866" y="1969"/>
                  </a:cubicBezTo>
                  <a:cubicBezTo>
                    <a:pt x="1855" y="1969"/>
                    <a:pt x="1841" y="1991"/>
                    <a:pt x="1841" y="2002"/>
                  </a:cubicBezTo>
                  <a:cubicBezTo>
                    <a:pt x="1830" y="2013"/>
                    <a:pt x="1830" y="2027"/>
                    <a:pt x="1830" y="2050"/>
                  </a:cubicBezTo>
                  <a:cubicBezTo>
                    <a:pt x="1830" y="2061"/>
                    <a:pt x="1830" y="2072"/>
                    <a:pt x="1841" y="2097"/>
                  </a:cubicBezTo>
                  <a:cubicBezTo>
                    <a:pt x="1841" y="2108"/>
                    <a:pt x="1855" y="2131"/>
                    <a:pt x="1866" y="2142"/>
                  </a:cubicBezTo>
                  <a:cubicBezTo>
                    <a:pt x="1866" y="2153"/>
                    <a:pt x="1877" y="2178"/>
                    <a:pt x="1877" y="2190"/>
                  </a:cubicBezTo>
                  <a:cubicBezTo>
                    <a:pt x="1877" y="2190"/>
                    <a:pt x="1877" y="2201"/>
                    <a:pt x="1866" y="2201"/>
                  </a:cubicBezTo>
                  <a:lnTo>
                    <a:pt x="1869" y="2202"/>
                  </a:lnTo>
                  <a:lnTo>
                    <a:pt x="1869" y="2202"/>
                  </a:lnTo>
                  <a:cubicBezTo>
                    <a:pt x="1861" y="2205"/>
                    <a:pt x="1852" y="2212"/>
                    <a:pt x="1841" y="2212"/>
                  </a:cubicBezTo>
                  <a:cubicBezTo>
                    <a:pt x="1830" y="2212"/>
                    <a:pt x="1796" y="2190"/>
                    <a:pt x="1760" y="2178"/>
                  </a:cubicBezTo>
                  <a:cubicBezTo>
                    <a:pt x="1726" y="2153"/>
                    <a:pt x="1690" y="2142"/>
                    <a:pt x="1645" y="2142"/>
                  </a:cubicBezTo>
                  <a:cubicBezTo>
                    <a:pt x="1609" y="2142"/>
                    <a:pt x="1575" y="2153"/>
                    <a:pt x="1539" y="2167"/>
                  </a:cubicBezTo>
                  <a:cubicBezTo>
                    <a:pt x="1517" y="2190"/>
                    <a:pt x="1480" y="2201"/>
                    <a:pt x="1458" y="2201"/>
                  </a:cubicBezTo>
                  <a:cubicBezTo>
                    <a:pt x="1458" y="2201"/>
                    <a:pt x="1447" y="2201"/>
                    <a:pt x="1435" y="2190"/>
                  </a:cubicBezTo>
                  <a:cubicBezTo>
                    <a:pt x="1421" y="2178"/>
                    <a:pt x="1421" y="2167"/>
                    <a:pt x="1410" y="2153"/>
                  </a:cubicBezTo>
                  <a:cubicBezTo>
                    <a:pt x="1399" y="2142"/>
                    <a:pt x="1388" y="2120"/>
                    <a:pt x="1366" y="2108"/>
                  </a:cubicBezTo>
                  <a:cubicBezTo>
                    <a:pt x="1340" y="2097"/>
                    <a:pt x="1329" y="2097"/>
                    <a:pt x="1307" y="2097"/>
                  </a:cubicBezTo>
                  <a:lnTo>
                    <a:pt x="1259" y="2097"/>
                  </a:lnTo>
                  <a:cubicBezTo>
                    <a:pt x="1237" y="2097"/>
                    <a:pt x="1201" y="2083"/>
                    <a:pt x="1167" y="2061"/>
                  </a:cubicBezTo>
                  <a:cubicBezTo>
                    <a:pt x="1131" y="2050"/>
                    <a:pt x="1097" y="2039"/>
                    <a:pt x="1050" y="2039"/>
                  </a:cubicBezTo>
                  <a:cubicBezTo>
                    <a:pt x="1027" y="2039"/>
                    <a:pt x="1016" y="2039"/>
                    <a:pt x="991" y="2050"/>
                  </a:cubicBezTo>
                  <a:cubicBezTo>
                    <a:pt x="968" y="2061"/>
                    <a:pt x="957" y="2072"/>
                    <a:pt x="946" y="2083"/>
                  </a:cubicBezTo>
                  <a:cubicBezTo>
                    <a:pt x="932" y="2097"/>
                    <a:pt x="921" y="2108"/>
                    <a:pt x="910" y="2108"/>
                  </a:cubicBezTo>
                  <a:cubicBezTo>
                    <a:pt x="921" y="2097"/>
                    <a:pt x="921" y="2097"/>
                    <a:pt x="921" y="2083"/>
                  </a:cubicBezTo>
                  <a:lnTo>
                    <a:pt x="921" y="2072"/>
                  </a:lnTo>
                  <a:cubicBezTo>
                    <a:pt x="921" y="2062"/>
                    <a:pt x="921" y="2052"/>
                    <a:pt x="929" y="2043"/>
                  </a:cubicBezTo>
                  <a:lnTo>
                    <a:pt x="929" y="2043"/>
                  </a:lnTo>
                  <a:lnTo>
                    <a:pt x="932" y="2050"/>
                  </a:lnTo>
                  <a:cubicBezTo>
                    <a:pt x="932" y="2039"/>
                    <a:pt x="946" y="2039"/>
                    <a:pt x="957" y="2027"/>
                  </a:cubicBezTo>
                  <a:lnTo>
                    <a:pt x="957" y="2002"/>
                  </a:lnTo>
                  <a:lnTo>
                    <a:pt x="957" y="1991"/>
                  </a:lnTo>
                  <a:cubicBezTo>
                    <a:pt x="957" y="1969"/>
                    <a:pt x="957" y="1943"/>
                    <a:pt x="946" y="1921"/>
                  </a:cubicBezTo>
                  <a:cubicBezTo>
                    <a:pt x="946" y="1910"/>
                    <a:pt x="957" y="1910"/>
                    <a:pt x="968" y="1899"/>
                  </a:cubicBezTo>
                  <a:lnTo>
                    <a:pt x="1002" y="1899"/>
                  </a:lnTo>
                  <a:cubicBezTo>
                    <a:pt x="1002" y="1899"/>
                    <a:pt x="1016" y="1899"/>
                    <a:pt x="1016" y="1888"/>
                  </a:cubicBezTo>
                  <a:lnTo>
                    <a:pt x="1038" y="1888"/>
                  </a:lnTo>
                  <a:cubicBezTo>
                    <a:pt x="1050" y="1874"/>
                    <a:pt x="1050" y="1862"/>
                    <a:pt x="1050" y="1862"/>
                  </a:cubicBezTo>
                  <a:lnTo>
                    <a:pt x="1050" y="1851"/>
                  </a:lnTo>
                  <a:lnTo>
                    <a:pt x="1061" y="1840"/>
                  </a:lnTo>
                  <a:lnTo>
                    <a:pt x="1097" y="1840"/>
                  </a:lnTo>
                  <a:cubicBezTo>
                    <a:pt x="1108" y="1840"/>
                    <a:pt x="1119" y="1840"/>
                    <a:pt x="1131" y="1829"/>
                  </a:cubicBezTo>
                  <a:cubicBezTo>
                    <a:pt x="1156" y="1829"/>
                    <a:pt x="1167" y="1804"/>
                    <a:pt x="1178" y="1793"/>
                  </a:cubicBezTo>
                  <a:lnTo>
                    <a:pt x="1178" y="1734"/>
                  </a:lnTo>
                  <a:lnTo>
                    <a:pt x="1178" y="1664"/>
                  </a:lnTo>
                  <a:lnTo>
                    <a:pt x="1189" y="1664"/>
                  </a:lnTo>
                  <a:lnTo>
                    <a:pt x="1189" y="1653"/>
                  </a:lnTo>
                  <a:cubicBezTo>
                    <a:pt x="1201" y="1653"/>
                    <a:pt x="1201" y="1642"/>
                    <a:pt x="1201" y="1630"/>
                  </a:cubicBezTo>
                  <a:lnTo>
                    <a:pt x="1201" y="1619"/>
                  </a:lnTo>
                  <a:lnTo>
                    <a:pt x="1201" y="1594"/>
                  </a:lnTo>
                  <a:cubicBezTo>
                    <a:pt x="1201" y="1583"/>
                    <a:pt x="1201" y="1560"/>
                    <a:pt x="1189" y="1538"/>
                  </a:cubicBezTo>
                  <a:lnTo>
                    <a:pt x="1189" y="1524"/>
                  </a:lnTo>
                  <a:lnTo>
                    <a:pt x="1189" y="1513"/>
                  </a:lnTo>
                  <a:lnTo>
                    <a:pt x="1189" y="1502"/>
                  </a:lnTo>
                  <a:lnTo>
                    <a:pt x="1189" y="1479"/>
                  </a:lnTo>
                  <a:lnTo>
                    <a:pt x="1189" y="1468"/>
                  </a:lnTo>
                  <a:cubicBezTo>
                    <a:pt x="1189" y="1443"/>
                    <a:pt x="1178" y="1421"/>
                    <a:pt x="1178" y="1398"/>
                  </a:cubicBezTo>
                  <a:cubicBezTo>
                    <a:pt x="1167" y="1384"/>
                    <a:pt x="1156" y="1373"/>
                    <a:pt x="1156" y="1362"/>
                  </a:cubicBezTo>
                  <a:lnTo>
                    <a:pt x="1156" y="1351"/>
                  </a:lnTo>
                  <a:cubicBezTo>
                    <a:pt x="1156" y="1340"/>
                    <a:pt x="1167" y="1328"/>
                    <a:pt x="1189" y="1328"/>
                  </a:cubicBezTo>
                  <a:cubicBezTo>
                    <a:pt x="1201" y="1314"/>
                    <a:pt x="1212" y="1314"/>
                    <a:pt x="1237" y="1292"/>
                  </a:cubicBezTo>
                  <a:cubicBezTo>
                    <a:pt x="1248" y="1281"/>
                    <a:pt x="1248" y="1270"/>
                    <a:pt x="1248" y="1244"/>
                  </a:cubicBezTo>
                  <a:lnTo>
                    <a:pt x="1248" y="1222"/>
                  </a:lnTo>
                  <a:cubicBezTo>
                    <a:pt x="1237" y="1200"/>
                    <a:pt x="1226" y="1175"/>
                    <a:pt x="1201" y="1163"/>
                  </a:cubicBezTo>
                  <a:cubicBezTo>
                    <a:pt x="1201" y="1163"/>
                    <a:pt x="1189" y="1152"/>
                    <a:pt x="1167" y="1152"/>
                  </a:cubicBezTo>
                  <a:lnTo>
                    <a:pt x="1119" y="1152"/>
                  </a:lnTo>
                  <a:lnTo>
                    <a:pt x="1108" y="1141"/>
                  </a:lnTo>
                  <a:cubicBezTo>
                    <a:pt x="1108" y="1130"/>
                    <a:pt x="1108" y="1119"/>
                    <a:pt x="1097" y="1119"/>
                  </a:cubicBezTo>
                  <a:cubicBezTo>
                    <a:pt x="1086" y="1105"/>
                    <a:pt x="1072" y="1105"/>
                    <a:pt x="1061" y="1105"/>
                  </a:cubicBezTo>
                  <a:cubicBezTo>
                    <a:pt x="1050" y="1105"/>
                    <a:pt x="1038" y="1105"/>
                    <a:pt x="1027" y="1130"/>
                  </a:cubicBezTo>
                  <a:cubicBezTo>
                    <a:pt x="1016" y="1141"/>
                    <a:pt x="1002" y="1152"/>
                    <a:pt x="1002" y="1175"/>
                  </a:cubicBezTo>
                  <a:lnTo>
                    <a:pt x="1016" y="1189"/>
                  </a:lnTo>
                  <a:cubicBezTo>
                    <a:pt x="1002" y="1189"/>
                    <a:pt x="991" y="1200"/>
                    <a:pt x="991" y="1211"/>
                  </a:cubicBezTo>
                  <a:cubicBezTo>
                    <a:pt x="980" y="1222"/>
                    <a:pt x="980" y="1233"/>
                    <a:pt x="980" y="1233"/>
                  </a:cubicBezTo>
                  <a:lnTo>
                    <a:pt x="980" y="1244"/>
                  </a:lnTo>
                  <a:lnTo>
                    <a:pt x="980" y="1270"/>
                  </a:lnTo>
                  <a:cubicBezTo>
                    <a:pt x="968" y="1270"/>
                    <a:pt x="968" y="1270"/>
                    <a:pt x="968" y="1281"/>
                  </a:cubicBezTo>
                  <a:lnTo>
                    <a:pt x="957" y="1281"/>
                  </a:lnTo>
                  <a:lnTo>
                    <a:pt x="957" y="1270"/>
                  </a:lnTo>
                  <a:lnTo>
                    <a:pt x="957" y="1258"/>
                  </a:lnTo>
                  <a:cubicBezTo>
                    <a:pt x="957" y="1244"/>
                    <a:pt x="957" y="1244"/>
                    <a:pt x="946" y="1233"/>
                  </a:cubicBezTo>
                  <a:cubicBezTo>
                    <a:pt x="946" y="1222"/>
                    <a:pt x="932" y="1211"/>
                    <a:pt x="921" y="1211"/>
                  </a:cubicBezTo>
                  <a:lnTo>
                    <a:pt x="887" y="1211"/>
                  </a:lnTo>
                  <a:cubicBezTo>
                    <a:pt x="876" y="1211"/>
                    <a:pt x="862" y="1211"/>
                    <a:pt x="840" y="1222"/>
                  </a:cubicBezTo>
                  <a:cubicBezTo>
                    <a:pt x="817" y="1222"/>
                    <a:pt x="806" y="1233"/>
                    <a:pt x="792" y="1270"/>
                  </a:cubicBezTo>
                  <a:lnTo>
                    <a:pt x="792" y="1281"/>
                  </a:lnTo>
                  <a:lnTo>
                    <a:pt x="792" y="1303"/>
                  </a:lnTo>
                  <a:cubicBezTo>
                    <a:pt x="792" y="1314"/>
                    <a:pt x="781" y="1328"/>
                    <a:pt x="781" y="1340"/>
                  </a:cubicBezTo>
                  <a:lnTo>
                    <a:pt x="770" y="1351"/>
                  </a:lnTo>
                  <a:lnTo>
                    <a:pt x="759" y="1340"/>
                  </a:lnTo>
                  <a:lnTo>
                    <a:pt x="759" y="1314"/>
                  </a:lnTo>
                  <a:cubicBezTo>
                    <a:pt x="759" y="1303"/>
                    <a:pt x="759" y="1292"/>
                    <a:pt x="748" y="1281"/>
                  </a:cubicBezTo>
                  <a:cubicBezTo>
                    <a:pt x="748" y="1270"/>
                    <a:pt x="736" y="1258"/>
                    <a:pt x="711" y="1258"/>
                  </a:cubicBezTo>
                  <a:lnTo>
                    <a:pt x="678" y="1258"/>
                  </a:lnTo>
                  <a:cubicBezTo>
                    <a:pt x="666" y="1270"/>
                    <a:pt x="666" y="1281"/>
                    <a:pt x="652" y="1281"/>
                  </a:cubicBezTo>
                  <a:cubicBezTo>
                    <a:pt x="652" y="1292"/>
                    <a:pt x="641" y="1292"/>
                    <a:pt x="641" y="1292"/>
                  </a:cubicBezTo>
                  <a:lnTo>
                    <a:pt x="608" y="1292"/>
                  </a:lnTo>
                  <a:cubicBezTo>
                    <a:pt x="583" y="1281"/>
                    <a:pt x="571" y="1270"/>
                    <a:pt x="549" y="1270"/>
                  </a:cubicBezTo>
                  <a:lnTo>
                    <a:pt x="479" y="1270"/>
                  </a:lnTo>
                  <a:lnTo>
                    <a:pt x="468" y="1258"/>
                  </a:lnTo>
                  <a:lnTo>
                    <a:pt x="457" y="1258"/>
                  </a:lnTo>
                  <a:cubicBezTo>
                    <a:pt x="457" y="1244"/>
                    <a:pt x="457" y="1244"/>
                    <a:pt x="443" y="1233"/>
                  </a:cubicBezTo>
                  <a:cubicBezTo>
                    <a:pt x="432" y="1222"/>
                    <a:pt x="409" y="1211"/>
                    <a:pt x="409" y="1211"/>
                  </a:cubicBezTo>
                  <a:cubicBezTo>
                    <a:pt x="398" y="1211"/>
                    <a:pt x="387" y="1211"/>
                    <a:pt x="387" y="1200"/>
                  </a:cubicBezTo>
                  <a:lnTo>
                    <a:pt x="387" y="1189"/>
                  </a:lnTo>
                  <a:cubicBezTo>
                    <a:pt x="373" y="1175"/>
                    <a:pt x="373" y="1163"/>
                    <a:pt x="373" y="1152"/>
                  </a:cubicBezTo>
                  <a:cubicBezTo>
                    <a:pt x="362" y="1141"/>
                    <a:pt x="362" y="1119"/>
                    <a:pt x="362" y="1119"/>
                  </a:cubicBezTo>
                  <a:lnTo>
                    <a:pt x="362" y="1105"/>
                  </a:lnTo>
                  <a:lnTo>
                    <a:pt x="373" y="1105"/>
                  </a:lnTo>
                  <a:lnTo>
                    <a:pt x="387" y="1093"/>
                  </a:lnTo>
                  <a:lnTo>
                    <a:pt x="398" y="1082"/>
                  </a:lnTo>
                  <a:lnTo>
                    <a:pt x="398" y="1071"/>
                  </a:lnTo>
                  <a:lnTo>
                    <a:pt x="398" y="1049"/>
                  </a:lnTo>
                  <a:cubicBezTo>
                    <a:pt x="398" y="1035"/>
                    <a:pt x="387" y="1024"/>
                    <a:pt x="387" y="1024"/>
                  </a:cubicBezTo>
                  <a:lnTo>
                    <a:pt x="387" y="1012"/>
                  </a:lnTo>
                  <a:lnTo>
                    <a:pt x="443" y="1012"/>
                  </a:lnTo>
                  <a:cubicBezTo>
                    <a:pt x="468" y="1012"/>
                    <a:pt x="490" y="1012"/>
                    <a:pt x="501" y="990"/>
                  </a:cubicBezTo>
                  <a:cubicBezTo>
                    <a:pt x="513" y="979"/>
                    <a:pt x="527" y="965"/>
                    <a:pt x="527" y="942"/>
                  </a:cubicBezTo>
                  <a:cubicBezTo>
                    <a:pt x="527" y="931"/>
                    <a:pt x="513" y="909"/>
                    <a:pt x="513" y="895"/>
                  </a:cubicBezTo>
                  <a:lnTo>
                    <a:pt x="501" y="895"/>
                  </a:lnTo>
                  <a:cubicBezTo>
                    <a:pt x="490" y="873"/>
                    <a:pt x="457" y="861"/>
                    <a:pt x="432" y="861"/>
                  </a:cubicBezTo>
                  <a:lnTo>
                    <a:pt x="432" y="850"/>
                  </a:lnTo>
                  <a:lnTo>
                    <a:pt x="387" y="850"/>
                  </a:lnTo>
                  <a:cubicBezTo>
                    <a:pt x="362" y="850"/>
                    <a:pt x="350" y="850"/>
                    <a:pt x="328" y="861"/>
                  </a:cubicBezTo>
                  <a:cubicBezTo>
                    <a:pt x="317" y="861"/>
                    <a:pt x="303" y="873"/>
                    <a:pt x="292" y="873"/>
                  </a:cubicBezTo>
                  <a:lnTo>
                    <a:pt x="292" y="861"/>
                  </a:lnTo>
                  <a:lnTo>
                    <a:pt x="281" y="861"/>
                  </a:lnTo>
                  <a:lnTo>
                    <a:pt x="281" y="839"/>
                  </a:lnTo>
                  <a:cubicBezTo>
                    <a:pt x="281" y="825"/>
                    <a:pt x="281" y="814"/>
                    <a:pt x="269" y="791"/>
                  </a:cubicBezTo>
                  <a:lnTo>
                    <a:pt x="258" y="780"/>
                  </a:lnTo>
                  <a:cubicBezTo>
                    <a:pt x="258" y="769"/>
                    <a:pt x="258" y="755"/>
                    <a:pt x="269" y="755"/>
                  </a:cubicBezTo>
                  <a:cubicBezTo>
                    <a:pt x="269" y="733"/>
                    <a:pt x="281" y="722"/>
                    <a:pt x="281" y="699"/>
                  </a:cubicBezTo>
                  <a:lnTo>
                    <a:pt x="281" y="674"/>
                  </a:lnTo>
                  <a:cubicBezTo>
                    <a:pt x="269" y="663"/>
                    <a:pt x="258" y="652"/>
                    <a:pt x="247" y="652"/>
                  </a:cubicBezTo>
                  <a:lnTo>
                    <a:pt x="211" y="652"/>
                  </a:lnTo>
                  <a:cubicBezTo>
                    <a:pt x="211" y="652"/>
                    <a:pt x="199" y="652"/>
                    <a:pt x="199" y="640"/>
                  </a:cubicBezTo>
                  <a:lnTo>
                    <a:pt x="188" y="640"/>
                  </a:lnTo>
                  <a:cubicBezTo>
                    <a:pt x="188" y="629"/>
                    <a:pt x="177" y="615"/>
                    <a:pt x="177" y="615"/>
                  </a:cubicBezTo>
                  <a:cubicBezTo>
                    <a:pt x="163" y="604"/>
                    <a:pt x="141" y="593"/>
                    <a:pt x="130" y="593"/>
                  </a:cubicBezTo>
                  <a:cubicBezTo>
                    <a:pt x="110" y="573"/>
                    <a:pt x="79" y="562"/>
                    <a:pt x="48" y="550"/>
                  </a:cubicBezTo>
                  <a:lnTo>
                    <a:pt x="48" y="550"/>
                  </a:lnTo>
                  <a:lnTo>
                    <a:pt x="48" y="545"/>
                  </a:lnTo>
                  <a:cubicBezTo>
                    <a:pt x="48" y="545"/>
                    <a:pt x="60" y="534"/>
                    <a:pt x="71" y="534"/>
                  </a:cubicBezTo>
                  <a:cubicBezTo>
                    <a:pt x="82" y="534"/>
                    <a:pt x="93" y="523"/>
                    <a:pt x="107" y="523"/>
                  </a:cubicBezTo>
                  <a:cubicBezTo>
                    <a:pt x="118" y="512"/>
                    <a:pt x="130" y="501"/>
                    <a:pt x="141" y="475"/>
                  </a:cubicBezTo>
                  <a:lnTo>
                    <a:pt x="141" y="464"/>
                  </a:lnTo>
                  <a:lnTo>
                    <a:pt x="141" y="442"/>
                  </a:lnTo>
                  <a:cubicBezTo>
                    <a:pt x="141" y="431"/>
                    <a:pt x="141" y="431"/>
                    <a:pt x="152" y="431"/>
                  </a:cubicBezTo>
                  <a:cubicBezTo>
                    <a:pt x="152" y="420"/>
                    <a:pt x="163" y="420"/>
                    <a:pt x="163" y="394"/>
                  </a:cubicBezTo>
                  <a:lnTo>
                    <a:pt x="163" y="383"/>
                  </a:lnTo>
                  <a:cubicBezTo>
                    <a:pt x="163" y="361"/>
                    <a:pt x="152" y="336"/>
                    <a:pt x="141" y="324"/>
                  </a:cubicBezTo>
                  <a:cubicBezTo>
                    <a:pt x="118" y="313"/>
                    <a:pt x="107" y="302"/>
                    <a:pt x="93" y="302"/>
                  </a:cubicBezTo>
                  <a:cubicBezTo>
                    <a:pt x="82" y="280"/>
                    <a:pt x="71" y="266"/>
                    <a:pt x="71" y="243"/>
                  </a:cubicBezTo>
                  <a:lnTo>
                    <a:pt x="71" y="243"/>
                  </a:lnTo>
                  <a:lnTo>
                    <a:pt x="71" y="243"/>
                  </a:lnTo>
                  <a:cubicBezTo>
                    <a:pt x="83" y="242"/>
                    <a:pt x="100" y="237"/>
                    <a:pt x="118" y="221"/>
                  </a:cubicBezTo>
                  <a:cubicBezTo>
                    <a:pt x="130" y="221"/>
                    <a:pt x="130" y="210"/>
                    <a:pt x="130" y="196"/>
                  </a:cubicBezTo>
                  <a:cubicBezTo>
                    <a:pt x="141" y="185"/>
                    <a:pt x="152" y="173"/>
                    <a:pt x="163" y="173"/>
                  </a:cubicBezTo>
                  <a:lnTo>
                    <a:pt x="188" y="173"/>
                  </a:lnTo>
                  <a:cubicBezTo>
                    <a:pt x="199" y="173"/>
                    <a:pt x="211" y="162"/>
                    <a:pt x="211" y="162"/>
                  </a:cubicBezTo>
                  <a:cubicBezTo>
                    <a:pt x="222" y="151"/>
                    <a:pt x="222" y="151"/>
                    <a:pt x="222" y="140"/>
                  </a:cubicBezTo>
                  <a:lnTo>
                    <a:pt x="222" y="126"/>
                  </a:lnTo>
                  <a:lnTo>
                    <a:pt x="222" y="115"/>
                  </a:lnTo>
                  <a:lnTo>
                    <a:pt x="233" y="115"/>
                  </a:lnTo>
                  <a:cubicBezTo>
                    <a:pt x="233" y="104"/>
                    <a:pt x="233" y="104"/>
                    <a:pt x="247" y="104"/>
                  </a:cubicBezTo>
                  <a:lnTo>
                    <a:pt x="258" y="92"/>
                  </a:lnTo>
                  <a:cubicBezTo>
                    <a:pt x="258" y="92"/>
                    <a:pt x="258" y="104"/>
                    <a:pt x="269" y="115"/>
                  </a:cubicBezTo>
                  <a:cubicBezTo>
                    <a:pt x="281" y="140"/>
                    <a:pt x="303" y="151"/>
                    <a:pt x="328" y="151"/>
                  </a:cubicBezTo>
                  <a:lnTo>
                    <a:pt x="350" y="151"/>
                  </a:lnTo>
                  <a:cubicBezTo>
                    <a:pt x="362" y="140"/>
                    <a:pt x="373" y="140"/>
                    <a:pt x="373" y="126"/>
                  </a:cubicBezTo>
                  <a:lnTo>
                    <a:pt x="373" y="115"/>
                  </a:lnTo>
                  <a:lnTo>
                    <a:pt x="373" y="92"/>
                  </a:lnTo>
                  <a:lnTo>
                    <a:pt x="398" y="92"/>
                  </a:lnTo>
                  <a:cubicBezTo>
                    <a:pt x="409" y="92"/>
                    <a:pt x="409" y="92"/>
                    <a:pt x="420" y="81"/>
                  </a:cubicBezTo>
                  <a:cubicBezTo>
                    <a:pt x="432" y="81"/>
                    <a:pt x="443" y="70"/>
                    <a:pt x="443" y="56"/>
                  </a:cubicBezTo>
                  <a:cubicBezTo>
                    <a:pt x="457" y="56"/>
                    <a:pt x="468" y="45"/>
                    <a:pt x="479" y="45"/>
                  </a:cubicBezTo>
                  <a:lnTo>
                    <a:pt x="490" y="45"/>
                  </a:lnTo>
                  <a:cubicBezTo>
                    <a:pt x="501" y="45"/>
                    <a:pt x="513" y="56"/>
                    <a:pt x="538" y="56"/>
                  </a:cubicBezTo>
                  <a:lnTo>
                    <a:pt x="549" y="56"/>
                  </a:lnTo>
                  <a:cubicBezTo>
                    <a:pt x="560" y="45"/>
                    <a:pt x="571" y="45"/>
                    <a:pt x="571" y="45"/>
                  </a:cubicBezTo>
                  <a:lnTo>
                    <a:pt x="583" y="45"/>
                  </a:lnTo>
                  <a:cubicBezTo>
                    <a:pt x="583" y="41"/>
                    <a:pt x="584" y="40"/>
                    <a:pt x="586" y="40"/>
                  </a:cubicBezTo>
                  <a:close/>
                  <a:moveTo>
                    <a:pt x="479" y="0"/>
                  </a:moveTo>
                  <a:cubicBezTo>
                    <a:pt x="457" y="0"/>
                    <a:pt x="432" y="11"/>
                    <a:pt x="409" y="34"/>
                  </a:cubicBezTo>
                  <a:lnTo>
                    <a:pt x="398" y="45"/>
                  </a:lnTo>
                  <a:lnTo>
                    <a:pt x="350" y="45"/>
                  </a:lnTo>
                  <a:cubicBezTo>
                    <a:pt x="339" y="56"/>
                    <a:pt x="328" y="56"/>
                    <a:pt x="328" y="70"/>
                  </a:cubicBezTo>
                  <a:lnTo>
                    <a:pt x="328" y="92"/>
                  </a:lnTo>
                  <a:lnTo>
                    <a:pt x="328" y="101"/>
                  </a:lnTo>
                  <a:lnTo>
                    <a:pt x="328" y="101"/>
                  </a:lnTo>
                  <a:cubicBezTo>
                    <a:pt x="320" y="97"/>
                    <a:pt x="312" y="92"/>
                    <a:pt x="303" y="92"/>
                  </a:cubicBezTo>
                  <a:cubicBezTo>
                    <a:pt x="303" y="81"/>
                    <a:pt x="303" y="81"/>
                    <a:pt x="292" y="70"/>
                  </a:cubicBezTo>
                  <a:cubicBezTo>
                    <a:pt x="292" y="56"/>
                    <a:pt x="281" y="56"/>
                    <a:pt x="269" y="45"/>
                  </a:cubicBezTo>
                  <a:lnTo>
                    <a:pt x="258" y="45"/>
                  </a:lnTo>
                  <a:cubicBezTo>
                    <a:pt x="233" y="45"/>
                    <a:pt x="222" y="56"/>
                    <a:pt x="222" y="56"/>
                  </a:cubicBezTo>
                  <a:cubicBezTo>
                    <a:pt x="211" y="70"/>
                    <a:pt x="199" y="70"/>
                    <a:pt x="199" y="81"/>
                  </a:cubicBezTo>
                  <a:cubicBezTo>
                    <a:pt x="188" y="81"/>
                    <a:pt x="177" y="92"/>
                    <a:pt x="177" y="115"/>
                  </a:cubicBezTo>
                  <a:lnTo>
                    <a:pt x="177" y="126"/>
                  </a:lnTo>
                  <a:lnTo>
                    <a:pt x="152" y="126"/>
                  </a:lnTo>
                  <a:cubicBezTo>
                    <a:pt x="130" y="140"/>
                    <a:pt x="107" y="151"/>
                    <a:pt x="93" y="173"/>
                  </a:cubicBezTo>
                  <a:cubicBezTo>
                    <a:pt x="82" y="185"/>
                    <a:pt x="82" y="185"/>
                    <a:pt x="82" y="196"/>
                  </a:cubicBezTo>
                  <a:lnTo>
                    <a:pt x="37" y="196"/>
                  </a:lnTo>
                  <a:lnTo>
                    <a:pt x="37" y="221"/>
                  </a:lnTo>
                  <a:cubicBezTo>
                    <a:pt x="23" y="221"/>
                    <a:pt x="23" y="232"/>
                    <a:pt x="23" y="243"/>
                  </a:cubicBezTo>
                  <a:cubicBezTo>
                    <a:pt x="23" y="266"/>
                    <a:pt x="37" y="302"/>
                    <a:pt x="60" y="324"/>
                  </a:cubicBezTo>
                  <a:cubicBezTo>
                    <a:pt x="82" y="350"/>
                    <a:pt x="93" y="350"/>
                    <a:pt x="107" y="361"/>
                  </a:cubicBezTo>
                  <a:cubicBezTo>
                    <a:pt x="118" y="372"/>
                    <a:pt x="118" y="383"/>
                    <a:pt x="118" y="383"/>
                  </a:cubicBezTo>
                  <a:lnTo>
                    <a:pt x="118" y="394"/>
                  </a:lnTo>
                  <a:cubicBezTo>
                    <a:pt x="107" y="406"/>
                    <a:pt x="107" y="406"/>
                    <a:pt x="93" y="420"/>
                  </a:cubicBezTo>
                  <a:lnTo>
                    <a:pt x="93" y="442"/>
                  </a:lnTo>
                  <a:lnTo>
                    <a:pt x="93" y="464"/>
                  </a:lnTo>
                  <a:cubicBezTo>
                    <a:pt x="93" y="475"/>
                    <a:pt x="93" y="475"/>
                    <a:pt x="82" y="475"/>
                  </a:cubicBezTo>
                  <a:cubicBezTo>
                    <a:pt x="71" y="489"/>
                    <a:pt x="60" y="489"/>
                    <a:pt x="48" y="489"/>
                  </a:cubicBezTo>
                  <a:cubicBezTo>
                    <a:pt x="37" y="501"/>
                    <a:pt x="23" y="512"/>
                    <a:pt x="23" y="512"/>
                  </a:cubicBezTo>
                  <a:cubicBezTo>
                    <a:pt x="12" y="523"/>
                    <a:pt x="1" y="534"/>
                    <a:pt x="1" y="559"/>
                  </a:cubicBezTo>
                  <a:cubicBezTo>
                    <a:pt x="1" y="559"/>
                    <a:pt x="1" y="571"/>
                    <a:pt x="12" y="582"/>
                  </a:cubicBezTo>
                  <a:lnTo>
                    <a:pt x="23" y="593"/>
                  </a:lnTo>
                  <a:cubicBezTo>
                    <a:pt x="48" y="604"/>
                    <a:pt x="82" y="615"/>
                    <a:pt x="118" y="629"/>
                  </a:cubicBezTo>
                  <a:cubicBezTo>
                    <a:pt x="130" y="640"/>
                    <a:pt x="130" y="640"/>
                    <a:pt x="141" y="640"/>
                  </a:cubicBezTo>
                  <a:cubicBezTo>
                    <a:pt x="141" y="652"/>
                    <a:pt x="141" y="652"/>
                    <a:pt x="152" y="663"/>
                  </a:cubicBezTo>
                  <a:cubicBezTo>
                    <a:pt x="152" y="663"/>
                    <a:pt x="163" y="674"/>
                    <a:pt x="177" y="685"/>
                  </a:cubicBezTo>
                  <a:cubicBezTo>
                    <a:pt x="188" y="699"/>
                    <a:pt x="211" y="699"/>
                    <a:pt x="222" y="699"/>
                  </a:cubicBezTo>
                  <a:lnTo>
                    <a:pt x="233" y="699"/>
                  </a:lnTo>
                  <a:cubicBezTo>
                    <a:pt x="233" y="699"/>
                    <a:pt x="233" y="710"/>
                    <a:pt x="222" y="722"/>
                  </a:cubicBezTo>
                  <a:cubicBezTo>
                    <a:pt x="222" y="733"/>
                    <a:pt x="211" y="755"/>
                    <a:pt x="211" y="780"/>
                  </a:cubicBezTo>
                  <a:lnTo>
                    <a:pt x="211" y="803"/>
                  </a:lnTo>
                  <a:cubicBezTo>
                    <a:pt x="222" y="814"/>
                    <a:pt x="233" y="814"/>
                    <a:pt x="233" y="825"/>
                  </a:cubicBezTo>
                  <a:lnTo>
                    <a:pt x="233" y="850"/>
                  </a:lnTo>
                  <a:cubicBezTo>
                    <a:pt x="233" y="861"/>
                    <a:pt x="233" y="861"/>
                    <a:pt x="247" y="873"/>
                  </a:cubicBezTo>
                  <a:cubicBezTo>
                    <a:pt x="247" y="884"/>
                    <a:pt x="247" y="895"/>
                    <a:pt x="258" y="895"/>
                  </a:cubicBezTo>
                  <a:cubicBezTo>
                    <a:pt x="269" y="909"/>
                    <a:pt x="281" y="920"/>
                    <a:pt x="292" y="920"/>
                  </a:cubicBezTo>
                  <a:cubicBezTo>
                    <a:pt x="317" y="909"/>
                    <a:pt x="328" y="909"/>
                    <a:pt x="339" y="909"/>
                  </a:cubicBezTo>
                  <a:cubicBezTo>
                    <a:pt x="350" y="895"/>
                    <a:pt x="373" y="895"/>
                    <a:pt x="387" y="895"/>
                  </a:cubicBezTo>
                  <a:lnTo>
                    <a:pt x="420" y="895"/>
                  </a:lnTo>
                  <a:cubicBezTo>
                    <a:pt x="443" y="909"/>
                    <a:pt x="468" y="920"/>
                    <a:pt x="468" y="931"/>
                  </a:cubicBezTo>
                  <a:cubicBezTo>
                    <a:pt x="479" y="931"/>
                    <a:pt x="479" y="942"/>
                    <a:pt x="479" y="942"/>
                  </a:cubicBezTo>
                  <a:cubicBezTo>
                    <a:pt x="479" y="954"/>
                    <a:pt x="479" y="954"/>
                    <a:pt x="468" y="965"/>
                  </a:cubicBezTo>
                  <a:lnTo>
                    <a:pt x="409" y="965"/>
                  </a:lnTo>
                  <a:cubicBezTo>
                    <a:pt x="398" y="965"/>
                    <a:pt x="387" y="965"/>
                    <a:pt x="373" y="979"/>
                  </a:cubicBezTo>
                  <a:cubicBezTo>
                    <a:pt x="373" y="979"/>
                    <a:pt x="362" y="979"/>
                    <a:pt x="350" y="990"/>
                  </a:cubicBezTo>
                  <a:cubicBezTo>
                    <a:pt x="350" y="1001"/>
                    <a:pt x="339" y="1012"/>
                    <a:pt x="339" y="1024"/>
                  </a:cubicBezTo>
                  <a:cubicBezTo>
                    <a:pt x="339" y="1035"/>
                    <a:pt x="350" y="1060"/>
                    <a:pt x="350" y="1060"/>
                  </a:cubicBezTo>
                  <a:cubicBezTo>
                    <a:pt x="339" y="1071"/>
                    <a:pt x="328" y="1071"/>
                    <a:pt x="328" y="1082"/>
                  </a:cubicBezTo>
                  <a:cubicBezTo>
                    <a:pt x="317" y="1093"/>
                    <a:pt x="317" y="1105"/>
                    <a:pt x="317" y="1119"/>
                  </a:cubicBezTo>
                  <a:cubicBezTo>
                    <a:pt x="317" y="1130"/>
                    <a:pt x="328" y="1152"/>
                    <a:pt x="328" y="1163"/>
                  </a:cubicBezTo>
                  <a:cubicBezTo>
                    <a:pt x="328" y="1175"/>
                    <a:pt x="339" y="1189"/>
                    <a:pt x="339" y="1189"/>
                  </a:cubicBezTo>
                  <a:cubicBezTo>
                    <a:pt x="339" y="1200"/>
                    <a:pt x="339" y="1222"/>
                    <a:pt x="350" y="1233"/>
                  </a:cubicBezTo>
                  <a:cubicBezTo>
                    <a:pt x="362" y="1244"/>
                    <a:pt x="373" y="1258"/>
                    <a:pt x="398" y="1258"/>
                  </a:cubicBezTo>
                  <a:lnTo>
                    <a:pt x="409" y="1258"/>
                  </a:lnTo>
                  <a:lnTo>
                    <a:pt x="409" y="1270"/>
                  </a:lnTo>
                  <a:lnTo>
                    <a:pt x="409" y="1281"/>
                  </a:lnTo>
                  <a:cubicBezTo>
                    <a:pt x="420" y="1292"/>
                    <a:pt x="432" y="1303"/>
                    <a:pt x="443" y="1303"/>
                  </a:cubicBezTo>
                  <a:cubicBezTo>
                    <a:pt x="457" y="1303"/>
                    <a:pt x="468" y="1314"/>
                    <a:pt x="479" y="1314"/>
                  </a:cubicBezTo>
                  <a:lnTo>
                    <a:pt x="538" y="1314"/>
                  </a:lnTo>
                  <a:cubicBezTo>
                    <a:pt x="549" y="1314"/>
                    <a:pt x="560" y="1328"/>
                    <a:pt x="583" y="1340"/>
                  </a:cubicBezTo>
                  <a:lnTo>
                    <a:pt x="666" y="1340"/>
                  </a:lnTo>
                  <a:cubicBezTo>
                    <a:pt x="678" y="1328"/>
                    <a:pt x="689" y="1314"/>
                    <a:pt x="689" y="1303"/>
                  </a:cubicBezTo>
                  <a:lnTo>
                    <a:pt x="711" y="1303"/>
                  </a:lnTo>
                  <a:lnTo>
                    <a:pt x="711" y="1328"/>
                  </a:lnTo>
                  <a:cubicBezTo>
                    <a:pt x="711" y="1340"/>
                    <a:pt x="711" y="1351"/>
                    <a:pt x="722" y="1362"/>
                  </a:cubicBezTo>
                  <a:cubicBezTo>
                    <a:pt x="722" y="1373"/>
                    <a:pt x="736" y="1384"/>
                    <a:pt x="748" y="1384"/>
                  </a:cubicBezTo>
                  <a:cubicBezTo>
                    <a:pt x="759" y="1398"/>
                    <a:pt x="759" y="1398"/>
                    <a:pt x="770" y="1398"/>
                  </a:cubicBezTo>
                  <a:cubicBezTo>
                    <a:pt x="792" y="1398"/>
                    <a:pt x="806" y="1384"/>
                    <a:pt x="817" y="1373"/>
                  </a:cubicBezTo>
                  <a:cubicBezTo>
                    <a:pt x="829" y="1351"/>
                    <a:pt x="840" y="1328"/>
                    <a:pt x="840" y="1303"/>
                  </a:cubicBezTo>
                  <a:lnTo>
                    <a:pt x="840" y="1281"/>
                  </a:lnTo>
                  <a:cubicBezTo>
                    <a:pt x="840" y="1270"/>
                    <a:pt x="840" y="1270"/>
                    <a:pt x="851" y="1258"/>
                  </a:cubicBezTo>
                  <a:lnTo>
                    <a:pt x="910" y="1258"/>
                  </a:lnTo>
                  <a:lnTo>
                    <a:pt x="910" y="1270"/>
                  </a:lnTo>
                  <a:lnTo>
                    <a:pt x="910" y="1281"/>
                  </a:lnTo>
                  <a:cubicBezTo>
                    <a:pt x="910" y="1303"/>
                    <a:pt x="921" y="1303"/>
                    <a:pt x="932" y="1314"/>
                  </a:cubicBezTo>
                  <a:cubicBezTo>
                    <a:pt x="946" y="1328"/>
                    <a:pt x="957" y="1328"/>
                    <a:pt x="957" y="1328"/>
                  </a:cubicBezTo>
                  <a:cubicBezTo>
                    <a:pt x="968" y="1328"/>
                    <a:pt x="980" y="1328"/>
                    <a:pt x="991" y="1314"/>
                  </a:cubicBezTo>
                  <a:cubicBezTo>
                    <a:pt x="1002" y="1303"/>
                    <a:pt x="1016" y="1292"/>
                    <a:pt x="1016" y="1281"/>
                  </a:cubicBezTo>
                  <a:cubicBezTo>
                    <a:pt x="1027" y="1270"/>
                    <a:pt x="1027" y="1258"/>
                    <a:pt x="1027" y="1244"/>
                  </a:cubicBezTo>
                  <a:lnTo>
                    <a:pt x="1027" y="1233"/>
                  </a:lnTo>
                  <a:lnTo>
                    <a:pt x="1038" y="1233"/>
                  </a:lnTo>
                  <a:cubicBezTo>
                    <a:pt x="1038" y="1222"/>
                    <a:pt x="1050" y="1222"/>
                    <a:pt x="1050" y="1211"/>
                  </a:cubicBezTo>
                  <a:cubicBezTo>
                    <a:pt x="1050" y="1200"/>
                    <a:pt x="1061" y="1200"/>
                    <a:pt x="1061" y="1189"/>
                  </a:cubicBezTo>
                  <a:cubicBezTo>
                    <a:pt x="1061" y="1189"/>
                    <a:pt x="1061" y="1175"/>
                    <a:pt x="1050" y="1175"/>
                  </a:cubicBezTo>
                  <a:cubicBezTo>
                    <a:pt x="1050" y="1163"/>
                    <a:pt x="1061" y="1152"/>
                    <a:pt x="1061" y="1152"/>
                  </a:cubicBezTo>
                  <a:cubicBezTo>
                    <a:pt x="1072" y="1163"/>
                    <a:pt x="1072" y="1163"/>
                    <a:pt x="1072" y="1175"/>
                  </a:cubicBezTo>
                  <a:cubicBezTo>
                    <a:pt x="1086" y="1189"/>
                    <a:pt x="1097" y="1189"/>
                    <a:pt x="1097" y="1189"/>
                  </a:cubicBezTo>
                  <a:cubicBezTo>
                    <a:pt x="1108" y="1200"/>
                    <a:pt x="1119" y="1200"/>
                    <a:pt x="1119" y="1200"/>
                  </a:cubicBezTo>
                  <a:lnTo>
                    <a:pt x="1178" y="1200"/>
                  </a:lnTo>
                  <a:cubicBezTo>
                    <a:pt x="1189" y="1211"/>
                    <a:pt x="1201" y="1222"/>
                    <a:pt x="1201" y="1233"/>
                  </a:cubicBezTo>
                  <a:lnTo>
                    <a:pt x="1201" y="1244"/>
                  </a:lnTo>
                  <a:lnTo>
                    <a:pt x="1201" y="1270"/>
                  </a:lnTo>
                  <a:cubicBezTo>
                    <a:pt x="1189" y="1270"/>
                    <a:pt x="1178" y="1270"/>
                    <a:pt x="1167" y="1281"/>
                  </a:cubicBezTo>
                  <a:cubicBezTo>
                    <a:pt x="1142" y="1292"/>
                    <a:pt x="1119" y="1303"/>
                    <a:pt x="1108" y="1340"/>
                  </a:cubicBezTo>
                  <a:lnTo>
                    <a:pt x="1108" y="1362"/>
                  </a:lnTo>
                  <a:cubicBezTo>
                    <a:pt x="1108" y="1384"/>
                    <a:pt x="1119" y="1409"/>
                    <a:pt x="1131" y="1421"/>
                  </a:cubicBezTo>
                  <a:cubicBezTo>
                    <a:pt x="1142" y="1443"/>
                    <a:pt x="1142" y="1454"/>
                    <a:pt x="1142" y="1468"/>
                  </a:cubicBezTo>
                  <a:lnTo>
                    <a:pt x="1142" y="1479"/>
                  </a:lnTo>
                  <a:lnTo>
                    <a:pt x="1142" y="1491"/>
                  </a:lnTo>
                  <a:lnTo>
                    <a:pt x="1142" y="1513"/>
                  </a:lnTo>
                  <a:lnTo>
                    <a:pt x="1142" y="1538"/>
                  </a:lnTo>
                  <a:cubicBezTo>
                    <a:pt x="1142" y="1549"/>
                    <a:pt x="1156" y="1549"/>
                    <a:pt x="1156" y="1560"/>
                  </a:cubicBezTo>
                  <a:lnTo>
                    <a:pt x="1156" y="1594"/>
                  </a:lnTo>
                  <a:lnTo>
                    <a:pt x="1156" y="1619"/>
                  </a:lnTo>
                  <a:cubicBezTo>
                    <a:pt x="1142" y="1630"/>
                    <a:pt x="1142" y="1630"/>
                    <a:pt x="1131" y="1642"/>
                  </a:cubicBezTo>
                  <a:lnTo>
                    <a:pt x="1131" y="1664"/>
                  </a:lnTo>
                  <a:lnTo>
                    <a:pt x="1131" y="1678"/>
                  </a:lnTo>
                  <a:lnTo>
                    <a:pt x="1131" y="1734"/>
                  </a:lnTo>
                  <a:lnTo>
                    <a:pt x="1131" y="1770"/>
                  </a:lnTo>
                  <a:cubicBezTo>
                    <a:pt x="1131" y="1781"/>
                    <a:pt x="1119" y="1793"/>
                    <a:pt x="1119" y="1793"/>
                  </a:cubicBezTo>
                  <a:lnTo>
                    <a:pt x="1072" y="1793"/>
                  </a:lnTo>
                  <a:cubicBezTo>
                    <a:pt x="1061" y="1793"/>
                    <a:pt x="1050" y="1793"/>
                    <a:pt x="1038" y="1804"/>
                  </a:cubicBezTo>
                  <a:cubicBezTo>
                    <a:pt x="1038" y="1804"/>
                    <a:pt x="1027" y="1818"/>
                    <a:pt x="1016" y="1829"/>
                  </a:cubicBezTo>
                  <a:lnTo>
                    <a:pt x="1002" y="1840"/>
                  </a:lnTo>
                  <a:lnTo>
                    <a:pt x="1002" y="1851"/>
                  </a:lnTo>
                  <a:lnTo>
                    <a:pt x="980" y="1851"/>
                  </a:lnTo>
                  <a:cubicBezTo>
                    <a:pt x="968" y="1851"/>
                    <a:pt x="957" y="1851"/>
                    <a:pt x="946" y="1862"/>
                  </a:cubicBezTo>
                  <a:cubicBezTo>
                    <a:pt x="932" y="1862"/>
                    <a:pt x="921" y="1874"/>
                    <a:pt x="910" y="1888"/>
                  </a:cubicBezTo>
                  <a:cubicBezTo>
                    <a:pt x="910" y="1888"/>
                    <a:pt x="899" y="1888"/>
                    <a:pt x="899" y="1910"/>
                  </a:cubicBezTo>
                  <a:lnTo>
                    <a:pt x="887" y="1910"/>
                  </a:lnTo>
                  <a:cubicBezTo>
                    <a:pt x="887" y="1921"/>
                    <a:pt x="899" y="1932"/>
                    <a:pt x="899" y="1932"/>
                  </a:cubicBezTo>
                  <a:cubicBezTo>
                    <a:pt x="910" y="1957"/>
                    <a:pt x="910" y="1980"/>
                    <a:pt x="910" y="1991"/>
                  </a:cubicBezTo>
                  <a:lnTo>
                    <a:pt x="910" y="2002"/>
                  </a:lnTo>
                  <a:lnTo>
                    <a:pt x="899" y="2002"/>
                  </a:lnTo>
                  <a:cubicBezTo>
                    <a:pt x="887" y="2027"/>
                    <a:pt x="876" y="2050"/>
                    <a:pt x="876" y="2072"/>
                  </a:cubicBezTo>
                  <a:lnTo>
                    <a:pt x="876" y="2083"/>
                  </a:lnTo>
                  <a:cubicBezTo>
                    <a:pt x="876" y="2083"/>
                    <a:pt x="862" y="2083"/>
                    <a:pt x="862" y="2097"/>
                  </a:cubicBezTo>
                  <a:lnTo>
                    <a:pt x="829" y="2108"/>
                  </a:lnTo>
                  <a:lnTo>
                    <a:pt x="862" y="2131"/>
                  </a:lnTo>
                  <a:cubicBezTo>
                    <a:pt x="876" y="2142"/>
                    <a:pt x="887" y="2153"/>
                    <a:pt x="910" y="2153"/>
                  </a:cubicBezTo>
                  <a:cubicBezTo>
                    <a:pt x="946" y="2153"/>
                    <a:pt x="957" y="2131"/>
                    <a:pt x="980" y="2120"/>
                  </a:cubicBezTo>
                  <a:cubicBezTo>
                    <a:pt x="991" y="2108"/>
                    <a:pt x="1002" y="2097"/>
                    <a:pt x="1016" y="2097"/>
                  </a:cubicBezTo>
                  <a:cubicBezTo>
                    <a:pt x="1027" y="2083"/>
                    <a:pt x="1038" y="2083"/>
                    <a:pt x="1050" y="2083"/>
                  </a:cubicBezTo>
                  <a:cubicBezTo>
                    <a:pt x="1072" y="2083"/>
                    <a:pt x="1108" y="2097"/>
                    <a:pt x="1142" y="2108"/>
                  </a:cubicBezTo>
                  <a:cubicBezTo>
                    <a:pt x="1178" y="2120"/>
                    <a:pt x="1212" y="2142"/>
                    <a:pt x="1259" y="2142"/>
                  </a:cubicBezTo>
                  <a:lnTo>
                    <a:pt x="1340" y="2142"/>
                  </a:lnTo>
                  <a:cubicBezTo>
                    <a:pt x="1352" y="2153"/>
                    <a:pt x="1352" y="2167"/>
                    <a:pt x="1366" y="2178"/>
                  </a:cubicBezTo>
                  <a:cubicBezTo>
                    <a:pt x="1377" y="2190"/>
                    <a:pt x="1388" y="2212"/>
                    <a:pt x="1410" y="2223"/>
                  </a:cubicBezTo>
                  <a:cubicBezTo>
                    <a:pt x="1421" y="2237"/>
                    <a:pt x="1447" y="2248"/>
                    <a:pt x="1458" y="2248"/>
                  </a:cubicBezTo>
                  <a:cubicBezTo>
                    <a:pt x="1505" y="2248"/>
                    <a:pt x="1528" y="2223"/>
                    <a:pt x="1561" y="2212"/>
                  </a:cubicBezTo>
                  <a:cubicBezTo>
                    <a:pt x="1598" y="2201"/>
                    <a:pt x="1620" y="2190"/>
                    <a:pt x="1645" y="2190"/>
                  </a:cubicBezTo>
                  <a:cubicBezTo>
                    <a:pt x="1679" y="2190"/>
                    <a:pt x="1701" y="2201"/>
                    <a:pt x="1737" y="2212"/>
                  </a:cubicBezTo>
                  <a:cubicBezTo>
                    <a:pt x="1771" y="2237"/>
                    <a:pt x="1807" y="2259"/>
                    <a:pt x="1841" y="2259"/>
                  </a:cubicBezTo>
                  <a:cubicBezTo>
                    <a:pt x="1866" y="2259"/>
                    <a:pt x="1888" y="2248"/>
                    <a:pt x="1900" y="2237"/>
                  </a:cubicBezTo>
                  <a:lnTo>
                    <a:pt x="1911" y="2237"/>
                  </a:lnTo>
                  <a:cubicBezTo>
                    <a:pt x="1911" y="2212"/>
                    <a:pt x="1925" y="2201"/>
                    <a:pt x="1925" y="2190"/>
                  </a:cubicBezTo>
                  <a:cubicBezTo>
                    <a:pt x="1925" y="2167"/>
                    <a:pt x="1911" y="2142"/>
                    <a:pt x="1900" y="2120"/>
                  </a:cubicBezTo>
                  <a:cubicBezTo>
                    <a:pt x="1900" y="2108"/>
                    <a:pt x="1888" y="2083"/>
                    <a:pt x="1877" y="2072"/>
                  </a:cubicBezTo>
                  <a:lnTo>
                    <a:pt x="1877" y="2050"/>
                  </a:lnTo>
                  <a:cubicBezTo>
                    <a:pt x="1877" y="2027"/>
                    <a:pt x="1877" y="2013"/>
                    <a:pt x="1888" y="2013"/>
                  </a:cubicBezTo>
                  <a:lnTo>
                    <a:pt x="1888" y="2002"/>
                  </a:lnTo>
                  <a:lnTo>
                    <a:pt x="1911" y="2002"/>
                  </a:lnTo>
                  <a:cubicBezTo>
                    <a:pt x="1911" y="2013"/>
                    <a:pt x="1925" y="2027"/>
                    <a:pt x="1925" y="2050"/>
                  </a:cubicBezTo>
                  <a:cubicBezTo>
                    <a:pt x="1936" y="2061"/>
                    <a:pt x="1936" y="2072"/>
                    <a:pt x="1947" y="2097"/>
                  </a:cubicBezTo>
                  <a:cubicBezTo>
                    <a:pt x="1958" y="2108"/>
                    <a:pt x="1981" y="2120"/>
                    <a:pt x="1995" y="2120"/>
                  </a:cubicBezTo>
                  <a:cubicBezTo>
                    <a:pt x="2006" y="2131"/>
                    <a:pt x="2017" y="2131"/>
                    <a:pt x="2017" y="2131"/>
                  </a:cubicBezTo>
                  <a:cubicBezTo>
                    <a:pt x="2039" y="2142"/>
                    <a:pt x="2051" y="2153"/>
                    <a:pt x="2065" y="2178"/>
                  </a:cubicBezTo>
                  <a:cubicBezTo>
                    <a:pt x="2076" y="2212"/>
                    <a:pt x="2076" y="2248"/>
                    <a:pt x="2087" y="2293"/>
                  </a:cubicBezTo>
                  <a:cubicBezTo>
                    <a:pt x="2098" y="2307"/>
                    <a:pt x="2109" y="2329"/>
                    <a:pt x="2120" y="2341"/>
                  </a:cubicBezTo>
                  <a:cubicBezTo>
                    <a:pt x="2134" y="2363"/>
                    <a:pt x="2146" y="2377"/>
                    <a:pt x="2168" y="2388"/>
                  </a:cubicBezTo>
                  <a:cubicBezTo>
                    <a:pt x="2179" y="2399"/>
                    <a:pt x="2190" y="2399"/>
                    <a:pt x="2204" y="2399"/>
                  </a:cubicBezTo>
                  <a:cubicBezTo>
                    <a:pt x="2204" y="2399"/>
                    <a:pt x="2216" y="2399"/>
                    <a:pt x="2227" y="2388"/>
                  </a:cubicBezTo>
                  <a:cubicBezTo>
                    <a:pt x="2238" y="2388"/>
                    <a:pt x="2249" y="2377"/>
                    <a:pt x="2249" y="2363"/>
                  </a:cubicBezTo>
                  <a:cubicBezTo>
                    <a:pt x="2260" y="2352"/>
                    <a:pt x="2260" y="2341"/>
                    <a:pt x="2260" y="2329"/>
                  </a:cubicBezTo>
                  <a:cubicBezTo>
                    <a:pt x="2260" y="2318"/>
                    <a:pt x="2260" y="2293"/>
                    <a:pt x="2249" y="2282"/>
                  </a:cubicBezTo>
                  <a:cubicBezTo>
                    <a:pt x="2249" y="2259"/>
                    <a:pt x="2238" y="2237"/>
                    <a:pt x="2238" y="2223"/>
                  </a:cubicBezTo>
                  <a:cubicBezTo>
                    <a:pt x="2238" y="2218"/>
                    <a:pt x="2241" y="2215"/>
                    <a:pt x="2244" y="2212"/>
                  </a:cubicBezTo>
                  <a:lnTo>
                    <a:pt x="2319" y="2212"/>
                  </a:lnTo>
                  <a:lnTo>
                    <a:pt x="2319" y="2190"/>
                  </a:lnTo>
                  <a:cubicBezTo>
                    <a:pt x="2327" y="2173"/>
                    <a:pt x="2337" y="2148"/>
                    <a:pt x="2347" y="2122"/>
                  </a:cubicBezTo>
                  <a:lnTo>
                    <a:pt x="2347" y="2122"/>
                  </a:lnTo>
                  <a:cubicBezTo>
                    <a:pt x="2350" y="2126"/>
                    <a:pt x="2355" y="2134"/>
                    <a:pt x="2355" y="2142"/>
                  </a:cubicBezTo>
                  <a:lnTo>
                    <a:pt x="2355" y="2178"/>
                  </a:lnTo>
                  <a:lnTo>
                    <a:pt x="2355" y="2223"/>
                  </a:lnTo>
                  <a:cubicBezTo>
                    <a:pt x="2355" y="2237"/>
                    <a:pt x="2355" y="2259"/>
                    <a:pt x="2367" y="2271"/>
                  </a:cubicBezTo>
                  <a:cubicBezTo>
                    <a:pt x="2367" y="2282"/>
                    <a:pt x="2378" y="2307"/>
                    <a:pt x="2389" y="2318"/>
                  </a:cubicBezTo>
                  <a:cubicBezTo>
                    <a:pt x="2400" y="2329"/>
                    <a:pt x="2425" y="2329"/>
                    <a:pt x="2436" y="2329"/>
                  </a:cubicBezTo>
                  <a:cubicBezTo>
                    <a:pt x="2459" y="2329"/>
                    <a:pt x="2484" y="2329"/>
                    <a:pt x="2495" y="2341"/>
                  </a:cubicBezTo>
                  <a:lnTo>
                    <a:pt x="2518" y="2341"/>
                  </a:lnTo>
                  <a:cubicBezTo>
                    <a:pt x="2518" y="2341"/>
                    <a:pt x="2529" y="2341"/>
                    <a:pt x="2529" y="2352"/>
                  </a:cubicBezTo>
                  <a:lnTo>
                    <a:pt x="2529" y="2363"/>
                  </a:lnTo>
                  <a:lnTo>
                    <a:pt x="2529" y="2410"/>
                  </a:lnTo>
                  <a:cubicBezTo>
                    <a:pt x="2529" y="2422"/>
                    <a:pt x="2529" y="2433"/>
                    <a:pt x="2540" y="2447"/>
                  </a:cubicBezTo>
                  <a:cubicBezTo>
                    <a:pt x="2540" y="2458"/>
                    <a:pt x="2554" y="2469"/>
                    <a:pt x="2565" y="2480"/>
                  </a:cubicBezTo>
                  <a:cubicBezTo>
                    <a:pt x="2576" y="2480"/>
                    <a:pt x="2587" y="2480"/>
                    <a:pt x="2599" y="2492"/>
                  </a:cubicBezTo>
                  <a:cubicBezTo>
                    <a:pt x="2705" y="2517"/>
                    <a:pt x="2808" y="2550"/>
                    <a:pt x="2903" y="2561"/>
                  </a:cubicBezTo>
                  <a:cubicBezTo>
                    <a:pt x="2959" y="2573"/>
                    <a:pt x="3007" y="2587"/>
                    <a:pt x="3054" y="2587"/>
                  </a:cubicBezTo>
                  <a:cubicBezTo>
                    <a:pt x="3077" y="2587"/>
                    <a:pt x="3099" y="2598"/>
                    <a:pt x="3124" y="2598"/>
                  </a:cubicBezTo>
                  <a:cubicBezTo>
                    <a:pt x="3183" y="2598"/>
                    <a:pt x="3239" y="2609"/>
                    <a:pt x="3298" y="2631"/>
                  </a:cubicBezTo>
                  <a:lnTo>
                    <a:pt x="3323" y="2631"/>
                  </a:lnTo>
                  <a:cubicBezTo>
                    <a:pt x="3345" y="2631"/>
                    <a:pt x="3356" y="2620"/>
                    <a:pt x="3368" y="2620"/>
                  </a:cubicBezTo>
                  <a:lnTo>
                    <a:pt x="3379" y="2620"/>
                  </a:lnTo>
                  <a:cubicBezTo>
                    <a:pt x="3393" y="2620"/>
                    <a:pt x="3404" y="2631"/>
                    <a:pt x="3415" y="2631"/>
                  </a:cubicBezTo>
                  <a:cubicBezTo>
                    <a:pt x="3426" y="2631"/>
                    <a:pt x="3449" y="2643"/>
                    <a:pt x="3463" y="2643"/>
                  </a:cubicBezTo>
                  <a:cubicBezTo>
                    <a:pt x="3474" y="2643"/>
                    <a:pt x="3485" y="2643"/>
                    <a:pt x="3496" y="2631"/>
                  </a:cubicBezTo>
                  <a:lnTo>
                    <a:pt x="3507" y="2620"/>
                  </a:lnTo>
                  <a:lnTo>
                    <a:pt x="3507" y="2598"/>
                  </a:lnTo>
                  <a:cubicBezTo>
                    <a:pt x="3507" y="2573"/>
                    <a:pt x="3496" y="2550"/>
                    <a:pt x="3496" y="2528"/>
                  </a:cubicBezTo>
                  <a:cubicBezTo>
                    <a:pt x="3485" y="2517"/>
                    <a:pt x="3485" y="2503"/>
                    <a:pt x="3485" y="2492"/>
                  </a:cubicBezTo>
                  <a:lnTo>
                    <a:pt x="3485" y="2480"/>
                  </a:lnTo>
                  <a:lnTo>
                    <a:pt x="3496" y="2480"/>
                  </a:lnTo>
                  <a:cubicBezTo>
                    <a:pt x="3507" y="2480"/>
                    <a:pt x="3519" y="2492"/>
                    <a:pt x="3533" y="2492"/>
                  </a:cubicBezTo>
                  <a:cubicBezTo>
                    <a:pt x="3544" y="2492"/>
                    <a:pt x="3555" y="2480"/>
                    <a:pt x="3566" y="2480"/>
                  </a:cubicBezTo>
                  <a:cubicBezTo>
                    <a:pt x="3589" y="2469"/>
                    <a:pt x="3603" y="2458"/>
                    <a:pt x="3603" y="2458"/>
                  </a:cubicBezTo>
                  <a:cubicBezTo>
                    <a:pt x="3614" y="2447"/>
                    <a:pt x="3614" y="2433"/>
                    <a:pt x="3625" y="2422"/>
                  </a:cubicBezTo>
                  <a:cubicBezTo>
                    <a:pt x="3625" y="2422"/>
                    <a:pt x="3625" y="2410"/>
                    <a:pt x="3636" y="2410"/>
                  </a:cubicBezTo>
                  <a:cubicBezTo>
                    <a:pt x="3647" y="2399"/>
                    <a:pt x="3647" y="2399"/>
                    <a:pt x="3658" y="2399"/>
                  </a:cubicBezTo>
                  <a:lnTo>
                    <a:pt x="3672" y="2410"/>
                  </a:lnTo>
                  <a:lnTo>
                    <a:pt x="3672" y="2422"/>
                  </a:lnTo>
                  <a:lnTo>
                    <a:pt x="3658" y="2433"/>
                  </a:lnTo>
                  <a:cubicBezTo>
                    <a:pt x="3647" y="2447"/>
                    <a:pt x="3647" y="2458"/>
                    <a:pt x="3647" y="2469"/>
                  </a:cubicBezTo>
                  <a:cubicBezTo>
                    <a:pt x="3647" y="2492"/>
                    <a:pt x="3658" y="2517"/>
                    <a:pt x="3684" y="2528"/>
                  </a:cubicBezTo>
                  <a:cubicBezTo>
                    <a:pt x="3706" y="2550"/>
                    <a:pt x="3742" y="2550"/>
                    <a:pt x="3765" y="2550"/>
                  </a:cubicBezTo>
                  <a:cubicBezTo>
                    <a:pt x="3787" y="2550"/>
                    <a:pt x="3798" y="2561"/>
                    <a:pt x="3812" y="2561"/>
                  </a:cubicBezTo>
                  <a:cubicBezTo>
                    <a:pt x="3812" y="2573"/>
                    <a:pt x="3812" y="2573"/>
                    <a:pt x="3798" y="2587"/>
                  </a:cubicBezTo>
                  <a:lnTo>
                    <a:pt x="3798" y="2631"/>
                  </a:lnTo>
                  <a:cubicBezTo>
                    <a:pt x="3798" y="2657"/>
                    <a:pt x="3798" y="2668"/>
                    <a:pt x="3812" y="2679"/>
                  </a:cubicBezTo>
                  <a:cubicBezTo>
                    <a:pt x="3812" y="2690"/>
                    <a:pt x="3823" y="2701"/>
                    <a:pt x="3835" y="2701"/>
                  </a:cubicBezTo>
                  <a:cubicBezTo>
                    <a:pt x="3846" y="2726"/>
                    <a:pt x="3846" y="2749"/>
                    <a:pt x="3846" y="2782"/>
                  </a:cubicBezTo>
                  <a:cubicBezTo>
                    <a:pt x="3846" y="2808"/>
                    <a:pt x="3846" y="2830"/>
                    <a:pt x="3835" y="2852"/>
                  </a:cubicBezTo>
                  <a:cubicBezTo>
                    <a:pt x="3823" y="2866"/>
                    <a:pt x="3823" y="2877"/>
                    <a:pt x="3812" y="2889"/>
                  </a:cubicBezTo>
                  <a:cubicBezTo>
                    <a:pt x="3798" y="2900"/>
                    <a:pt x="3798" y="2922"/>
                    <a:pt x="3798" y="2936"/>
                  </a:cubicBezTo>
                  <a:lnTo>
                    <a:pt x="3798" y="2959"/>
                  </a:lnTo>
                  <a:cubicBezTo>
                    <a:pt x="3798" y="2959"/>
                    <a:pt x="3798" y="2970"/>
                    <a:pt x="3812" y="2981"/>
                  </a:cubicBezTo>
                  <a:cubicBezTo>
                    <a:pt x="3823" y="2981"/>
                    <a:pt x="3835" y="2992"/>
                    <a:pt x="3846" y="2992"/>
                  </a:cubicBezTo>
                  <a:cubicBezTo>
                    <a:pt x="3857" y="2992"/>
                    <a:pt x="3857" y="2992"/>
                    <a:pt x="3868" y="2981"/>
                  </a:cubicBezTo>
                  <a:cubicBezTo>
                    <a:pt x="3868" y="2981"/>
                    <a:pt x="3874" y="2981"/>
                    <a:pt x="3878" y="2978"/>
                  </a:cubicBezTo>
                  <a:lnTo>
                    <a:pt x="3878" y="2978"/>
                  </a:lnTo>
                  <a:lnTo>
                    <a:pt x="3882" y="2981"/>
                  </a:lnTo>
                  <a:cubicBezTo>
                    <a:pt x="3893" y="2970"/>
                    <a:pt x="3904" y="2959"/>
                    <a:pt x="3916" y="2947"/>
                  </a:cubicBezTo>
                  <a:cubicBezTo>
                    <a:pt x="3927" y="2936"/>
                    <a:pt x="3927" y="2936"/>
                    <a:pt x="3938" y="2922"/>
                  </a:cubicBezTo>
                  <a:lnTo>
                    <a:pt x="3997" y="2922"/>
                  </a:lnTo>
                  <a:cubicBezTo>
                    <a:pt x="4008" y="2922"/>
                    <a:pt x="4022" y="2922"/>
                    <a:pt x="4033" y="2911"/>
                  </a:cubicBezTo>
                  <a:cubicBezTo>
                    <a:pt x="4055" y="2911"/>
                    <a:pt x="4067" y="2900"/>
                    <a:pt x="4067" y="2889"/>
                  </a:cubicBezTo>
                  <a:cubicBezTo>
                    <a:pt x="4078" y="2877"/>
                    <a:pt x="4078" y="2866"/>
                    <a:pt x="4078" y="2852"/>
                  </a:cubicBezTo>
                  <a:lnTo>
                    <a:pt x="4078" y="2841"/>
                  </a:lnTo>
                  <a:cubicBezTo>
                    <a:pt x="4078" y="2830"/>
                    <a:pt x="4092" y="2819"/>
                    <a:pt x="4103" y="2808"/>
                  </a:cubicBezTo>
                  <a:cubicBezTo>
                    <a:pt x="4125" y="2760"/>
                    <a:pt x="4125" y="2712"/>
                    <a:pt x="4137" y="2668"/>
                  </a:cubicBezTo>
                  <a:cubicBezTo>
                    <a:pt x="4137" y="2620"/>
                    <a:pt x="4137" y="2573"/>
                    <a:pt x="4162" y="2550"/>
                  </a:cubicBezTo>
                  <a:cubicBezTo>
                    <a:pt x="4173" y="2539"/>
                    <a:pt x="4195" y="2517"/>
                    <a:pt x="4206" y="2503"/>
                  </a:cubicBezTo>
                  <a:cubicBezTo>
                    <a:pt x="4218" y="2492"/>
                    <a:pt x="4232" y="2480"/>
                    <a:pt x="4243" y="2469"/>
                  </a:cubicBezTo>
                  <a:cubicBezTo>
                    <a:pt x="4243" y="2458"/>
                    <a:pt x="4254" y="2447"/>
                    <a:pt x="4254" y="2422"/>
                  </a:cubicBezTo>
                  <a:cubicBezTo>
                    <a:pt x="4254" y="2410"/>
                    <a:pt x="4243" y="2388"/>
                    <a:pt x="4243" y="2377"/>
                  </a:cubicBezTo>
                  <a:cubicBezTo>
                    <a:pt x="4232" y="2363"/>
                    <a:pt x="4232" y="2363"/>
                    <a:pt x="4218" y="2352"/>
                  </a:cubicBezTo>
                  <a:lnTo>
                    <a:pt x="4218" y="2329"/>
                  </a:lnTo>
                  <a:cubicBezTo>
                    <a:pt x="4218" y="2307"/>
                    <a:pt x="4232" y="2282"/>
                    <a:pt x="4243" y="2271"/>
                  </a:cubicBezTo>
                  <a:cubicBezTo>
                    <a:pt x="4243" y="2259"/>
                    <a:pt x="4254" y="2248"/>
                    <a:pt x="4265" y="2237"/>
                  </a:cubicBezTo>
                  <a:lnTo>
                    <a:pt x="4302" y="2212"/>
                  </a:lnTo>
                  <a:lnTo>
                    <a:pt x="4265" y="2190"/>
                  </a:lnTo>
                  <a:cubicBezTo>
                    <a:pt x="4243" y="2190"/>
                    <a:pt x="4218" y="2178"/>
                    <a:pt x="4195" y="2167"/>
                  </a:cubicBezTo>
                  <a:lnTo>
                    <a:pt x="4184" y="2167"/>
                  </a:lnTo>
                  <a:lnTo>
                    <a:pt x="4173" y="2153"/>
                  </a:lnTo>
                  <a:lnTo>
                    <a:pt x="4173" y="2142"/>
                  </a:lnTo>
                  <a:lnTo>
                    <a:pt x="4173" y="2131"/>
                  </a:lnTo>
                  <a:cubicBezTo>
                    <a:pt x="4184" y="2131"/>
                    <a:pt x="4184" y="2131"/>
                    <a:pt x="4184" y="2120"/>
                  </a:cubicBezTo>
                  <a:lnTo>
                    <a:pt x="4206" y="2108"/>
                  </a:lnTo>
                  <a:lnTo>
                    <a:pt x="4184" y="2083"/>
                  </a:lnTo>
                  <a:cubicBezTo>
                    <a:pt x="4148" y="2050"/>
                    <a:pt x="4114" y="1991"/>
                    <a:pt x="4092" y="1943"/>
                  </a:cubicBezTo>
                  <a:cubicBezTo>
                    <a:pt x="4078" y="1932"/>
                    <a:pt x="4078" y="1932"/>
                    <a:pt x="4078" y="1921"/>
                  </a:cubicBezTo>
                  <a:lnTo>
                    <a:pt x="4078" y="1910"/>
                  </a:lnTo>
                  <a:cubicBezTo>
                    <a:pt x="4092" y="1910"/>
                    <a:pt x="4092" y="1899"/>
                    <a:pt x="4092" y="1888"/>
                  </a:cubicBezTo>
                  <a:lnTo>
                    <a:pt x="4103" y="1862"/>
                  </a:lnTo>
                  <a:lnTo>
                    <a:pt x="4067" y="1862"/>
                  </a:lnTo>
                  <a:cubicBezTo>
                    <a:pt x="4067" y="1862"/>
                    <a:pt x="4055" y="1851"/>
                    <a:pt x="4044" y="1851"/>
                  </a:cubicBezTo>
                  <a:cubicBezTo>
                    <a:pt x="4044" y="1851"/>
                    <a:pt x="4033" y="1840"/>
                    <a:pt x="4022" y="1829"/>
                  </a:cubicBezTo>
                  <a:cubicBezTo>
                    <a:pt x="4008" y="1829"/>
                    <a:pt x="3997" y="1818"/>
                    <a:pt x="3974" y="1818"/>
                  </a:cubicBezTo>
                  <a:cubicBezTo>
                    <a:pt x="3952" y="1818"/>
                    <a:pt x="3927" y="1829"/>
                    <a:pt x="3916" y="1829"/>
                  </a:cubicBezTo>
                  <a:cubicBezTo>
                    <a:pt x="3904" y="1829"/>
                    <a:pt x="3893" y="1840"/>
                    <a:pt x="3882" y="1840"/>
                  </a:cubicBezTo>
                  <a:cubicBezTo>
                    <a:pt x="3835" y="1840"/>
                    <a:pt x="3798" y="1818"/>
                    <a:pt x="3765" y="1793"/>
                  </a:cubicBezTo>
                  <a:cubicBezTo>
                    <a:pt x="3753" y="1781"/>
                    <a:pt x="3728" y="1759"/>
                    <a:pt x="3706" y="1748"/>
                  </a:cubicBezTo>
                  <a:lnTo>
                    <a:pt x="3636" y="1748"/>
                  </a:lnTo>
                  <a:cubicBezTo>
                    <a:pt x="3603" y="1748"/>
                    <a:pt x="3577" y="1723"/>
                    <a:pt x="3577" y="1689"/>
                  </a:cubicBezTo>
                  <a:cubicBezTo>
                    <a:pt x="3566" y="1689"/>
                    <a:pt x="3566" y="1689"/>
                    <a:pt x="3566" y="1678"/>
                  </a:cubicBezTo>
                  <a:cubicBezTo>
                    <a:pt x="3566" y="1664"/>
                    <a:pt x="3577" y="1653"/>
                    <a:pt x="3589" y="1642"/>
                  </a:cubicBezTo>
                  <a:cubicBezTo>
                    <a:pt x="3589" y="1630"/>
                    <a:pt x="3603" y="1608"/>
                    <a:pt x="3603" y="1583"/>
                  </a:cubicBezTo>
                  <a:lnTo>
                    <a:pt x="3603" y="1572"/>
                  </a:lnTo>
                  <a:cubicBezTo>
                    <a:pt x="3603" y="1549"/>
                    <a:pt x="3589" y="1524"/>
                    <a:pt x="3577" y="1502"/>
                  </a:cubicBezTo>
                  <a:cubicBezTo>
                    <a:pt x="3566" y="1479"/>
                    <a:pt x="3544" y="1454"/>
                    <a:pt x="3519" y="1443"/>
                  </a:cubicBezTo>
                  <a:cubicBezTo>
                    <a:pt x="3496" y="1432"/>
                    <a:pt x="3474" y="1432"/>
                    <a:pt x="3449" y="1432"/>
                  </a:cubicBezTo>
                  <a:cubicBezTo>
                    <a:pt x="3426" y="1432"/>
                    <a:pt x="3404" y="1443"/>
                    <a:pt x="3379" y="1443"/>
                  </a:cubicBezTo>
                  <a:lnTo>
                    <a:pt x="3253" y="1443"/>
                  </a:lnTo>
                  <a:cubicBezTo>
                    <a:pt x="3205" y="1432"/>
                    <a:pt x="3169" y="1409"/>
                    <a:pt x="3158" y="1373"/>
                  </a:cubicBezTo>
                  <a:cubicBezTo>
                    <a:pt x="3147" y="1351"/>
                    <a:pt x="3147" y="1328"/>
                    <a:pt x="3147" y="1303"/>
                  </a:cubicBezTo>
                  <a:cubicBezTo>
                    <a:pt x="3147" y="1292"/>
                    <a:pt x="3136" y="1281"/>
                    <a:pt x="3136" y="1270"/>
                  </a:cubicBezTo>
                  <a:cubicBezTo>
                    <a:pt x="3124" y="1258"/>
                    <a:pt x="3124" y="1244"/>
                    <a:pt x="3113" y="1233"/>
                  </a:cubicBezTo>
                  <a:cubicBezTo>
                    <a:pt x="3088" y="1222"/>
                    <a:pt x="3066" y="1222"/>
                    <a:pt x="3043" y="1222"/>
                  </a:cubicBezTo>
                  <a:lnTo>
                    <a:pt x="2985" y="1222"/>
                  </a:lnTo>
                  <a:cubicBezTo>
                    <a:pt x="2959" y="1233"/>
                    <a:pt x="2948" y="1233"/>
                    <a:pt x="2926" y="1233"/>
                  </a:cubicBezTo>
                  <a:lnTo>
                    <a:pt x="2915" y="1233"/>
                  </a:lnTo>
                  <a:cubicBezTo>
                    <a:pt x="2903" y="1233"/>
                    <a:pt x="2903" y="1222"/>
                    <a:pt x="2903" y="1222"/>
                  </a:cubicBezTo>
                  <a:cubicBezTo>
                    <a:pt x="2889" y="1211"/>
                    <a:pt x="2889" y="1200"/>
                    <a:pt x="2889" y="1189"/>
                  </a:cubicBezTo>
                  <a:cubicBezTo>
                    <a:pt x="2878" y="1189"/>
                    <a:pt x="2878" y="1175"/>
                    <a:pt x="2867" y="1163"/>
                  </a:cubicBezTo>
                  <a:cubicBezTo>
                    <a:pt x="2867" y="1163"/>
                    <a:pt x="2856" y="1152"/>
                    <a:pt x="2845" y="1152"/>
                  </a:cubicBezTo>
                  <a:lnTo>
                    <a:pt x="2834" y="1152"/>
                  </a:lnTo>
                  <a:cubicBezTo>
                    <a:pt x="2820" y="1152"/>
                    <a:pt x="2808" y="1152"/>
                    <a:pt x="2797" y="1163"/>
                  </a:cubicBezTo>
                  <a:cubicBezTo>
                    <a:pt x="2786" y="1163"/>
                    <a:pt x="2786" y="1175"/>
                    <a:pt x="2775" y="1189"/>
                  </a:cubicBezTo>
                  <a:cubicBezTo>
                    <a:pt x="2764" y="1189"/>
                    <a:pt x="2764" y="1200"/>
                    <a:pt x="2764" y="1200"/>
                  </a:cubicBezTo>
                  <a:lnTo>
                    <a:pt x="2750" y="1200"/>
                  </a:lnTo>
                  <a:cubicBezTo>
                    <a:pt x="2738" y="1189"/>
                    <a:pt x="2738" y="1189"/>
                    <a:pt x="2727" y="1175"/>
                  </a:cubicBezTo>
                  <a:cubicBezTo>
                    <a:pt x="2727" y="1163"/>
                    <a:pt x="2727" y="1152"/>
                    <a:pt x="2716" y="1141"/>
                  </a:cubicBezTo>
                  <a:lnTo>
                    <a:pt x="2716" y="1119"/>
                  </a:lnTo>
                  <a:lnTo>
                    <a:pt x="2694" y="1119"/>
                  </a:lnTo>
                  <a:cubicBezTo>
                    <a:pt x="2669" y="1119"/>
                    <a:pt x="2646" y="1130"/>
                    <a:pt x="2624" y="1141"/>
                  </a:cubicBezTo>
                  <a:cubicBezTo>
                    <a:pt x="2599" y="1152"/>
                    <a:pt x="2587" y="1152"/>
                    <a:pt x="2576" y="1152"/>
                  </a:cubicBezTo>
                  <a:lnTo>
                    <a:pt x="2554" y="1152"/>
                  </a:lnTo>
                  <a:cubicBezTo>
                    <a:pt x="2540" y="1152"/>
                    <a:pt x="2529" y="1141"/>
                    <a:pt x="2529" y="1130"/>
                  </a:cubicBezTo>
                  <a:cubicBezTo>
                    <a:pt x="2518" y="1105"/>
                    <a:pt x="2506" y="1082"/>
                    <a:pt x="2495" y="1049"/>
                  </a:cubicBezTo>
                  <a:cubicBezTo>
                    <a:pt x="2484" y="1035"/>
                    <a:pt x="2484" y="1024"/>
                    <a:pt x="2470" y="1012"/>
                  </a:cubicBezTo>
                  <a:cubicBezTo>
                    <a:pt x="2459" y="1001"/>
                    <a:pt x="2448" y="990"/>
                    <a:pt x="2436" y="979"/>
                  </a:cubicBezTo>
                  <a:lnTo>
                    <a:pt x="2414" y="965"/>
                  </a:lnTo>
                  <a:lnTo>
                    <a:pt x="2400" y="979"/>
                  </a:lnTo>
                  <a:cubicBezTo>
                    <a:pt x="2378" y="1012"/>
                    <a:pt x="2330" y="1049"/>
                    <a:pt x="2297" y="1049"/>
                  </a:cubicBezTo>
                  <a:cubicBezTo>
                    <a:pt x="2274" y="1049"/>
                    <a:pt x="2249" y="1035"/>
                    <a:pt x="2238" y="1024"/>
                  </a:cubicBezTo>
                  <a:cubicBezTo>
                    <a:pt x="2216" y="1012"/>
                    <a:pt x="2216" y="1001"/>
                    <a:pt x="2204" y="979"/>
                  </a:cubicBezTo>
                  <a:cubicBezTo>
                    <a:pt x="2204" y="942"/>
                    <a:pt x="2238" y="909"/>
                    <a:pt x="2260" y="895"/>
                  </a:cubicBezTo>
                  <a:lnTo>
                    <a:pt x="2297" y="895"/>
                  </a:lnTo>
                  <a:cubicBezTo>
                    <a:pt x="2330" y="895"/>
                    <a:pt x="2355" y="909"/>
                    <a:pt x="2378" y="920"/>
                  </a:cubicBezTo>
                  <a:cubicBezTo>
                    <a:pt x="2389" y="931"/>
                    <a:pt x="2414" y="942"/>
                    <a:pt x="2425" y="954"/>
                  </a:cubicBezTo>
                  <a:cubicBezTo>
                    <a:pt x="2448" y="965"/>
                    <a:pt x="2459" y="979"/>
                    <a:pt x="2484" y="979"/>
                  </a:cubicBezTo>
                  <a:lnTo>
                    <a:pt x="2495" y="979"/>
                  </a:lnTo>
                  <a:cubicBezTo>
                    <a:pt x="2529" y="979"/>
                    <a:pt x="2554" y="965"/>
                    <a:pt x="2576" y="965"/>
                  </a:cubicBezTo>
                  <a:cubicBezTo>
                    <a:pt x="2587" y="954"/>
                    <a:pt x="2610" y="942"/>
                    <a:pt x="2624" y="942"/>
                  </a:cubicBezTo>
                  <a:lnTo>
                    <a:pt x="2635" y="942"/>
                  </a:lnTo>
                  <a:cubicBezTo>
                    <a:pt x="2646" y="942"/>
                    <a:pt x="2669" y="954"/>
                    <a:pt x="2680" y="954"/>
                  </a:cubicBezTo>
                  <a:cubicBezTo>
                    <a:pt x="2694" y="954"/>
                    <a:pt x="2705" y="942"/>
                    <a:pt x="2716" y="942"/>
                  </a:cubicBezTo>
                  <a:cubicBezTo>
                    <a:pt x="2727" y="942"/>
                    <a:pt x="2738" y="931"/>
                    <a:pt x="2750" y="920"/>
                  </a:cubicBezTo>
                  <a:cubicBezTo>
                    <a:pt x="2764" y="909"/>
                    <a:pt x="2764" y="895"/>
                    <a:pt x="2764" y="884"/>
                  </a:cubicBezTo>
                  <a:lnTo>
                    <a:pt x="2764" y="861"/>
                  </a:lnTo>
                  <a:cubicBezTo>
                    <a:pt x="2775" y="850"/>
                    <a:pt x="2775" y="839"/>
                    <a:pt x="2797" y="839"/>
                  </a:cubicBezTo>
                  <a:cubicBezTo>
                    <a:pt x="2808" y="825"/>
                    <a:pt x="2834" y="825"/>
                    <a:pt x="2845" y="825"/>
                  </a:cubicBezTo>
                  <a:lnTo>
                    <a:pt x="2903" y="825"/>
                  </a:lnTo>
                  <a:cubicBezTo>
                    <a:pt x="2937" y="825"/>
                    <a:pt x="2959" y="825"/>
                    <a:pt x="2996" y="803"/>
                  </a:cubicBezTo>
                  <a:cubicBezTo>
                    <a:pt x="3018" y="791"/>
                    <a:pt x="3029" y="769"/>
                    <a:pt x="3043" y="744"/>
                  </a:cubicBezTo>
                  <a:lnTo>
                    <a:pt x="3066" y="722"/>
                  </a:lnTo>
                  <a:lnTo>
                    <a:pt x="3043" y="710"/>
                  </a:lnTo>
                  <a:cubicBezTo>
                    <a:pt x="3029" y="710"/>
                    <a:pt x="3007" y="699"/>
                    <a:pt x="2996" y="685"/>
                  </a:cubicBezTo>
                  <a:lnTo>
                    <a:pt x="2973" y="685"/>
                  </a:lnTo>
                  <a:cubicBezTo>
                    <a:pt x="2959" y="699"/>
                    <a:pt x="2948" y="699"/>
                    <a:pt x="2948" y="710"/>
                  </a:cubicBezTo>
                  <a:cubicBezTo>
                    <a:pt x="2915" y="722"/>
                    <a:pt x="2889" y="733"/>
                    <a:pt x="2867" y="733"/>
                  </a:cubicBezTo>
                  <a:cubicBezTo>
                    <a:pt x="2845" y="733"/>
                    <a:pt x="2820" y="722"/>
                    <a:pt x="2808" y="710"/>
                  </a:cubicBezTo>
                  <a:cubicBezTo>
                    <a:pt x="2808" y="699"/>
                    <a:pt x="2797" y="685"/>
                    <a:pt x="2797" y="685"/>
                  </a:cubicBezTo>
                  <a:cubicBezTo>
                    <a:pt x="2797" y="674"/>
                    <a:pt x="2786" y="663"/>
                    <a:pt x="2775" y="652"/>
                  </a:cubicBezTo>
                  <a:cubicBezTo>
                    <a:pt x="2764" y="640"/>
                    <a:pt x="2738" y="640"/>
                    <a:pt x="2727" y="629"/>
                  </a:cubicBezTo>
                  <a:lnTo>
                    <a:pt x="2716" y="629"/>
                  </a:lnTo>
                  <a:cubicBezTo>
                    <a:pt x="2657" y="629"/>
                    <a:pt x="2610" y="652"/>
                    <a:pt x="2565" y="663"/>
                  </a:cubicBezTo>
                  <a:cubicBezTo>
                    <a:pt x="2565" y="652"/>
                    <a:pt x="2554" y="640"/>
                    <a:pt x="2540" y="615"/>
                  </a:cubicBezTo>
                  <a:cubicBezTo>
                    <a:pt x="2529" y="604"/>
                    <a:pt x="2518" y="593"/>
                    <a:pt x="2495" y="593"/>
                  </a:cubicBezTo>
                  <a:lnTo>
                    <a:pt x="2459" y="593"/>
                  </a:lnTo>
                  <a:lnTo>
                    <a:pt x="2448" y="582"/>
                  </a:lnTo>
                  <a:cubicBezTo>
                    <a:pt x="2425" y="534"/>
                    <a:pt x="2389" y="512"/>
                    <a:pt x="2344" y="512"/>
                  </a:cubicBezTo>
                  <a:cubicBezTo>
                    <a:pt x="2308" y="512"/>
                    <a:pt x="2274" y="523"/>
                    <a:pt x="2249" y="559"/>
                  </a:cubicBezTo>
                  <a:cubicBezTo>
                    <a:pt x="2238" y="559"/>
                    <a:pt x="2238" y="571"/>
                    <a:pt x="2227" y="571"/>
                  </a:cubicBezTo>
                  <a:lnTo>
                    <a:pt x="2190" y="571"/>
                  </a:lnTo>
                  <a:cubicBezTo>
                    <a:pt x="2190" y="559"/>
                    <a:pt x="2179" y="559"/>
                    <a:pt x="2168" y="545"/>
                  </a:cubicBezTo>
                  <a:cubicBezTo>
                    <a:pt x="2157" y="534"/>
                    <a:pt x="2146" y="523"/>
                    <a:pt x="2134" y="523"/>
                  </a:cubicBezTo>
                  <a:lnTo>
                    <a:pt x="2098" y="523"/>
                  </a:lnTo>
                  <a:lnTo>
                    <a:pt x="2098" y="512"/>
                  </a:lnTo>
                  <a:cubicBezTo>
                    <a:pt x="2098" y="475"/>
                    <a:pt x="2109" y="442"/>
                    <a:pt x="2109" y="406"/>
                  </a:cubicBezTo>
                  <a:lnTo>
                    <a:pt x="2109" y="383"/>
                  </a:lnTo>
                  <a:cubicBezTo>
                    <a:pt x="2109" y="372"/>
                    <a:pt x="2109" y="361"/>
                    <a:pt x="2098" y="350"/>
                  </a:cubicBezTo>
                  <a:cubicBezTo>
                    <a:pt x="2098" y="336"/>
                    <a:pt x="2087" y="324"/>
                    <a:pt x="2076" y="313"/>
                  </a:cubicBezTo>
                  <a:cubicBezTo>
                    <a:pt x="2051" y="302"/>
                    <a:pt x="2039" y="302"/>
                    <a:pt x="2028" y="302"/>
                  </a:cubicBezTo>
                  <a:lnTo>
                    <a:pt x="2017" y="302"/>
                  </a:lnTo>
                  <a:lnTo>
                    <a:pt x="2017" y="280"/>
                  </a:lnTo>
                  <a:cubicBezTo>
                    <a:pt x="2017" y="266"/>
                    <a:pt x="2028" y="255"/>
                    <a:pt x="2028" y="243"/>
                  </a:cubicBezTo>
                  <a:cubicBezTo>
                    <a:pt x="2028" y="232"/>
                    <a:pt x="2017" y="232"/>
                    <a:pt x="2017" y="221"/>
                  </a:cubicBezTo>
                  <a:cubicBezTo>
                    <a:pt x="2017" y="210"/>
                    <a:pt x="2006" y="196"/>
                    <a:pt x="1995" y="196"/>
                  </a:cubicBezTo>
                  <a:cubicBezTo>
                    <a:pt x="1981" y="185"/>
                    <a:pt x="1958" y="185"/>
                    <a:pt x="1958" y="185"/>
                  </a:cubicBezTo>
                  <a:lnTo>
                    <a:pt x="1947" y="185"/>
                  </a:lnTo>
                  <a:lnTo>
                    <a:pt x="1947" y="173"/>
                  </a:lnTo>
                  <a:lnTo>
                    <a:pt x="1947" y="151"/>
                  </a:lnTo>
                  <a:cubicBezTo>
                    <a:pt x="1947" y="151"/>
                    <a:pt x="1947" y="140"/>
                    <a:pt x="1936" y="140"/>
                  </a:cubicBezTo>
                  <a:cubicBezTo>
                    <a:pt x="1936" y="115"/>
                    <a:pt x="1911" y="104"/>
                    <a:pt x="1900" y="92"/>
                  </a:cubicBezTo>
                  <a:lnTo>
                    <a:pt x="1749" y="92"/>
                  </a:lnTo>
                  <a:lnTo>
                    <a:pt x="1749" y="81"/>
                  </a:lnTo>
                  <a:cubicBezTo>
                    <a:pt x="1737" y="81"/>
                    <a:pt x="1737" y="70"/>
                    <a:pt x="1737" y="56"/>
                  </a:cubicBezTo>
                  <a:cubicBezTo>
                    <a:pt x="1726" y="34"/>
                    <a:pt x="1701" y="22"/>
                    <a:pt x="1679" y="0"/>
                  </a:cubicBezTo>
                  <a:lnTo>
                    <a:pt x="1645" y="0"/>
                  </a:lnTo>
                  <a:cubicBezTo>
                    <a:pt x="1631" y="0"/>
                    <a:pt x="1609" y="11"/>
                    <a:pt x="1598" y="22"/>
                  </a:cubicBezTo>
                  <a:cubicBezTo>
                    <a:pt x="1575" y="45"/>
                    <a:pt x="1575" y="56"/>
                    <a:pt x="1575" y="70"/>
                  </a:cubicBezTo>
                  <a:cubicBezTo>
                    <a:pt x="1561" y="104"/>
                    <a:pt x="1550" y="126"/>
                    <a:pt x="1528" y="151"/>
                  </a:cubicBezTo>
                  <a:cubicBezTo>
                    <a:pt x="1505" y="185"/>
                    <a:pt x="1469" y="196"/>
                    <a:pt x="1435" y="221"/>
                  </a:cubicBezTo>
                  <a:cubicBezTo>
                    <a:pt x="1435" y="221"/>
                    <a:pt x="1421" y="232"/>
                    <a:pt x="1421" y="243"/>
                  </a:cubicBezTo>
                  <a:cubicBezTo>
                    <a:pt x="1410" y="243"/>
                    <a:pt x="1410" y="255"/>
                    <a:pt x="1410" y="255"/>
                  </a:cubicBezTo>
                  <a:cubicBezTo>
                    <a:pt x="1410" y="280"/>
                    <a:pt x="1421" y="291"/>
                    <a:pt x="1421" y="291"/>
                  </a:cubicBezTo>
                  <a:cubicBezTo>
                    <a:pt x="1435" y="302"/>
                    <a:pt x="1435" y="313"/>
                    <a:pt x="1435" y="313"/>
                  </a:cubicBezTo>
                  <a:cubicBezTo>
                    <a:pt x="1447" y="313"/>
                    <a:pt x="1447" y="313"/>
                    <a:pt x="1447" y="324"/>
                  </a:cubicBezTo>
                  <a:lnTo>
                    <a:pt x="1435" y="336"/>
                  </a:lnTo>
                  <a:cubicBezTo>
                    <a:pt x="1435" y="350"/>
                    <a:pt x="1421" y="350"/>
                    <a:pt x="1421" y="350"/>
                  </a:cubicBezTo>
                  <a:lnTo>
                    <a:pt x="1399" y="350"/>
                  </a:lnTo>
                  <a:cubicBezTo>
                    <a:pt x="1388" y="350"/>
                    <a:pt x="1388" y="350"/>
                    <a:pt x="1377" y="361"/>
                  </a:cubicBezTo>
                  <a:cubicBezTo>
                    <a:pt x="1366" y="361"/>
                    <a:pt x="1366" y="361"/>
                    <a:pt x="1352" y="372"/>
                  </a:cubicBezTo>
                  <a:lnTo>
                    <a:pt x="1352" y="383"/>
                  </a:lnTo>
                  <a:lnTo>
                    <a:pt x="1329" y="383"/>
                  </a:lnTo>
                  <a:cubicBezTo>
                    <a:pt x="1329" y="372"/>
                    <a:pt x="1318" y="372"/>
                    <a:pt x="1307" y="372"/>
                  </a:cubicBezTo>
                  <a:lnTo>
                    <a:pt x="1270" y="372"/>
                  </a:lnTo>
                  <a:cubicBezTo>
                    <a:pt x="1270" y="383"/>
                    <a:pt x="1259" y="383"/>
                    <a:pt x="1259" y="394"/>
                  </a:cubicBezTo>
                  <a:cubicBezTo>
                    <a:pt x="1248" y="406"/>
                    <a:pt x="1248" y="420"/>
                    <a:pt x="1248" y="420"/>
                  </a:cubicBezTo>
                  <a:cubicBezTo>
                    <a:pt x="1237" y="420"/>
                    <a:pt x="1237" y="420"/>
                    <a:pt x="1226" y="431"/>
                  </a:cubicBezTo>
                  <a:cubicBezTo>
                    <a:pt x="1212" y="442"/>
                    <a:pt x="1212" y="453"/>
                    <a:pt x="1212" y="453"/>
                  </a:cubicBezTo>
                  <a:cubicBezTo>
                    <a:pt x="1212" y="464"/>
                    <a:pt x="1226" y="475"/>
                    <a:pt x="1226" y="489"/>
                  </a:cubicBezTo>
                  <a:lnTo>
                    <a:pt x="1237" y="501"/>
                  </a:lnTo>
                  <a:lnTo>
                    <a:pt x="1189" y="501"/>
                  </a:lnTo>
                  <a:cubicBezTo>
                    <a:pt x="1167" y="512"/>
                    <a:pt x="1142" y="523"/>
                    <a:pt x="1131" y="534"/>
                  </a:cubicBezTo>
                  <a:lnTo>
                    <a:pt x="1119" y="545"/>
                  </a:lnTo>
                  <a:lnTo>
                    <a:pt x="1108" y="545"/>
                  </a:lnTo>
                  <a:lnTo>
                    <a:pt x="1097" y="534"/>
                  </a:lnTo>
                  <a:lnTo>
                    <a:pt x="1097" y="512"/>
                  </a:lnTo>
                  <a:lnTo>
                    <a:pt x="1097" y="453"/>
                  </a:lnTo>
                  <a:lnTo>
                    <a:pt x="1097" y="442"/>
                  </a:lnTo>
                  <a:cubicBezTo>
                    <a:pt x="1097" y="431"/>
                    <a:pt x="1097" y="420"/>
                    <a:pt x="1086" y="406"/>
                  </a:cubicBezTo>
                  <a:cubicBezTo>
                    <a:pt x="1086" y="383"/>
                    <a:pt x="1072" y="372"/>
                    <a:pt x="1061" y="372"/>
                  </a:cubicBezTo>
                  <a:cubicBezTo>
                    <a:pt x="1050" y="361"/>
                    <a:pt x="1038" y="361"/>
                    <a:pt x="1038" y="361"/>
                  </a:cubicBezTo>
                  <a:cubicBezTo>
                    <a:pt x="1016" y="350"/>
                    <a:pt x="1002" y="336"/>
                    <a:pt x="980" y="313"/>
                  </a:cubicBezTo>
                  <a:cubicBezTo>
                    <a:pt x="968" y="291"/>
                    <a:pt x="946" y="255"/>
                    <a:pt x="910" y="243"/>
                  </a:cubicBezTo>
                  <a:cubicBezTo>
                    <a:pt x="910" y="232"/>
                    <a:pt x="899" y="232"/>
                    <a:pt x="887" y="232"/>
                  </a:cubicBezTo>
                  <a:lnTo>
                    <a:pt x="862" y="232"/>
                  </a:lnTo>
                  <a:lnTo>
                    <a:pt x="851" y="243"/>
                  </a:lnTo>
                  <a:cubicBezTo>
                    <a:pt x="840" y="255"/>
                    <a:pt x="829" y="266"/>
                    <a:pt x="817" y="291"/>
                  </a:cubicBezTo>
                  <a:cubicBezTo>
                    <a:pt x="806" y="302"/>
                    <a:pt x="806" y="324"/>
                    <a:pt x="806" y="324"/>
                  </a:cubicBezTo>
                  <a:lnTo>
                    <a:pt x="792" y="336"/>
                  </a:lnTo>
                  <a:lnTo>
                    <a:pt x="792" y="350"/>
                  </a:lnTo>
                  <a:lnTo>
                    <a:pt x="759" y="350"/>
                  </a:lnTo>
                  <a:cubicBezTo>
                    <a:pt x="759" y="350"/>
                    <a:pt x="748" y="350"/>
                    <a:pt x="748" y="361"/>
                  </a:cubicBezTo>
                  <a:lnTo>
                    <a:pt x="736" y="350"/>
                  </a:lnTo>
                  <a:lnTo>
                    <a:pt x="722" y="350"/>
                  </a:lnTo>
                  <a:cubicBezTo>
                    <a:pt x="722" y="336"/>
                    <a:pt x="711" y="324"/>
                    <a:pt x="711" y="324"/>
                  </a:cubicBezTo>
                  <a:lnTo>
                    <a:pt x="711" y="302"/>
                  </a:lnTo>
                  <a:lnTo>
                    <a:pt x="711" y="280"/>
                  </a:lnTo>
                  <a:cubicBezTo>
                    <a:pt x="722" y="280"/>
                    <a:pt x="736" y="266"/>
                    <a:pt x="736" y="243"/>
                  </a:cubicBezTo>
                  <a:cubicBezTo>
                    <a:pt x="748" y="243"/>
                    <a:pt x="748" y="232"/>
                    <a:pt x="748" y="221"/>
                  </a:cubicBezTo>
                  <a:cubicBezTo>
                    <a:pt x="748" y="210"/>
                    <a:pt x="736" y="196"/>
                    <a:pt x="736" y="196"/>
                  </a:cubicBezTo>
                  <a:cubicBezTo>
                    <a:pt x="722" y="185"/>
                    <a:pt x="722" y="185"/>
                    <a:pt x="711" y="185"/>
                  </a:cubicBezTo>
                  <a:cubicBezTo>
                    <a:pt x="700" y="173"/>
                    <a:pt x="689" y="173"/>
                    <a:pt x="689" y="173"/>
                  </a:cubicBezTo>
                  <a:cubicBezTo>
                    <a:pt x="678" y="173"/>
                    <a:pt x="666" y="151"/>
                    <a:pt x="666" y="140"/>
                  </a:cubicBezTo>
                  <a:cubicBezTo>
                    <a:pt x="666" y="126"/>
                    <a:pt x="666" y="115"/>
                    <a:pt x="678" y="104"/>
                  </a:cubicBezTo>
                  <a:lnTo>
                    <a:pt x="678" y="92"/>
                  </a:lnTo>
                  <a:cubicBezTo>
                    <a:pt x="678" y="81"/>
                    <a:pt x="666" y="56"/>
                    <a:pt x="652" y="45"/>
                  </a:cubicBezTo>
                  <a:cubicBezTo>
                    <a:pt x="652" y="34"/>
                    <a:pt x="641" y="22"/>
                    <a:pt x="630" y="11"/>
                  </a:cubicBezTo>
                  <a:cubicBezTo>
                    <a:pt x="619" y="0"/>
                    <a:pt x="597" y="0"/>
                    <a:pt x="583" y="0"/>
                  </a:cubicBezTo>
                  <a:lnTo>
                    <a:pt x="560" y="0"/>
                  </a:lnTo>
                  <a:cubicBezTo>
                    <a:pt x="549" y="0"/>
                    <a:pt x="538" y="11"/>
                    <a:pt x="538" y="11"/>
                  </a:cubicBezTo>
                  <a:cubicBezTo>
                    <a:pt x="527" y="11"/>
                    <a:pt x="513" y="0"/>
                    <a:pt x="50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7" name="Google Shape;375;p17">
              <a:extLst>
                <a:ext uri="{FF2B5EF4-FFF2-40B4-BE49-F238E27FC236}">
                  <a16:creationId xmlns:a16="http://schemas.microsoft.com/office/drawing/2014/main" xmlns="" id="{993755B2-C60C-DBF9-C817-9DFD068D01FB}"/>
                </a:ext>
              </a:extLst>
            </p:cNvPr>
            <p:cNvSpPr/>
            <p:nvPr/>
          </p:nvSpPr>
          <p:spPr>
            <a:xfrm>
              <a:off x="2394418" y="2539357"/>
              <a:ext cx="422368" cy="376727"/>
            </a:xfrm>
            <a:custGeom>
              <a:avLst/>
              <a:gdLst/>
              <a:ahLst/>
              <a:cxnLst/>
              <a:rect l="l" t="t" r="r" b="b"/>
              <a:pathLst>
                <a:path w="1832" h="1634" extrusionOk="0">
                  <a:moveTo>
                    <a:pt x="1085" y="1"/>
                  </a:moveTo>
                  <a:cubicBezTo>
                    <a:pt x="1074" y="12"/>
                    <a:pt x="1063" y="26"/>
                    <a:pt x="1049" y="48"/>
                  </a:cubicBezTo>
                  <a:cubicBezTo>
                    <a:pt x="1026" y="71"/>
                    <a:pt x="1015" y="118"/>
                    <a:pt x="1037" y="152"/>
                  </a:cubicBezTo>
                  <a:cubicBezTo>
                    <a:pt x="1037" y="166"/>
                    <a:pt x="1063" y="188"/>
                    <a:pt x="1063" y="211"/>
                  </a:cubicBezTo>
                  <a:cubicBezTo>
                    <a:pt x="1063" y="258"/>
                    <a:pt x="1004" y="281"/>
                    <a:pt x="968" y="328"/>
                  </a:cubicBezTo>
                  <a:cubicBezTo>
                    <a:pt x="923" y="398"/>
                    <a:pt x="956" y="501"/>
                    <a:pt x="909" y="585"/>
                  </a:cubicBezTo>
                  <a:cubicBezTo>
                    <a:pt x="898" y="597"/>
                    <a:pt x="886" y="608"/>
                    <a:pt x="886" y="619"/>
                  </a:cubicBezTo>
                  <a:cubicBezTo>
                    <a:pt x="875" y="641"/>
                    <a:pt x="886" y="655"/>
                    <a:pt x="875" y="666"/>
                  </a:cubicBezTo>
                  <a:cubicBezTo>
                    <a:pt x="875" y="678"/>
                    <a:pt x="853" y="689"/>
                    <a:pt x="828" y="689"/>
                  </a:cubicBezTo>
                  <a:lnTo>
                    <a:pt x="769" y="689"/>
                  </a:lnTo>
                  <a:cubicBezTo>
                    <a:pt x="735" y="700"/>
                    <a:pt x="713" y="725"/>
                    <a:pt x="688" y="748"/>
                  </a:cubicBezTo>
                  <a:cubicBezTo>
                    <a:pt x="688" y="759"/>
                    <a:pt x="688" y="759"/>
                    <a:pt x="677" y="759"/>
                  </a:cubicBezTo>
                  <a:cubicBezTo>
                    <a:pt x="666" y="759"/>
                    <a:pt x="654" y="748"/>
                    <a:pt x="654" y="736"/>
                  </a:cubicBezTo>
                  <a:cubicBezTo>
                    <a:pt x="643" y="700"/>
                    <a:pt x="666" y="678"/>
                    <a:pt x="688" y="655"/>
                  </a:cubicBezTo>
                  <a:cubicBezTo>
                    <a:pt x="713" y="597"/>
                    <a:pt x="713" y="527"/>
                    <a:pt x="677" y="479"/>
                  </a:cubicBezTo>
                  <a:cubicBezTo>
                    <a:pt x="666" y="468"/>
                    <a:pt x="654" y="446"/>
                    <a:pt x="654" y="420"/>
                  </a:cubicBezTo>
                  <a:cubicBezTo>
                    <a:pt x="654" y="398"/>
                    <a:pt x="677" y="362"/>
                    <a:pt x="666" y="339"/>
                  </a:cubicBezTo>
                  <a:cubicBezTo>
                    <a:pt x="643" y="328"/>
                    <a:pt x="618" y="317"/>
                    <a:pt x="596" y="317"/>
                  </a:cubicBezTo>
                  <a:cubicBezTo>
                    <a:pt x="573" y="317"/>
                    <a:pt x="548" y="317"/>
                    <a:pt x="526" y="306"/>
                  </a:cubicBezTo>
                  <a:cubicBezTo>
                    <a:pt x="503" y="281"/>
                    <a:pt x="489" y="258"/>
                    <a:pt x="503" y="236"/>
                  </a:cubicBezTo>
                  <a:cubicBezTo>
                    <a:pt x="515" y="236"/>
                    <a:pt x="515" y="222"/>
                    <a:pt x="526" y="222"/>
                  </a:cubicBezTo>
                  <a:cubicBezTo>
                    <a:pt x="537" y="199"/>
                    <a:pt x="515" y="177"/>
                    <a:pt x="489" y="166"/>
                  </a:cubicBezTo>
                  <a:cubicBezTo>
                    <a:pt x="467" y="166"/>
                    <a:pt x="445" y="177"/>
                    <a:pt x="434" y="199"/>
                  </a:cubicBezTo>
                  <a:cubicBezTo>
                    <a:pt x="420" y="222"/>
                    <a:pt x="408" y="236"/>
                    <a:pt x="397" y="247"/>
                  </a:cubicBezTo>
                  <a:cubicBezTo>
                    <a:pt x="390" y="250"/>
                    <a:pt x="381" y="250"/>
                    <a:pt x="373" y="250"/>
                  </a:cubicBezTo>
                  <a:cubicBezTo>
                    <a:pt x="357" y="250"/>
                    <a:pt x="341" y="248"/>
                    <a:pt x="327" y="248"/>
                  </a:cubicBezTo>
                  <a:cubicBezTo>
                    <a:pt x="314" y="248"/>
                    <a:pt x="302" y="250"/>
                    <a:pt x="294" y="258"/>
                  </a:cubicBezTo>
                  <a:cubicBezTo>
                    <a:pt x="280" y="281"/>
                    <a:pt x="294" y="306"/>
                    <a:pt x="305" y="328"/>
                  </a:cubicBezTo>
                  <a:cubicBezTo>
                    <a:pt x="316" y="350"/>
                    <a:pt x="327" y="387"/>
                    <a:pt x="316" y="398"/>
                  </a:cubicBezTo>
                  <a:cubicBezTo>
                    <a:pt x="309" y="400"/>
                    <a:pt x="302" y="401"/>
                    <a:pt x="295" y="401"/>
                  </a:cubicBezTo>
                  <a:cubicBezTo>
                    <a:pt x="266" y="401"/>
                    <a:pt x="239" y="387"/>
                    <a:pt x="210" y="387"/>
                  </a:cubicBezTo>
                  <a:cubicBezTo>
                    <a:pt x="187" y="387"/>
                    <a:pt x="165" y="398"/>
                    <a:pt x="140" y="398"/>
                  </a:cubicBezTo>
                  <a:cubicBezTo>
                    <a:pt x="165" y="409"/>
                    <a:pt x="187" y="432"/>
                    <a:pt x="176" y="446"/>
                  </a:cubicBezTo>
                  <a:cubicBezTo>
                    <a:pt x="165" y="479"/>
                    <a:pt x="95" y="490"/>
                    <a:pt x="118" y="515"/>
                  </a:cubicBezTo>
                  <a:cubicBezTo>
                    <a:pt x="129" y="527"/>
                    <a:pt x="154" y="538"/>
                    <a:pt x="154" y="549"/>
                  </a:cubicBezTo>
                  <a:cubicBezTo>
                    <a:pt x="199" y="597"/>
                    <a:pt x="106" y="619"/>
                    <a:pt x="70" y="630"/>
                  </a:cubicBezTo>
                  <a:cubicBezTo>
                    <a:pt x="59" y="630"/>
                    <a:pt x="36" y="641"/>
                    <a:pt x="25" y="641"/>
                  </a:cubicBezTo>
                  <a:cubicBezTo>
                    <a:pt x="25" y="678"/>
                    <a:pt x="25" y="700"/>
                    <a:pt x="14" y="736"/>
                  </a:cubicBezTo>
                  <a:cubicBezTo>
                    <a:pt x="0" y="736"/>
                    <a:pt x="0" y="748"/>
                    <a:pt x="0" y="748"/>
                  </a:cubicBezTo>
                  <a:cubicBezTo>
                    <a:pt x="0" y="759"/>
                    <a:pt x="14" y="781"/>
                    <a:pt x="25" y="781"/>
                  </a:cubicBezTo>
                  <a:cubicBezTo>
                    <a:pt x="36" y="795"/>
                    <a:pt x="48" y="806"/>
                    <a:pt x="48" y="817"/>
                  </a:cubicBezTo>
                  <a:lnTo>
                    <a:pt x="48" y="840"/>
                  </a:lnTo>
                  <a:cubicBezTo>
                    <a:pt x="48" y="865"/>
                    <a:pt x="70" y="876"/>
                    <a:pt x="84" y="876"/>
                  </a:cubicBezTo>
                  <a:cubicBezTo>
                    <a:pt x="106" y="887"/>
                    <a:pt x="118" y="899"/>
                    <a:pt x="129" y="921"/>
                  </a:cubicBezTo>
                  <a:lnTo>
                    <a:pt x="129" y="910"/>
                  </a:lnTo>
                  <a:cubicBezTo>
                    <a:pt x="140" y="887"/>
                    <a:pt x="176" y="876"/>
                    <a:pt x="199" y="876"/>
                  </a:cubicBezTo>
                  <a:lnTo>
                    <a:pt x="420" y="876"/>
                  </a:lnTo>
                  <a:cubicBezTo>
                    <a:pt x="489" y="876"/>
                    <a:pt x="559" y="876"/>
                    <a:pt x="618" y="899"/>
                  </a:cubicBezTo>
                  <a:cubicBezTo>
                    <a:pt x="629" y="899"/>
                    <a:pt x="666" y="910"/>
                    <a:pt x="666" y="921"/>
                  </a:cubicBezTo>
                  <a:cubicBezTo>
                    <a:pt x="666" y="946"/>
                    <a:pt x="643" y="968"/>
                    <a:pt x="618" y="980"/>
                  </a:cubicBezTo>
                  <a:lnTo>
                    <a:pt x="573" y="980"/>
                  </a:lnTo>
                  <a:cubicBezTo>
                    <a:pt x="548" y="980"/>
                    <a:pt x="526" y="991"/>
                    <a:pt x="515" y="1016"/>
                  </a:cubicBezTo>
                  <a:cubicBezTo>
                    <a:pt x="515" y="1027"/>
                    <a:pt x="515" y="1050"/>
                    <a:pt x="537" y="1061"/>
                  </a:cubicBezTo>
                  <a:cubicBezTo>
                    <a:pt x="548" y="1075"/>
                    <a:pt x="573" y="1086"/>
                    <a:pt x="584" y="1086"/>
                  </a:cubicBezTo>
                  <a:cubicBezTo>
                    <a:pt x="607" y="1086"/>
                    <a:pt x="627" y="1089"/>
                    <a:pt x="646" y="1089"/>
                  </a:cubicBezTo>
                  <a:cubicBezTo>
                    <a:pt x="665" y="1089"/>
                    <a:pt x="682" y="1086"/>
                    <a:pt x="699" y="1075"/>
                  </a:cubicBezTo>
                  <a:cubicBezTo>
                    <a:pt x="735" y="1061"/>
                    <a:pt x="769" y="1027"/>
                    <a:pt x="769" y="991"/>
                  </a:cubicBezTo>
                  <a:lnTo>
                    <a:pt x="769" y="946"/>
                  </a:lnTo>
                  <a:cubicBezTo>
                    <a:pt x="769" y="935"/>
                    <a:pt x="783" y="910"/>
                    <a:pt x="794" y="910"/>
                  </a:cubicBezTo>
                  <a:cubicBezTo>
                    <a:pt x="798" y="908"/>
                    <a:pt x="803" y="907"/>
                    <a:pt x="807" y="907"/>
                  </a:cubicBezTo>
                  <a:cubicBezTo>
                    <a:pt x="825" y="907"/>
                    <a:pt x="844" y="924"/>
                    <a:pt x="864" y="935"/>
                  </a:cubicBezTo>
                  <a:cubicBezTo>
                    <a:pt x="909" y="946"/>
                    <a:pt x="956" y="946"/>
                    <a:pt x="1004" y="946"/>
                  </a:cubicBezTo>
                  <a:lnTo>
                    <a:pt x="1026" y="946"/>
                  </a:lnTo>
                  <a:cubicBezTo>
                    <a:pt x="1037" y="957"/>
                    <a:pt x="1037" y="968"/>
                    <a:pt x="1049" y="980"/>
                  </a:cubicBezTo>
                  <a:cubicBezTo>
                    <a:pt x="1074" y="1038"/>
                    <a:pt x="1155" y="1075"/>
                    <a:pt x="1177" y="1131"/>
                  </a:cubicBezTo>
                  <a:cubicBezTo>
                    <a:pt x="1188" y="1167"/>
                    <a:pt x="1188" y="1201"/>
                    <a:pt x="1188" y="1226"/>
                  </a:cubicBezTo>
                  <a:cubicBezTo>
                    <a:pt x="1188" y="1259"/>
                    <a:pt x="1214" y="1296"/>
                    <a:pt x="1247" y="1296"/>
                  </a:cubicBezTo>
                  <a:cubicBezTo>
                    <a:pt x="1247" y="1284"/>
                    <a:pt x="1272" y="1259"/>
                    <a:pt x="1284" y="1248"/>
                  </a:cubicBezTo>
                  <a:cubicBezTo>
                    <a:pt x="1293" y="1243"/>
                    <a:pt x="1302" y="1241"/>
                    <a:pt x="1312" y="1241"/>
                  </a:cubicBezTo>
                  <a:cubicBezTo>
                    <a:pt x="1325" y="1241"/>
                    <a:pt x="1339" y="1246"/>
                    <a:pt x="1353" y="1259"/>
                  </a:cubicBezTo>
                  <a:cubicBezTo>
                    <a:pt x="1353" y="1259"/>
                    <a:pt x="1365" y="1270"/>
                    <a:pt x="1365" y="1284"/>
                  </a:cubicBezTo>
                  <a:cubicBezTo>
                    <a:pt x="1387" y="1318"/>
                    <a:pt x="1423" y="1329"/>
                    <a:pt x="1457" y="1329"/>
                  </a:cubicBezTo>
                  <a:cubicBezTo>
                    <a:pt x="1446" y="1377"/>
                    <a:pt x="1446" y="1424"/>
                    <a:pt x="1457" y="1469"/>
                  </a:cubicBezTo>
                  <a:lnTo>
                    <a:pt x="1516" y="1469"/>
                  </a:lnTo>
                  <a:cubicBezTo>
                    <a:pt x="1516" y="1505"/>
                    <a:pt x="1516" y="1539"/>
                    <a:pt x="1504" y="1575"/>
                  </a:cubicBezTo>
                  <a:cubicBezTo>
                    <a:pt x="1504" y="1598"/>
                    <a:pt x="1516" y="1634"/>
                    <a:pt x="1538" y="1634"/>
                  </a:cubicBezTo>
                  <a:cubicBezTo>
                    <a:pt x="1561" y="1634"/>
                    <a:pt x="1581" y="1596"/>
                    <a:pt x="1611" y="1596"/>
                  </a:cubicBezTo>
                  <a:cubicBezTo>
                    <a:pt x="1614" y="1596"/>
                    <a:pt x="1618" y="1596"/>
                    <a:pt x="1622" y="1598"/>
                  </a:cubicBezTo>
                  <a:cubicBezTo>
                    <a:pt x="1633" y="1609"/>
                    <a:pt x="1644" y="1634"/>
                    <a:pt x="1667" y="1634"/>
                  </a:cubicBezTo>
                  <a:lnTo>
                    <a:pt x="1678" y="1620"/>
                  </a:lnTo>
                  <a:lnTo>
                    <a:pt x="1714" y="1620"/>
                  </a:lnTo>
                  <a:cubicBezTo>
                    <a:pt x="1748" y="1620"/>
                    <a:pt x="1773" y="1586"/>
                    <a:pt x="1773" y="1550"/>
                  </a:cubicBezTo>
                  <a:cubicBezTo>
                    <a:pt x="1773" y="1516"/>
                    <a:pt x="1762" y="1494"/>
                    <a:pt x="1762" y="1458"/>
                  </a:cubicBezTo>
                  <a:lnTo>
                    <a:pt x="1762" y="1435"/>
                  </a:lnTo>
                  <a:cubicBezTo>
                    <a:pt x="1762" y="1435"/>
                    <a:pt x="1773" y="1424"/>
                    <a:pt x="1784" y="1424"/>
                  </a:cubicBezTo>
                  <a:cubicBezTo>
                    <a:pt x="1818" y="1388"/>
                    <a:pt x="1832" y="1340"/>
                    <a:pt x="1806" y="1296"/>
                  </a:cubicBezTo>
                  <a:cubicBezTo>
                    <a:pt x="1795" y="1284"/>
                    <a:pt x="1784" y="1270"/>
                    <a:pt x="1784" y="1259"/>
                  </a:cubicBezTo>
                  <a:cubicBezTo>
                    <a:pt x="1703" y="1178"/>
                    <a:pt x="1748" y="1061"/>
                    <a:pt x="1703" y="968"/>
                  </a:cubicBezTo>
                  <a:cubicBezTo>
                    <a:pt x="1692" y="946"/>
                    <a:pt x="1667" y="921"/>
                    <a:pt x="1667" y="899"/>
                  </a:cubicBezTo>
                  <a:cubicBezTo>
                    <a:pt x="1667" y="879"/>
                    <a:pt x="1686" y="849"/>
                    <a:pt x="1705" y="849"/>
                  </a:cubicBezTo>
                  <a:cubicBezTo>
                    <a:pt x="1708" y="849"/>
                    <a:pt x="1711" y="850"/>
                    <a:pt x="1714" y="851"/>
                  </a:cubicBezTo>
                  <a:cubicBezTo>
                    <a:pt x="1725" y="840"/>
                    <a:pt x="1714" y="806"/>
                    <a:pt x="1703" y="795"/>
                  </a:cubicBezTo>
                  <a:cubicBezTo>
                    <a:pt x="1678" y="770"/>
                    <a:pt x="1667" y="759"/>
                    <a:pt x="1655" y="736"/>
                  </a:cubicBezTo>
                  <a:cubicBezTo>
                    <a:pt x="1655" y="711"/>
                    <a:pt x="1655" y="678"/>
                    <a:pt x="1644" y="666"/>
                  </a:cubicBezTo>
                  <a:cubicBezTo>
                    <a:pt x="1633" y="655"/>
                    <a:pt x="1622" y="655"/>
                    <a:pt x="1622" y="641"/>
                  </a:cubicBezTo>
                  <a:cubicBezTo>
                    <a:pt x="1597" y="619"/>
                    <a:pt x="1608" y="585"/>
                    <a:pt x="1633" y="560"/>
                  </a:cubicBezTo>
                  <a:cubicBezTo>
                    <a:pt x="1655" y="538"/>
                    <a:pt x="1678" y="527"/>
                    <a:pt x="1703" y="515"/>
                  </a:cubicBezTo>
                  <a:cubicBezTo>
                    <a:pt x="1737" y="490"/>
                    <a:pt x="1748" y="457"/>
                    <a:pt x="1737" y="432"/>
                  </a:cubicBezTo>
                  <a:cubicBezTo>
                    <a:pt x="1762" y="420"/>
                    <a:pt x="1784" y="420"/>
                    <a:pt x="1795" y="409"/>
                  </a:cubicBezTo>
                  <a:cubicBezTo>
                    <a:pt x="1806" y="376"/>
                    <a:pt x="1773" y="339"/>
                    <a:pt x="1748" y="317"/>
                  </a:cubicBezTo>
                  <a:cubicBezTo>
                    <a:pt x="1692" y="269"/>
                    <a:pt x="1633" y="222"/>
                    <a:pt x="1586" y="177"/>
                  </a:cubicBezTo>
                  <a:cubicBezTo>
                    <a:pt x="1552" y="141"/>
                    <a:pt x="1504" y="107"/>
                    <a:pt x="1468" y="107"/>
                  </a:cubicBezTo>
                  <a:cubicBezTo>
                    <a:pt x="1423" y="96"/>
                    <a:pt x="1365" y="107"/>
                    <a:pt x="1328" y="82"/>
                  </a:cubicBezTo>
                  <a:cubicBezTo>
                    <a:pt x="1306" y="71"/>
                    <a:pt x="1295" y="60"/>
                    <a:pt x="1272" y="48"/>
                  </a:cubicBezTo>
                  <a:cubicBezTo>
                    <a:pt x="1247" y="37"/>
                    <a:pt x="1214" y="26"/>
                    <a:pt x="1177" y="26"/>
                  </a:cubicBezTo>
                  <a:cubicBezTo>
                    <a:pt x="1144" y="26"/>
                    <a:pt x="1119" y="12"/>
                    <a:pt x="1085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8" name="Google Shape;376;p17">
              <a:extLst>
                <a:ext uri="{FF2B5EF4-FFF2-40B4-BE49-F238E27FC236}">
                  <a16:creationId xmlns:a16="http://schemas.microsoft.com/office/drawing/2014/main" xmlns="" id="{E40FD2C1-4FD4-0673-FA80-27328F3DC9F0}"/>
                </a:ext>
              </a:extLst>
            </p:cNvPr>
            <p:cNvSpPr/>
            <p:nvPr/>
          </p:nvSpPr>
          <p:spPr>
            <a:xfrm>
              <a:off x="2389115" y="2534285"/>
              <a:ext cx="430206" cy="387102"/>
            </a:xfrm>
            <a:custGeom>
              <a:avLst/>
              <a:gdLst/>
              <a:ahLst/>
              <a:cxnLst/>
              <a:rect l="l" t="t" r="r" b="b"/>
              <a:pathLst>
                <a:path w="1866" h="1679" extrusionOk="0">
                  <a:moveTo>
                    <a:pt x="1114" y="54"/>
                  </a:moveTo>
                  <a:lnTo>
                    <a:pt x="1114" y="54"/>
                  </a:lnTo>
                  <a:cubicBezTo>
                    <a:pt x="1142" y="63"/>
                    <a:pt x="1172" y="70"/>
                    <a:pt x="1200" y="70"/>
                  </a:cubicBezTo>
                  <a:cubicBezTo>
                    <a:pt x="1237" y="70"/>
                    <a:pt x="1259" y="82"/>
                    <a:pt x="1281" y="93"/>
                  </a:cubicBezTo>
                  <a:cubicBezTo>
                    <a:pt x="1295" y="93"/>
                    <a:pt x="1318" y="118"/>
                    <a:pt x="1340" y="129"/>
                  </a:cubicBezTo>
                  <a:cubicBezTo>
                    <a:pt x="1365" y="140"/>
                    <a:pt x="1388" y="140"/>
                    <a:pt x="1410" y="140"/>
                  </a:cubicBezTo>
                  <a:cubicBezTo>
                    <a:pt x="1446" y="140"/>
                    <a:pt x="1469" y="140"/>
                    <a:pt x="1480" y="152"/>
                  </a:cubicBezTo>
                  <a:cubicBezTo>
                    <a:pt x="1516" y="152"/>
                    <a:pt x="1550" y="188"/>
                    <a:pt x="1586" y="210"/>
                  </a:cubicBezTo>
                  <a:cubicBezTo>
                    <a:pt x="1645" y="258"/>
                    <a:pt x="1701" y="314"/>
                    <a:pt x="1760" y="361"/>
                  </a:cubicBezTo>
                  <a:cubicBezTo>
                    <a:pt x="1771" y="372"/>
                    <a:pt x="1785" y="384"/>
                    <a:pt x="1785" y="398"/>
                  </a:cubicBezTo>
                  <a:cubicBezTo>
                    <a:pt x="1794" y="407"/>
                    <a:pt x="1796" y="409"/>
                    <a:pt x="1796" y="416"/>
                  </a:cubicBezTo>
                  <a:lnTo>
                    <a:pt x="1796" y="416"/>
                  </a:lnTo>
                  <a:cubicBezTo>
                    <a:pt x="1784" y="421"/>
                    <a:pt x="1768" y="423"/>
                    <a:pt x="1760" y="431"/>
                  </a:cubicBezTo>
                  <a:lnTo>
                    <a:pt x="1737" y="442"/>
                  </a:lnTo>
                  <a:lnTo>
                    <a:pt x="1748" y="468"/>
                  </a:lnTo>
                  <a:cubicBezTo>
                    <a:pt x="1748" y="479"/>
                    <a:pt x="1737" y="490"/>
                    <a:pt x="1737" y="490"/>
                  </a:cubicBezTo>
                  <a:cubicBezTo>
                    <a:pt x="1737" y="501"/>
                    <a:pt x="1726" y="512"/>
                    <a:pt x="1715" y="512"/>
                  </a:cubicBezTo>
                  <a:cubicBezTo>
                    <a:pt x="1690" y="523"/>
                    <a:pt x="1667" y="537"/>
                    <a:pt x="1631" y="560"/>
                  </a:cubicBezTo>
                  <a:cubicBezTo>
                    <a:pt x="1620" y="582"/>
                    <a:pt x="1609" y="607"/>
                    <a:pt x="1609" y="630"/>
                  </a:cubicBezTo>
                  <a:cubicBezTo>
                    <a:pt x="1609" y="652"/>
                    <a:pt x="1609" y="663"/>
                    <a:pt x="1620" y="677"/>
                  </a:cubicBezTo>
                  <a:cubicBezTo>
                    <a:pt x="1631" y="688"/>
                    <a:pt x="1631" y="688"/>
                    <a:pt x="1645" y="688"/>
                  </a:cubicBezTo>
                  <a:cubicBezTo>
                    <a:pt x="1645" y="700"/>
                    <a:pt x="1656" y="700"/>
                    <a:pt x="1656" y="700"/>
                  </a:cubicBezTo>
                  <a:lnTo>
                    <a:pt x="1656" y="722"/>
                  </a:lnTo>
                  <a:lnTo>
                    <a:pt x="1656" y="733"/>
                  </a:lnTo>
                  <a:lnTo>
                    <a:pt x="1656" y="758"/>
                  </a:lnTo>
                  <a:cubicBezTo>
                    <a:pt x="1656" y="781"/>
                    <a:pt x="1667" y="792"/>
                    <a:pt x="1678" y="803"/>
                  </a:cubicBezTo>
                  <a:cubicBezTo>
                    <a:pt x="1690" y="817"/>
                    <a:pt x="1701" y="817"/>
                    <a:pt x="1701" y="828"/>
                  </a:cubicBezTo>
                  <a:cubicBezTo>
                    <a:pt x="1715" y="839"/>
                    <a:pt x="1726" y="851"/>
                    <a:pt x="1726" y="851"/>
                  </a:cubicBezTo>
                  <a:cubicBezTo>
                    <a:pt x="1715" y="851"/>
                    <a:pt x="1690" y="862"/>
                    <a:pt x="1678" y="873"/>
                  </a:cubicBezTo>
                  <a:cubicBezTo>
                    <a:pt x="1678" y="887"/>
                    <a:pt x="1667" y="898"/>
                    <a:pt x="1667" y="921"/>
                  </a:cubicBezTo>
                  <a:cubicBezTo>
                    <a:pt x="1667" y="957"/>
                    <a:pt x="1690" y="979"/>
                    <a:pt x="1701" y="1002"/>
                  </a:cubicBezTo>
                  <a:cubicBezTo>
                    <a:pt x="1726" y="1038"/>
                    <a:pt x="1726" y="1083"/>
                    <a:pt x="1737" y="1141"/>
                  </a:cubicBezTo>
                  <a:cubicBezTo>
                    <a:pt x="1737" y="1189"/>
                    <a:pt x="1748" y="1248"/>
                    <a:pt x="1785" y="1306"/>
                  </a:cubicBezTo>
                  <a:cubicBezTo>
                    <a:pt x="1796" y="1318"/>
                    <a:pt x="1807" y="1329"/>
                    <a:pt x="1807" y="1329"/>
                  </a:cubicBezTo>
                  <a:cubicBezTo>
                    <a:pt x="1818" y="1340"/>
                    <a:pt x="1818" y="1351"/>
                    <a:pt x="1818" y="1362"/>
                  </a:cubicBezTo>
                  <a:cubicBezTo>
                    <a:pt x="1818" y="1387"/>
                    <a:pt x="1807" y="1410"/>
                    <a:pt x="1785" y="1421"/>
                  </a:cubicBezTo>
                  <a:cubicBezTo>
                    <a:pt x="1785" y="1432"/>
                    <a:pt x="1771" y="1432"/>
                    <a:pt x="1760" y="1446"/>
                  </a:cubicBezTo>
                  <a:lnTo>
                    <a:pt x="1760" y="1480"/>
                  </a:lnTo>
                  <a:cubicBezTo>
                    <a:pt x="1760" y="1516"/>
                    <a:pt x="1771" y="1550"/>
                    <a:pt x="1771" y="1572"/>
                  </a:cubicBezTo>
                  <a:cubicBezTo>
                    <a:pt x="1771" y="1586"/>
                    <a:pt x="1760" y="1597"/>
                    <a:pt x="1760" y="1608"/>
                  </a:cubicBezTo>
                  <a:cubicBezTo>
                    <a:pt x="1748" y="1620"/>
                    <a:pt x="1748" y="1620"/>
                    <a:pt x="1737" y="1620"/>
                  </a:cubicBezTo>
                  <a:lnTo>
                    <a:pt x="1690" y="1620"/>
                  </a:lnTo>
                  <a:lnTo>
                    <a:pt x="1678" y="1631"/>
                  </a:lnTo>
                  <a:lnTo>
                    <a:pt x="1678" y="1620"/>
                  </a:lnTo>
                  <a:cubicBezTo>
                    <a:pt x="1667" y="1608"/>
                    <a:pt x="1656" y="1597"/>
                    <a:pt x="1645" y="1597"/>
                  </a:cubicBezTo>
                  <a:lnTo>
                    <a:pt x="1631" y="1597"/>
                  </a:lnTo>
                  <a:cubicBezTo>
                    <a:pt x="1620" y="1597"/>
                    <a:pt x="1609" y="1597"/>
                    <a:pt x="1597" y="1608"/>
                  </a:cubicBezTo>
                  <a:cubicBezTo>
                    <a:pt x="1586" y="1608"/>
                    <a:pt x="1586" y="1620"/>
                    <a:pt x="1575" y="1620"/>
                  </a:cubicBezTo>
                  <a:lnTo>
                    <a:pt x="1561" y="1631"/>
                  </a:lnTo>
                  <a:lnTo>
                    <a:pt x="1561" y="1620"/>
                  </a:lnTo>
                  <a:cubicBezTo>
                    <a:pt x="1550" y="1620"/>
                    <a:pt x="1550" y="1608"/>
                    <a:pt x="1550" y="1608"/>
                  </a:cubicBezTo>
                  <a:lnTo>
                    <a:pt x="1550" y="1597"/>
                  </a:lnTo>
                  <a:cubicBezTo>
                    <a:pt x="1561" y="1561"/>
                    <a:pt x="1561" y="1527"/>
                    <a:pt x="1561" y="1502"/>
                  </a:cubicBezTo>
                  <a:lnTo>
                    <a:pt x="1575" y="1469"/>
                  </a:lnTo>
                  <a:lnTo>
                    <a:pt x="1505" y="1469"/>
                  </a:lnTo>
                  <a:lnTo>
                    <a:pt x="1505" y="1410"/>
                  </a:lnTo>
                  <a:lnTo>
                    <a:pt x="1505" y="1351"/>
                  </a:lnTo>
                  <a:lnTo>
                    <a:pt x="1505" y="1329"/>
                  </a:lnTo>
                  <a:lnTo>
                    <a:pt x="1480" y="1329"/>
                  </a:lnTo>
                  <a:cubicBezTo>
                    <a:pt x="1446" y="1329"/>
                    <a:pt x="1421" y="1318"/>
                    <a:pt x="1410" y="1292"/>
                  </a:cubicBezTo>
                  <a:cubicBezTo>
                    <a:pt x="1399" y="1281"/>
                    <a:pt x="1399" y="1270"/>
                    <a:pt x="1388" y="1259"/>
                  </a:cubicBezTo>
                  <a:cubicBezTo>
                    <a:pt x="1376" y="1248"/>
                    <a:pt x="1351" y="1248"/>
                    <a:pt x="1340" y="1248"/>
                  </a:cubicBezTo>
                  <a:lnTo>
                    <a:pt x="1295" y="1248"/>
                  </a:lnTo>
                  <a:cubicBezTo>
                    <a:pt x="1279" y="1262"/>
                    <a:pt x="1269" y="1276"/>
                    <a:pt x="1260" y="1292"/>
                  </a:cubicBezTo>
                  <a:lnTo>
                    <a:pt x="1260" y="1292"/>
                  </a:lnTo>
                  <a:cubicBezTo>
                    <a:pt x="1257" y="1290"/>
                    <a:pt x="1254" y="1288"/>
                    <a:pt x="1248" y="1281"/>
                  </a:cubicBezTo>
                  <a:cubicBezTo>
                    <a:pt x="1237" y="1270"/>
                    <a:pt x="1237" y="1259"/>
                    <a:pt x="1237" y="1248"/>
                  </a:cubicBezTo>
                  <a:cubicBezTo>
                    <a:pt x="1225" y="1223"/>
                    <a:pt x="1237" y="1189"/>
                    <a:pt x="1225" y="1141"/>
                  </a:cubicBezTo>
                  <a:cubicBezTo>
                    <a:pt x="1211" y="1108"/>
                    <a:pt x="1178" y="1083"/>
                    <a:pt x="1156" y="1060"/>
                  </a:cubicBezTo>
                  <a:cubicBezTo>
                    <a:pt x="1130" y="1038"/>
                    <a:pt x="1108" y="1013"/>
                    <a:pt x="1097" y="990"/>
                  </a:cubicBezTo>
                  <a:lnTo>
                    <a:pt x="1086" y="979"/>
                  </a:lnTo>
                  <a:cubicBezTo>
                    <a:pt x="1086" y="968"/>
                    <a:pt x="1072" y="957"/>
                    <a:pt x="1060" y="943"/>
                  </a:cubicBezTo>
                  <a:lnTo>
                    <a:pt x="957" y="943"/>
                  </a:lnTo>
                  <a:cubicBezTo>
                    <a:pt x="932" y="943"/>
                    <a:pt x="909" y="943"/>
                    <a:pt x="898" y="932"/>
                  </a:cubicBezTo>
                  <a:cubicBezTo>
                    <a:pt x="887" y="921"/>
                    <a:pt x="876" y="921"/>
                    <a:pt x="862" y="909"/>
                  </a:cubicBezTo>
                  <a:cubicBezTo>
                    <a:pt x="851" y="909"/>
                    <a:pt x="840" y="898"/>
                    <a:pt x="828" y="898"/>
                  </a:cubicBezTo>
                  <a:cubicBezTo>
                    <a:pt x="817" y="898"/>
                    <a:pt x="806" y="909"/>
                    <a:pt x="806" y="909"/>
                  </a:cubicBezTo>
                  <a:cubicBezTo>
                    <a:pt x="792" y="909"/>
                    <a:pt x="781" y="921"/>
                    <a:pt x="781" y="932"/>
                  </a:cubicBezTo>
                  <a:cubicBezTo>
                    <a:pt x="770" y="943"/>
                    <a:pt x="770" y="957"/>
                    <a:pt x="770" y="968"/>
                  </a:cubicBezTo>
                  <a:lnTo>
                    <a:pt x="770" y="979"/>
                  </a:lnTo>
                  <a:lnTo>
                    <a:pt x="770" y="1002"/>
                  </a:lnTo>
                  <a:lnTo>
                    <a:pt x="770" y="1013"/>
                  </a:lnTo>
                  <a:cubicBezTo>
                    <a:pt x="770" y="1027"/>
                    <a:pt x="758" y="1038"/>
                    <a:pt x="758" y="1049"/>
                  </a:cubicBezTo>
                  <a:cubicBezTo>
                    <a:pt x="747" y="1060"/>
                    <a:pt x="736" y="1072"/>
                    <a:pt x="711" y="1083"/>
                  </a:cubicBezTo>
                  <a:lnTo>
                    <a:pt x="619" y="1083"/>
                  </a:lnTo>
                  <a:cubicBezTo>
                    <a:pt x="596" y="1083"/>
                    <a:pt x="582" y="1072"/>
                    <a:pt x="571" y="1072"/>
                  </a:cubicBezTo>
                  <a:cubicBezTo>
                    <a:pt x="560" y="1060"/>
                    <a:pt x="560" y="1049"/>
                    <a:pt x="560" y="1049"/>
                  </a:cubicBezTo>
                  <a:lnTo>
                    <a:pt x="560" y="1038"/>
                  </a:lnTo>
                  <a:lnTo>
                    <a:pt x="571" y="1038"/>
                  </a:lnTo>
                  <a:cubicBezTo>
                    <a:pt x="571" y="1027"/>
                    <a:pt x="582" y="1027"/>
                    <a:pt x="596" y="1027"/>
                  </a:cubicBezTo>
                  <a:cubicBezTo>
                    <a:pt x="607" y="1027"/>
                    <a:pt x="630" y="1027"/>
                    <a:pt x="652" y="1013"/>
                  </a:cubicBezTo>
                  <a:cubicBezTo>
                    <a:pt x="666" y="1013"/>
                    <a:pt x="677" y="1002"/>
                    <a:pt x="689" y="990"/>
                  </a:cubicBezTo>
                  <a:cubicBezTo>
                    <a:pt x="700" y="990"/>
                    <a:pt x="711" y="968"/>
                    <a:pt x="711" y="957"/>
                  </a:cubicBezTo>
                  <a:lnTo>
                    <a:pt x="711" y="943"/>
                  </a:lnTo>
                  <a:cubicBezTo>
                    <a:pt x="711" y="932"/>
                    <a:pt x="700" y="932"/>
                    <a:pt x="700" y="921"/>
                  </a:cubicBezTo>
                  <a:cubicBezTo>
                    <a:pt x="677" y="909"/>
                    <a:pt x="666" y="898"/>
                    <a:pt x="652" y="898"/>
                  </a:cubicBezTo>
                  <a:cubicBezTo>
                    <a:pt x="582" y="873"/>
                    <a:pt x="512" y="873"/>
                    <a:pt x="457" y="873"/>
                  </a:cubicBezTo>
                  <a:lnTo>
                    <a:pt x="222" y="873"/>
                  </a:lnTo>
                  <a:cubicBezTo>
                    <a:pt x="210" y="873"/>
                    <a:pt x="188" y="873"/>
                    <a:pt x="177" y="887"/>
                  </a:cubicBezTo>
                  <a:cubicBezTo>
                    <a:pt x="168" y="887"/>
                    <a:pt x="155" y="892"/>
                    <a:pt x="144" y="902"/>
                  </a:cubicBezTo>
                  <a:lnTo>
                    <a:pt x="144" y="902"/>
                  </a:lnTo>
                  <a:cubicBezTo>
                    <a:pt x="136" y="897"/>
                    <a:pt x="128" y="892"/>
                    <a:pt x="118" y="887"/>
                  </a:cubicBezTo>
                  <a:lnTo>
                    <a:pt x="107" y="873"/>
                  </a:lnTo>
                  <a:lnTo>
                    <a:pt x="93" y="862"/>
                  </a:lnTo>
                  <a:lnTo>
                    <a:pt x="93" y="851"/>
                  </a:lnTo>
                  <a:lnTo>
                    <a:pt x="93" y="828"/>
                  </a:lnTo>
                  <a:cubicBezTo>
                    <a:pt x="93" y="817"/>
                    <a:pt x="82" y="803"/>
                    <a:pt x="82" y="803"/>
                  </a:cubicBezTo>
                  <a:cubicBezTo>
                    <a:pt x="71" y="792"/>
                    <a:pt x="59" y="792"/>
                    <a:pt x="59" y="792"/>
                  </a:cubicBezTo>
                  <a:lnTo>
                    <a:pt x="48" y="781"/>
                  </a:lnTo>
                  <a:lnTo>
                    <a:pt x="48" y="770"/>
                  </a:lnTo>
                  <a:cubicBezTo>
                    <a:pt x="71" y="747"/>
                    <a:pt x="71" y="711"/>
                    <a:pt x="71" y="688"/>
                  </a:cubicBezTo>
                  <a:lnTo>
                    <a:pt x="71" y="686"/>
                  </a:lnTo>
                  <a:lnTo>
                    <a:pt x="71" y="686"/>
                  </a:lnTo>
                  <a:cubicBezTo>
                    <a:pt x="79" y="682"/>
                    <a:pt x="90" y="677"/>
                    <a:pt x="107" y="677"/>
                  </a:cubicBezTo>
                  <a:cubicBezTo>
                    <a:pt x="118" y="663"/>
                    <a:pt x="141" y="663"/>
                    <a:pt x="163" y="652"/>
                  </a:cubicBezTo>
                  <a:cubicBezTo>
                    <a:pt x="177" y="652"/>
                    <a:pt x="188" y="641"/>
                    <a:pt x="199" y="630"/>
                  </a:cubicBezTo>
                  <a:cubicBezTo>
                    <a:pt x="199" y="619"/>
                    <a:pt x="210" y="607"/>
                    <a:pt x="210" y="593"/>
                  </a:cubicBezTo>
                  <a:cubicBezTo>
                    <a:pt x="210" y="582"/>
                    <a:pt x="210" y="571"/>
                    <a:pt x="199" y="560"/>
                  </a:cubicBezTo>
                  <a:cubicBezTo>
                    <a:pt x="188" y="549"/>
                    <a:pt x="177" y="537"/>
                    <a:pt x="177" y="537"/>
                  </a:cubicBezTo>
                  <a:cubicBezTo>
                    <a:pt x="171" y="537"/>
                    <a:pt x="165" y="535"/>
                    <a:pt x="161" y="532"/>
                  </a:cubicBezTo>
                  <a:lnTo>
                    <a:pt x="161" y="532"/>
                  </a:lnTo>
                  <a:cubicBezTo>
                    <a:pt x="162" y="530"/>
                    <a:pt x="163" y="527"/>
                    <a:pt x="163" y="523"/>
                  </a:cubicBezTo>
                  <a:cubicBezTo>
                    <a:pt x="177" y="523"/>
                    <a:pt x="188" y="512"/>
                    <a:pt x="188" y="512"/>
                  </a:cubicBezTo>
                  <a:cubicBezTo>
                    <a:pt x="199" y="501"/>
                    <a:pt x="210" y="490"/>
                    <a:pt x="222" y="479"/>
                  </a:cubicBezTo>
                  <a:lnTo>
                    <a:pt x="222" y="454"/>
                  </a:lnTo>
                  <a:cubicBezTo>
                    <a:pt x="222" y="447"/>
                    <a:pt x="217" y="440"/>
                    <a:pt x="214" y="433"/>
                  </a:cubicBezTo>
                  <a:lnTo>
                    <a:pt x="214" y="433"/>
                  </a:lnTo>
                  <a:cubicBezTo>
                    <a:pt x="217" y="432"/>
                    <a:pt x="219" y="431"/>
                    <a:pt x="222" y="431"/>
                  </a:cubicBezTo>
                  <a:lnTo>
                    <a:pt x="233" y="431"/>
                  </a:lnTo>
                  <a:cubicBezTo>
                    <a:pt x="247" y="431"/>
                    <a:pt x="258" y="442"/>
                    <a:pt x="269" y="442"/>
                  </a:cubicBezTo>
                  <a:cubicBezTo>
                    <a:pt x="280" y="442"/>
                    <a:pt x="303" y="454"/>
                    <a:pt x="317" y="454"/>
                  </a:cubicBezTo>
                  <a:cubicBezTo>
                    <a:pt x="328" y="454"/>
                    <a:pt x="339" y="454"/>
                    <a:pt x="350" y="442"/>
                  </a:cubicBezTo>
                  <a:lnTo>
                    <a:pt x="361" y="431"/>
                  </a:lnTo>
                  <a:lnTo>
                    <a:pt x="361" y="409"/>
                  </a:lnTo>
                  <a:cubicBezTo>
                    <a:pt x="361" y="384"/>
                    <a:pt x="350" y="361"/>
                    <a:pt x="350" y="339"/>
                  </a:cubicBezTo>
                  <a:cubicBezTo>
                    <a:pt x="339" y="328"/>
                    <a:pt x="339" y="314"/>
                    <a:pt x="339" y="303"/>
                  </a:cubicBezTo>
                  <a:lnTo>
                    <a:pt x="339" y="291"/>
                  </a:lnTo>
                  <a:lnTo>
                    <a:pt x="350" y="291"/>
                  </a:lnTo>
                  <a:cubicBezTo>
                    <a:pt x="361" y="291"/>
                    <a:pt x="373" y="303"/>
                    <a:pt x="387" y="303"/>
                  </a:cubicBezTo>
                  <a:cubicBezTo>
                    <a:pt x="398" y="303"/>
                    <a:pt x="409" y="291"/>
                    <a:pt x="420" y="291"/>
                  </a:cubicBezTo>
                  <a:cubicBezTo>
                    <a:pt x="443" y="280"/>
                    <a:pt x="457" y="269"/>
                    <a:pt x="457" y="269"/>
                  </a:cubicBezTo>
                  <a:cubicBezTo>
                    <a:pt x="468" y="258"/>
                    <a:pt x="468" y="244"/>
                    <a:pt x="479" y="233"/>
                  </a:cubicBezTo>
                  <a:cubicBezTo>
                    <a:pt x="479" y="233"/>
                    <a:pt x="479" y="221"/>
                    <a:pt x="490" y="221"/>
                  </a:cubicBezTo>
                  <a:cubicBezTo>
                    <a:pt x="501" y="210"/>
                    <a:pt x="501" y="210"/>
                    <a:pt x="512" y="210"/>
                  </a:cubicBezTo>
                  <a:lnTo>
                    <a:pt x="526" y="221"/>
                  </a:lnTo>
                  <a:lnTo>
                    <a:pt x="526" y="233"/>
                  </a:lnTo>
                  <a:lnTo>
                    <a:pt x="512" y="244"/>
                  </a:lnTo>
                  <a:cubicBezTo>
                    <a:pt x="501" y="258"/>
                    <a:pt x="501" y="269"/>
                    <a:pt x="501" y="280"/>
                  </a:cubicBezTo>
                  <a:cubicBezTo>
                    <a:pt x="501" y="303"/>
                    <a:pt x="512" y="328"/>
                    <a:pt x="538" y="339"/>
                  </a:cubicBezTo>
                  <a:cubicBezTo>
                    <a:pt x="560" y="361"/>
                    <a:pt x="596" y="361"/>
                    <a:pt x="619" y="361"/>
                  </a:cubicBezTo>
                  <a:cubicBezTo>
                    <a:pt x="641" y="361"/>
                    <a:pt x="652" y="372"/>
                    <a:pt x="666" y="372"/>
                  </a:cubicBezTo>
                  <a:cubicBezTo>
                    <a:pt x="666" y="384"/>
                    <a:pt x="666" y="384"/>
                    <a:pt x="652" y="398"/>
                  </a:cubicBezTo>
                  <a:lnTo>
                    <a:pt x="652" y="442"/>
                  </a:lnTo>
                  <a:cubicBezTo>
                    <a:pt x="652" y="468"/>
                    <a:pt x="652" y="479"/>
                    <a:pt x="666" y="490"/>
                  </a:cubicBezTo>
                  <a:cubicBezTo>
                    <a:pt x="666" y="501"/>
                    <a:pt x="677" y="512"/>
                    <a:pt x="689" y="512"/>
                  </a:cubicBezTo>
                  <a:cubicBezTo>
                    <a:pt x="700" y="537"/>
                    <a:pt x="700" y="560"/>
                    <a:pt x="700" y="593"/>
                  </a:cubicBezTo>
                  <a:cubicBezTo>
                    <a:pt x="700" y="619"/>
                    <a:pt x="700" y="641"/>
                    <a:pt x="689" y="663"/>
                  </a:cubicBezTo>
                  <a:cubicBezTo>
                    <a:pt x="677" y="677"/>
                    <a:pt x="677" y="688"/>
                    <a:pt x="666" y="700"/>
                  </a:cubicBezTo>
                  <a:cubicBezTo>
                    <a:pt x="652" y="711"/>
                    <a:pt x="652" y="733"/>
                    <a:pt x="652" y="747"/>
                  </a:cubicBezTo>
                  <a:lnTo>
                    <a:pt x="652" y="770"/>
                  </a:lnTo>
                  <a:cubicBezTo>
                    <a:pt x="652" y="770"/>
                    <a:pt x="652" y="781"/>
                    <a:pt x="666" y="792"/>
                  </a:cubicBezTo>
                  <a:cubicBezTo>
                    <a:pt x="677" y="792"/>
                    <a:pt x="689" y="803"/>
                    <a:pt x="700" y="803"/>
                  </a:cubicBezTo>
                  <a:cubicBezTo>
                    <a:pt x="711" y="803"/>
                    <a:pt x="711" y="803"/>
                    <a:pt x="722" y="792"/>
                  </a:cubicBezTo>
                  <a:cubicBezTo>
                    <a:pt x="722" y="792"/>
                    <a:pt x="728" y="792"/>
                    <a:pt x="732" y="789"/>
                  </a:cubicBezTo>
                  <a:lnTo>
                    <a:pt x="732" y="789"/>
                  </a:lnTo>
                  <a:lnTo>
                    <a:pt x="736" y="792"/>
                  </a:lnTo>
                  <a:cubicBezTo>
                    <a:pt x="747" y="781"/>
                    <a:pt x="758" y="770"/>
                    <a:pt x="770" y="758"/>
                  </a:cubicBezTo>
                  <a:cubicBezTo>
                    <a:pt x="781" y="747"/>
                    <a:pt x="781" y="747"/>
                    <a:pt x="792" y="733"/>
                  </a:cubicBezTo>
                  <a:lnTo>
                    <a:pt x="851" y="733"/>
                  </a:lnTo>
                  <a:cubicBezTo>
                    <a:pt x="862" y="733"/>
                    <a:pt x="876" y="733"/>
                    <a:pt x="887" y="722"/>
                  </a:cubicBezTo>
                  <a:cubicBezTo>
                    <a:pt x="909" y="722"/>
                    <a:pt x="921" y="711"/>
                    <a:pt x="921" y="700"/>
                  </a:cubicBezTo>
                  <a:cubicBezTo>
                    <a:pt x="932" y="688"/>
                    <a:pt x="932" y="677"/>
                    <a:pt x="932" y="663"/>
                  </a:cubicBezTo>
                  <a:lnTo>
                    <a:pt x="932" y="652"/>
                  </a:lnTo>
                  <a:cubicBezTo>
                    <a:pt x="932" y="641"/>
                    <a:pt x="946" y="630"/>
                    <a:pt x="957" y="619"/>
                  </a:cubicBezTo>
                  <a:cubicBezTo>
                    <a:pt x="979" y="571"/>
                    <a:pt x="979" y="523"/>
                    <a:pt x="991" y="479"/>
                  </a:cubicBezTo>
                  <a:cubicBezTo>
                    <a:pt x="991" y="431"/>
                    <a:pt x="991" y="384"/>
                    <a:pt x="1016" y="361"/>
                  </a:cubicBezTo>
                  <a:cubicBezTo>
                    <a:pt x="1027" y="350"/>
                    <a:pt x="1049" y="328"/>
                    <a:pt x="1060" y="314"/>
                  </a:cubicBezTo>
                  <a:cubicBezTo>
                    <a:pt x="1072" y="303"/>
                    <a:pt x="1086" y="291"/>
                    <a:pt x="1097" y="280"/>
                  </a:cubicBezTo>
                  <a:cubicBezTo>
                    <a:pt x="1097" y="269"/>
                    <a:pt x="1108" y="258"/>
                    <a:pt x="1108" y="233"/>
                  </a:cubicBezTo>
                  <a:cubicBezTo>
                    <a:pt x="1108" y="221"/>
                    <a:pt x="1097" y="199"/>
                    <a:pt x="1097" y="188"/>
                  </a:cubicBezTo>
                  <a:cubicBezTo>
                    <a:pt x="1086" y="174"/>
                    <a:pt x="1086" y="174"/>
                    <a:pt x="1072" y="163"/>
                  </a:cubicBezTo>
                  <a:lnTo>
                    <a:pt x="1072" y="140"/>
                  </a:lnTo>
                  <a:cubicBezTo>
                    <a:pt x="1072" y="118"/>
                    <a:pt x="1086" y="93"/>
                    <a:pt x="1097" y="82"/>
                  </a:cubicBezTo>
                  <a:cubicBezTo>
                    <a:pt x="1097" y="72"/>
                    <a:pt x="1105" y="63"/>
                    <a:pt x="1114" y="54"/>
                  </a:cubicBezTo>
                  <a:close/>
                  <a:moveTo>
                    <a:pt x="1108" y="1"/>
                  </a:moveTo>
                  <a:lnTo>
                    <a:pt x="1097" y="12"/>
                  </a:lnTo>
                  <a:cubicBezTo>
                    <a:pt x="1072" y="23"/>
                    <a:pt x="1060" y="34"/>
                    <a:pt x="1049" y="59"/>
                  </a:cubicBezTo>
                  <a:cubicBezTo>
                    <a:pt x="1038" y="82"/>
                    <a:pt x="1027" y="104"/>
                    <a:pt x="1027" y="140"/>
                  </a:cubicBezTo>
                  <a:cubicBezTo>
                    <a:pt x="1027" y="152"/>
                    <a:pt x="1027" y="163"/>
                    <a:pt x="1038" y="174"/>
                  </a:cubicBezTo>
                  <a:cubicBezTo>
                    <a:pt x="1038" y="188"/>
                    <a:pt x="1049" y="199"/>
                    <a:pt x="1049" y="210"/>
                  </a:cubicBezTo>
                  <a:cubicBezTo>
                    <a:pt x="1049" y="221"/>
                    <a:pt x="1060" y="233"/>
                    <a:pt x="1060" y="233"/>
                  </a:cubicBezTo>
                  <a:cubicBezTo>
                    <a:pt x="1060" y="244"/>
                    <a:pt x="1060" y="244"/>
                    <a:pt x="1049" y="258"/>
                  </a:cubicBezTo>
                  <a:cubicBezTo>
                    <a:pt x="1049" y="269"/>
                    <a:pt x="1038" y="280"/>
                    <a:pt x="1027" y="291"/>
                  </a:cubicBezTo>
                  <a:cubicBezTo>
                    <a:pt x="1002" y="303"/>
                    <a:pt x="991" y="314"/>
                    <a:pt x="979" y="328"/>
                  </a:cubicBezTo>
                  <a:cubicBezTo>
                    <a:pt x="946" y="372"/>
                    <a:pt x="946" y="431"/>
                    <a:pt x="946" y="479"/>
                  </a:cubicBezTo>
                  <a:cubicBezTo>
                    <a:pt x="932" y="523"/>
                    <a:pt x="932" y="560"/>
                    <a:pt x="909" y="593"/>
                  </a:cubicBezTo>
                  <a:cubicBezTo>
                    <a:pt x="909" y="607"/>
                    <a:pt x="887" y="619"/>
                    <a:pt x="887" y="641"/>
                  </a:cubicBezTo>
                  <a:lnTo>
                    <a:pt x="887" y="663"/>
                  </a:lnTo>
                  <a:cubicBezTo>
                    <a:pt x="887" y="677"/>
                    <a:pt x="876" y="677"/>
                    <a:pt x="876" y="677"/>
                  </a:cubicBezTo>
                  <a:lnTo>
                    <a:pt x="876" y="688"/>
                  </a:lnTo>
                  <a:lnTo>
                    <a:pt x="781" y="688"/>
                  </a:lnTo>
                  <a:cubicBezTo>
                    <a:pt x="770" y="700"/>
                    <a:pt x="747" y="711"/>
                    <a:pt x="736" y="722"/>
                  </a:cubicBezTo>
                  <a:cubicBezTo>
                    <a:pt x="722" y="733"/>
                    <a:pt x="711" y="747"/>
                    <a:pt x="700" y="758"/>
                  </a:cubicBezTo>
                  <a:lnTo>
                    <a:pt x="700" y="747"/>
                  </a:lnTo>
                  <a:cubicBezTo>
                    <a:pt x="700" y="747"/>
                    <a:pt x="700" y="733"/>
                    <a:pt x="711" y="722"/>
                  </a:cubicBezTo>
                  <a:cubicBezTo>
                    <a:pt x="711" y="711"/>
                    <a:pt x="722" y="700"/>
                    <a:pt x="722" y="688"/>
                  </a:cubicBezTo>
                  <a:cubicBezTo>
                    <a:pt x="747" y="652"/>
                    <a:pt x="747" y="630"/>
                    <a:pt x="747" y="593"/>
                  </a:cubicBezTo>
                  <a:cubicBezTo>
                    <a:pt x="747" y="560"/>
                    <a:pt x="747" y="523"/>
                    <a:pt x="722" y="490"/>
                  </a:cubicBezTo>
                  <a:cubicBezTo>
                    <a:pt x="711" y="479"/>
                    <a:pt x="711" y="468"/>
                    <a:pt x="700" y="468"/>
                  </a:cubicBezTo>
                  <a:lnTo>
                    <a:pt x="700" y="442"/>
                  </a:lnTo>
                  <a:lnTo>
                    <a:pt x="700" y="420"/>
                  </a:lnTo>
                  <a:cubicBezTo>
                    <a:pt x="700" y="409"/>
                    <a:pt x="711" y="398"/>
                    <a:pt x="711" y="372"/>
                  </a:cubicBezTo>
                  <a:cubicBezTo>
                    <a:pt x="711" y="372"/>
                    <a:pt x="711" y="361"/>
                    <a:pt x="700" y="350"/>
                  </a:cubicBezTo>
                  <a:cubicBezTo>
                    <a:pt x="677" y="328"/>
                    <a:pt x="641" y="314"/>
                    <a:pt x="619" y="314"/>
                  </a:cubicBezTo>
                  <a:cubicBezTo>
                    <a:pt x="596" y="314"/>
                    <a:pt x="571" y="314"/>
                    <a:pt x="560" y="303"/>
                  </a:cubicBezTo>
                  <a:cubicBezTo>
                    <a:pt x="549" y="291"/>
                    <a:pt x="549" y="280"/>
                    <a:pt x="549" y="280"/>
                  </a:cubicBezTo>
                  <a:lnTo>
                    <a:pt x="549" y="269"/>
                  </a:lnTo>
                  <a:cubicBezTo>
                    <a:pt x="549" y="269"/>
                    <a:pt x="560" y="269"/>
                    <a:pt x="560" y="258"/>
                  </a:cubicBezTo>
                  <a:cubicBezTo>
                    <a:pt x="571" y="244"/>
                    <a:pt x="571" y="233"/>
                    <a:pt x="571" y="233"/>
                  </a:cubicBezTo>
                  <a:cubicBezTo>
                    <a:pt x="571" y="210"/>
                    <a:pt x="571" y="199"/>
                    <a:pt x="560" y="188"/>
                  </a:cubicBezTo>
                  <a:cubicBezTo>
                    <a:pt x="549" y="174"/>
                    <a:pt x="538" y="174"/>
                    <a:pt x="512" y="163"/>
                  </a:cubicBezTo>
                  <a:cubicBezTo>
                    <a:pt x="490" y="163"/>
                    <a:pt x="479" y="174"/>
                    <a:pt x="468" y="174"/>
                  </a:cubicBezTo>
                  <a:cubicBezTo>
                    <a:pt x="457" y="188"/>
                    <a:pt x="443" y="199"/>
                    <a:pt x="431" y="210"/>
                  </a:cubicBezTo>
                  <a:cubicBezTo>
                    <a:pt x="431" y="221"/>
                    <a:pt x="420" y="233"/>
                    <a:pt x="420" y="233"/>
                  </a:cubicBezTo>
                  <a:lnTo>
                    <a:pt x="409" y="244"/>
                  </a:lnTo>
                  <a:cubicBezTo>
                    <a:pt x="398" y="244"/>
                    <a:pt x="398" y="258"/>
                    <a:pt x="387" y="258"/>
                  </a:cubicBezTo>
                  <a:cubicBezTo>
                    <a:pt x="373" y="258"/>
                    <a:pt x="361" y="244"/>
                    <a:pt x="350" y="244"/>
                  </a:cubicBezTo>
                  <a:cubicBezTo>
                    <a:pt x="350" y="244"/>
                    <a:pt x="339" y="244"/>
                    <a:pt x="328" y="258"/>
                  </a:cubicBezTo>
                  <a:cubicBezTo>
                    <a:pt x="317" y="258"/>
                    <a:pt x="317" y="258"/>
                    <a:pt x="303" y="269"/>
                  </a:cubicBezTo>
                  <a:cubicBezTo>
                    <a:pt x="292" y="280"/>
                    <a:pt x="292" y="291"/>
                    <a:pt x="292" y="303"/>
                  </a:cubicBezTo>
                  <a:cubicBezTo>
                    <a:pt x="292" y="328"/>
                    <a:pt x="292" y="350"/>
                    <a:pt x="303" y="361"/>
                  </a:cubicBezTo>
                  <a:cubicBezTo>
                    <a:pt x="317" y="384"/>
                    <a:pt x="328" y="398"/>
                    <a:pt x="317" y="409"/>
                  </a:cubicBezTo>
                  <a:cubicBezTo>
                    <a:pt x="303" y="409"/>
                    <a:pt x="292" y="398"/>
                    <a:pt x="280" y="398"/>
                  </a:cubicBezTo>
                  <a:cubicBezTo>
                    <a:pt x="269" y="398"/>
                    <a:pt x="258" y="384"/>
                    <a:pt x="233" y="384"/>
                  </a:cubicBezTo>
                  <a:lnTo>
                    <a:pt x="222" y="384"/>
                  </a:lnTo>
                  <a:cubicBezTo>
                    <a:pt x="199" y="384"/>
                    <a:pt x="177" y="398"/>
                    <a:pt x="163" y="398"/>
                  </a:cubicBezTo>
                  <a:lnTo>
                    <a:pt x="118" y="420"/>
                  </a:lnTo>
                  <a:lnTo>
                    <a:pt x="163" y="442"/>
                  </a:lnTo>
                  <a:lnTo>
                    <a:pt x="177" y="454"/>
                  </a:lnTo>
                  <a:lnTo>
                    <a:pt x="177" y="468"/>
                  </a:lnTo>
                  <a:lnTo>
                    <a:pt x="163" y="468"/>
                  </a:lnTo>
                  <a:cubicBezTo>
                    <a:pt x="163" y="479"/>
                    <a:pt x="152" y="479"/>
                    <a:pt x="141" y="490"/>
                  </a:cubicBezTo>
                  <a:cubicBezTo>
                    <a:pt x="129" y="490"/>
                    <a:pt x="129" y="501"/>
                    <a:pt x="118" y="501"/>
                  </a:cubicBezTo>
                  <a:cubicBezTo>
                    <a:pt x="118" y="512"/>
                    <a:pt x="107" y="512"/>
                    <a:pt x="107" y="537"/>
                  </a:cubicBezTo>
                  <a:cubicBezTo>
                    <a:pt x="107" y="549"/>
                    <a:pt x="118" y="549"/>
                    <a:pt x="118" y="560"/>
                  </a:cubicBezTo>
                  <a:cubicBezTo>
                    <a:pt x="129" y="571"/>
                    <a:pt x="141" y="571"/>
                    <a:pt x="152" y="571"/>
                  </a:cubicBezTo>
                  <a:cubicBezTo>
                    <a:pt x="152" y="582"/>
                    <a:pt x="163" y="582"/>
                    <a:pt x="163" y="582"/>
                  </a:cubicBezTo>
                  <a:lnTo>
                    <a:pt x="163" y="593"/>
                  </a:lnTo>
                  <a:cubicBezTo>
                    <a:pt x="152" y="607"/>
                    <a:pt x="141" y="607"/>
                    <a:pt x="129" y="619"/>
                  </a:cubicBezTo>
                  <a:cubicBezTo>
                    <a:pt x="118" y="619"/>
                    <a:pt x="107" y="630"/>
                    <a:pt x="93" y="630"/>
                  </a:cubicBezTo>
                  <a:cubicBezTo>
                    <a:pt x="71" y="630"/>
                    <a:pt x="59" y="641"/>
                    <a:pt x="48" y="641"/>
                  </a:cubicBezTo>
                  <a:lnTo>
                    <a:pt x="23" y="652"/>
                  </a:lnTo>
                  <a:lnTo>
                    <a:pt x="23" y="663"/>
                  </a:lnTo>
                  <a:lnTo>
                    <a:pt x="23" y="688"/>
                  </a:lnTo>
                  <a:cubicBezTo>
                    <a:pt x="23" y="711"/>
                    <a:pt x="23" y="722"/>
                    <a:pt x="12" y="747"/>
                  </a:cubicBezTo>
                  <a:cubicBezTo>
                    <a:pt x="12" y="747"/>
                    <a:pt x="1" y="758"/>
                    <a:pt x="1" y="770"/>
                  </a:cubicBezTo>
                  <a:lnTo>
                    <a:pt x="1" y="781"/>
                  </a:lnTo>
                  <a:cubicBezTo>
                    <a:pt x="1" y="792"/>
                    <a:pt x="1" y="803"/>
                    <a:pt x="12" y="803"/>
                  </a:cubicBezTo>
                  <a:cubicBezTo>
                    <a:pt x="12" y="817"/>
                    <a:pt x="23" y="817"/>
                    <a:pt x="23" y="828"/>
                  </a:cubicBezTo>
                  <a:cubicBezTo>
                    <a:pt x="37" y="828"/>
                    <a:pt x="37" y="839"/>
                    <a:pt x="48" y="839"/>
                  </a:cubicBezTo>
                  <a:lnTo>
                    <a:pt x="48" y="851"/>
                  </a:lnTo>
                  <a:lnTo>
                    <a:pt x="48" y="862"/>
                  </a:lnTo>
                  <a:cubicBezTo>
                    <a:pt x="48" y="887"/>
                    <a:pt x="59" y="898"/>
                    <a:pt x="71" y="898"/>
                  </a:cubicBezTo>
                  <a:cubicBezTo>
                    <a:pt x="71" y="909"/>
                    <a:pt x="82" y="921"/>
                    <a:pt x="93" y="921"/>
                  </a:cubicBezTo>
                  <a:cubicBezTo>
                    <a:pt x="118" y="932"/>
                    <a:pt x="129" y="943"/>
                    <a:pt x="129" y="957"/>
                  </a:cubicBezTo>
                  <a:lnTo>
                    <a:pt x="163" y="990"/>
                  </a:lnTo>
                  <a:lnTo>
                    <a:pt x="177" y="943"/>
                  </a:lnTo>
                  <a:cubicBezTo>
                    <a:pt x="177" y="932"/>
                    <a:pt x="188" y="932"/>
                    <a:pt x="188" y="932"/>
                  </a:cubicBezTo>
                  <a:cubicBezTo>
                    <a:pt x="199" y="921"/>
                    <a:pt x="210" y="921"/>
                    <a:pt x="222" y="921"/>
                  </a:cubicBezTo>
                  <a:lnTo>
                    <a:pt x="443" y="921"/>
                  </a:lnTo>
                  <a:cubicBezTo>
                    <a:pt x="512" y="921"/>
                    <a:pt x="582" y="921"/>
                    <a:pt x="641" y="943"/>
                  </a:cubicBezTo>
                  <a:lnTo>
                    <a:pt x="652" y="943"/>
                  </a:lnTo>
                  <a:lnTo>
                    <a:pt x="666" y="957"/>
                  </a:lnTo>
                  <a:lnTo>
                    <a:pt x="652" y="968"/>
                  </a:lnTo>
                  <a:lnTo>
                    <a:pt x="641" y="979"/>
                  </a:lnTo>
                  <a:lnTo>
                    <a:pt x="582" y="979"/>
                  </a:lnTo>
                  <a:cubicBezTo>
                    <a:pt x="571" y="979"/>
                    <a:pt x="560" y="990"/>
                    <a:pt x="549" y="990"/>
                  </a:cubicBezTo>
                  <a:cubicBezTo>
                    <a:pt x="538" y="1002"/>
                    <a:pt x="526" y="1002"/>
                    <a:pt x="526" y="1027"/>
                  </a:cubicBezTo>
                  <a:cubicBezTo>
                    <a:pt x="512" y="1027"/>
                    <a:pt x="512" y="1038"/>
                    <a:pt x="512" y="1049"/>
                  </a:cubicBezTo>
                  <a:cubicBezTo>
                    <a:pt x="512" y="1072"/>
                    <a:pt x="526" y="1083"/>
                    <a:pt x="538" y="1108"/>
                  </a:cubicBezTo>
                  <a:cubicBezTo>
                    <a:pt x="560" y="1119"/>
                    <a:pt x="582" y="1130"/>
                    <a:pt x="607" y="1130"/>
                  </a:cubicBezTo>
                  <a:lnTo>
                    <a:pt x="666" y="1130"/>
                  </a:lnTo>
                  <a:cubicBezTo>
                    <a:pt x="689" y="1130"/>
                    <a:pt x="711" y="1130"/>
                    <a:pt x="736" y="1119"/>
                  </a:cubicBezTo>
                  <a:cubicBezTo>
                    <a:pt x="758" y="1108"/>
                    <a:pt x="770" y="1097"/>
                    <a:pt x="792" y="1083"/>
                  </a:cubicBezTo>
                  <a:cubicBezTo>
                    <a:pt x="806" y="1060"/>
                    <a:pt x="817" y="1038"/>
                    <a:pt x="817" y="1013"/>
                  </a:cubicBezTo>
                  <a:lnTo>
                    <a:pt x="817" y="1002"/>
                  </a:lnTo>
                  <a:lnTo>
                    <a:pt x="817" y="979"/>
                  </a:lnTo>
                  <a:lnTo>
                    <a:pt x="817" y="968"/>
                  </a:lnTo>
                  <a:lnTo>
                    <a:pt x="817" y="957"/>
                  </a:lnTo>
                  <a:lnTo>
                    <a:pt x="828" y="943"/>
                  </a:lnTo>
                  <a:cubicBezTo>
                    <a:pt x="828" y="943"/>
                    <a:pt x="840" y="957"/>
                    <a:pt x="851" y="957"/>
                  </a:cubicBezTo>
                  <a:cubicBezTo>
                    <a:pt x="851" y="957"/>
                    <a:pt x="862" y="968"/>
                    <a:pt x="876" y="968"/>
                  </a:cubicBezTo>
                  <a:cubicBezTo>
                    <a:pt x="898" y="990"/>
                    <a:pt x="932" y="990"/>
                    <a:pt x="957" y="990"/>
                  </a:cubicBezTo>
                  <a:lnTo>
                    <a:pt x="1038" y="990"/>
                  </a:lnTo>
                  <a:cubicBezTo>
                    <a:pt x="1049" y="1002"/>
                    <a:pt x="1049" y="1002"/>
                    <a:pt x="1049" y="1013"/>
                  </a:cubicBezTo>
                  <a:cubicBezTo>
                    <a:pt x="1060" y="1049"/>
                    <a:pt x="1097" y="1072"/>
                    <a:pt x="1119" y="1097"/>
                  </a:cubicBezTo>
                  <a:cubicBezTo>
                    <a:pt x="1156" y="1119"/>
                    <a:pt x="1178" y="1141"/>
                    <a:pt x="1178" y="1167"/>
                  </a:cubicBezTo>
                  <a:cubicBezTo>
                    <a:pt x="1189" y="1189"/>
                    <a:pt x="1189" y="1211"/>
                    <a:pt x="1189" y="1259"/>
                  </a:cubicBezTo>
                  <a:cubicBezTo>
                    <a:pt x="1189" y="1270"/>
                    <a:pt x="1200" y="1292"/>
                    <a:pt x="1211" y="1318"/>
                  </a:cubicBezTo>
                  <a:cubicBezTo>
                    <a:pt x="1225" y="1329"/>
                    <a:pt x="1248" y="1340"/>
                    <a:pt x="1270" y="1340"/>
                  </a:cubicBezTo>
                  <a:lnTo>
                    <a:pt x="1281" y="1340"/>
                  </a:lnTo>
                  <a:lnTo>
                    <a:pt x="1295" y="1329"/>
                  </a:lnTo>
                  <a:cubicBezTo>
                    <a:pt x="1295" y="1318"/>
                    <a:pt x="1307" y="1306"/>
                    <a:pt x="1318" y="1292"/>
                  </a:cubicBezTo>
                  <a:lnTo>
                    <a:pt x="1351" y="1292"/>
                  </a:lnTo>
                  <a:lnTo>
                    <a:pt x="1376" y="1318"/>
                  </a:lnTo>
                  <a:cubicBezTo>
                    <a:pt x="1395" y="1345"/>
                    <a:pt x="1423" y="1367"/>
                    <a:pt x="1458" y="1374"/>
                  </a:cubicBezTo>
                  <a:lnTo>
                    <a:pt x="1458" y="1374"/>
                  </a:lnTo>
                  <a:lnTo>
                    <a:pt x="1458" y="1410"/>
                  </a:lnTo>
                  <a:lnTo>
                    <a:pt x="1458" y="1502"/>
                  </a:lnTo>
                  <a:lnTo>
                    <a:pt x="1458" y="1516"/>
                  </a:lnTo>
                  <a:lnTo>
                    <a:pt x="1516" y="1516"/>
                  </a:lnTo>
                  <a:cubicBezTo>
                    <a:pt x="1516" y="1543"/>
                    <a:pt x="1514" y="1567"/>
                    <a:pt x="1505" y="1586"/>
                  </a:cubicBezTo>
                  <a:lnTo>
                    <a:pt x="1505" y="1608"/>
                  </a:lnTo>
                  <a:cubicBezTo>
                    <a:pt x="1505" y="1620"/>
                    <a:pt x="1516" y="1631"/>
                    <a:pt x="1516" y="1642"/>
                  </a:cubicBezTo>
                  <a:cubicBezTo>
                    <a:pt x="1516" y="1656"/>
                    <a:pt x="1527" y="1667"/>
                    <a:pt x="1527" y="1667"/>
                  </a:cubicBezTo>
                  <a:cubicBezTo>
                    <a:pt x="1539" y="1678"/>
                    <a:pt x="1550" y="1678"/>
                    <a:pt x="1561" y="1678"/>
                  </a:cubicBezTo>
                  <a:cubicBezTo>
                    <a:pt x="1575" y="1678"/>
                    <a:pt x="1586" y="1678"/>
                    <a:pt x="1597" y="1667"/>
                  </a:cubicBezTo>
                  <a:cubicBezTo>
                    <a:pt x="1609" y="1667"/>
                    <a:pt x="1609" y="1656"/>
                    <a:pt x="1620" y="1642"/>
                  </a:cubicBezTo>
                  <a:lnTo>
                    <a:pt x="1631" y="1642"/>
                  </a:lnTo>
                  <a:lnTo>
                    <a:pt x="1645" y="1656"/>
                  </a:lnTo>
                  <a:lnTo>
                    <a:pt x="1656" y="1667"/>
                  </a:lnTo>
                  <a:cubicBezTo>
                    <a:pt x="1667" y="1678"/>
                    <a:pt x="1678" y="1678"/>
                    <a:pt x="1678" y="1678"/>
                  </a:cubicBezTo>
                  <a:lnTo>
                    <a:pt x="1690" y="1678"/>
                  </a:lnTo>
                  <a:lnTo>
                    <a:pt x="1715" y="1667"/>
                  </a:lnTo>
                  <a:lnTo>
                    <a:pt x="1737" y="1667"/>
                  </a:lnTo>
                  <a:cubicBezTo>
                    <a:pt x="1760" y="1667"/>
                    <a:pt x="1785" y="1656"/>
                    <a:pt x="1796" y="1631"/>
                  </a:cubicBezTo>
                  <a:cubicBezTo>
                    <a:pt x="1807" y="1620"/>
                    <a:pt x="1818" y="1597"/>
                    <a:pt x="1818" y="1572"/>
                  </a:cubicBezTo>
                  <a:cubicBezTo>
                    <a:pt x="1818" y="1538"/>
                    <a:pt x="1807" y="1502"/>
                    <a:pt x="1807" y="1480"/>
                  </a:cubicBezTo>
                  <a:lnTo>
                    <a:pt x="1807" y="1469"/>
                  </a:lnTo>
                  <a:lnTo>
                    <a:pt x="1818" y="1457"/>
                  </a:lnTo>
                  <a:cubicBezTo>
                    <a:pt x="1841" y="1432"/>
                    <a:pt x="1866" y="1399"/>
                    <a:pt x="1866" y="1362"/>
                  </a:cubicBezTo>
                  <a:cubicBezTo>
                    <a:pt x="1866" y="1340"/>
                    <a:pt x="1866" y="1329"/>
                    <a:pt x="1855" y="1306"/>
                  </a:cubicBezTo>
                  <a:cubicBezTo>
                    <a:pt x="1841" y="1292"/>
                    <a:pt x="1829" y="1281"/>
                    <a:pt x="1818" y="1270"/>
                  </a:cubicBezTo>
                  <a:cubicBezTo>
                    <a:pt x="1796" y="1236"/>
                    <a:pt x="1785" y="1189"/>
                    <a:pt x="1785" y="1141"/>
                  </a:cubicBezTo>
                  <a:cubicBezTo>
                    <a:pt x="1771" y="1083"/>
                    <a:pt x="1771" y="1027"/>
                    <a:pt x="1748" y="979"/>
                  </a:cubicBezTo>
                  <a:cubicBezTo>
                    <a:pt x="1726" y="957"/>
                    <a:pt x="1715" y="932"/>
                    <a:pt x="1715" y="921"/>
                  </a:cubicBezTo>
                  <a:lnTo>
                    <a:pt x="1726" y="898"/>
                  </a:lnTo>
                  <a:lnTo>
                    <a:pt x="1748" y="909"/>
                  </a:lnTo>
                  <a:lnTo>
                    <a:pt x="1748" y="887"/>
                  </a:lnTo>
                  <a:cubicBezTo>
                    <a:pt x="1760" y="887"/>
                    <a:pt x="1771" y="862"/>
                    <a:pt x="1771" y="851"/>
                  </a:cubicBezTo>
                  <a:cubicBezTo>
                    <a:pt x="1771" y="828"/>
                    <a:pt x="1748" y="817"/>
                    <a:pt x="1737" y="792"/>
                  </a:cubicBezTo>
                  <a:cubicBezTo>
                    <a:pt x="1737" y="781"/>
                    <a:pt x="1726" y="781"/>
                    <a:pt x="1715" y="770"/>
                  </a:cubicBezTo>
                  <a:cubicBezTo>
                    <a:pt x="1701" y="758"/>
                    <a:pt x="1701" y="758"/>
                    <a:pt x="1701" y="747"/>
                  </a:cubicBezTo>
                  <a:lnTo>
                    <a:pt x="1701" y="733"/>
                  </a:lnTo>
                  <a:lnTo>
                    <a:pt x="1701" y="722"/>
                  </a:lnTo>
                  <a:lnTo>
                    <a:pt x="1701" y="700"/>
                  </a:lnTo>
                  <a:cubicBezTo>
                    <a:pt x="1701" y="688"/>
                    <a:pt x="1690" y="677"/>
                    <a:pt x="1690" y="663"/>
                  </a:cubicBezTo>
                  <a:cubicBezTo>
                    <a:pt x="1678" y="663"/>
                    <a:pt x="1667" y="652"/>
                    <a:pt x="1667" y="652"/>
                  </a:cubicBezTo>
                  <a:cubicBezTo>
                    <a:pt x="1656" y="652"/>
                    <a:pt x="1656" y="652"/>
                    <a:pt x="1656" y="641"/>
                  </a:cubicBezTo>
                  <a:lnTo>
                    <a:pt x="1656" y="630"/>
                  </a:lnTo>
                  <a:cubicBezTo>
                    <a:pt x="1656" y="619"/>
                    <a:pt x="1656" y="607"/>
                    <a:pt x="1667" y="593"/>
                  </a:cubicBezTo>
                  <a:cubicBezTo>
                    <a:pt x="1678" y="582"/>
                    <a:pt x="1715" y="571"/>
                    <a:pt x="1748" y="549"/>
                  </a:cubicBezTo>
                  <a:cubicBezTo>
                    <a:pt x="1760" y="549"/>
                    <a:pt x="1771" y="537"/>
                    <a:pt x="1771" y="512"/>
                  </a:cubicBezTo>
                  <a:cubicBezTo>
                    <a:pt x="1784" y="501"/>
                    <a:pt x="1795" y="490"/>
                    <a:pt x="1796" y="469"/>
                  </a:cubicBezTo>
                  <a:lnTo>
                    <a:pt x="1796" y="469"/>
                  </a:lnTo>
                  <a:cubicBezTo>
                    <a:pt x="1807" y="465"/>
                    <a:pt x="1816" y="462"/>
                    <a:pt x="1829" y="454"/>
                  </a:cubicBezTo>
                  <a:lnTo>
                    <a:pt x="1841" y="454"/>
                  </a:lnTo>
                  <a:lnTo>
                    <a:pt x="1841" y="442"/>
                  </a:lnTo>
                  <a:lnTo>
                    <a:pt x="1841" y="420"/>
                  </a:lnTo>
                  <a:cubicBezTo>
                    <a:pt x="1841" y="398"/>
                    <a:pt x="1829" y="384"/>
                    <a:pt x="1818" y="361"/>
                  </a:cubicBezTo>
                  <a:cubicBezTo>
                    <a:pt x="1807" y="350"/>
                    <a:pt x="1796" y="339"/>
                    <a:pt x="1785" y="328"/>
                  </a:cubicBezTo>
                  <a:cubicBezTo>
                    <a:pt x="1726" y="280"/>
                    <a:pt x="1678" y="221"/>
                    <a:pt x="1620" y="174"/>
                  </a:cubicBezTo>
                  <a:cubicBezTo>
                    <a:pt x="1586" y="152"/>
                    <a:pt x="1550" y="118"/>
                    <a:pt x="1491" y="104"/>
                  </a:cubicBezTo>
                  <a:cubicBezTo>
                    <a:pt x="1469" y="93"/>
                    <a:pt x="1435" y="93"/>
                    <a:pt x="1410" y="93"/>
                  </a:cubicBezTo>
                  <a:cubicBezTo>
                    <a:pt x="1388" y="93"/>
                    <a:pt x="1376" y="93"/>
                    <a:pt x="1365" y="82"/>
                  </a:cubicBezTo>
                  <a:cubicBezTo>
                    <a:pt x="1340" y="82"/>
                    <a:pt x="1329" y="59"/>
                    <a:pt x="1307" y="48"/>
                  </a:cubicBezTo>
                  <a:cubicBezTo>
                    <a:pt x="1270" y="23"/>
                    <a:pt x="1237" y="23"/>
                    <a:pt x="1200" y="23"/>
                  </a:cubicBezTo>
                  <a:cubicBezTo>
                    <a:pt x="1178" y="23"/>
                    <a:pt x="1142" y="12"/>
                    <a:pt x="1119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9" name="Google Shape;377;p17">
              <a:extLst>
                <a:ext uri="{FF2B5EF4-FFF2-40B4-BE49-F238E27FC236}">
                  <a16:creationId xmlns:a16="http://schemas.microsoft.com/office/drawing/2014/main" xmlns="" id="{531F9D31-7524-560B-5C09-997AB52A35E7}"/>
                </a:ext>
              </a:extLst>
            </p:cNvPr>
            <p:cNvSpPr/>
            <p:nvPr/>
          </p:nvSpPr>
          <p:spPr>
            <a:xfrm>
              <a:off x="2413553" y="2920001"/>
              <a:ext cx="169224" cy="121964"/>
            </a:xfrm>
            <a:custGeom>
              <a:avLst/>
              <a:gdLst/>
              <a:ahLst/>
              <a:cxnLst/>
              <a:rect l="l" t="t" r="r" b="b"/>
              <a:pathLst>
                <a:path w="734" h="529" extrusionOk="0">
                  <a:moveTo>
                    <a:pt x="390" y="1"/>
                  </a:moveTo>
                  <a:cubicBezTo>
                    <a:pt x="356" y="1"/>
                    <a:pt x="323" y="9"/>
                    <a:pt x="292" y="16"/>
                  </a:cubicBezTo>
                  <a:cubicBezTo>
                    <a:pt x="281" y="39"/>
                    <a:pt x="303" y="86"/>
                    <a:pt x="325" y="109"/>
                  </a:cubicBezTo>
                  <a:cubicBezTo>
                    <a:pt x="362" y="134"/>
                    <a:pt x="384" y="167"/>
                    <a:pt x="373" y="193"/>
                  </a:cubicBezTo>
                  <a:cubicBezTo>
                    <a:pt x="373" y="218"/>
                    <a:pt x="346" y="230"/>
                    <a:pt x="323" y="230"/>
                  </a:cubicBezTo>
                  <a:cubicBezTo>
                    <a:pt x="316" y="230"/>
                    <a:pt x="309" y="229"/>
                    <a:pt x="303" y="226"/>
                  </a:cubicBezTo>
                  <a:cubicBezTo>
                    <a:pt x="267" y="215"/>
                    <a:pt x="255" y="204"/>
                    <a:pt x="233" y="179"/>
                  </a:cubicBezTo>
                  <a:cubicBezTo>
                    <a:pt x="211" y="156"/>
                    <a:pt x="186" y="134"/>
                    <a:pt x="163" y="123"/>
                  </a:cubicBezTo>
                  <a:cubicBezTo>
                    <a:pt x="127" y="109"/>
                    <a:pt x="93" y="109"/>
                    <a:pt x="71" y="86"/>
                  </a:cubicBezTo>
                  <a:cubicBezTo>
                    <a:pt x="35" y="123"/>
                    <a:pt x="23" y="167"/>
                    <a:pt x="12" y="215"/>
                  </a:cubicBezTo>
                  <a:cubicBezTo>
                    <a:pt x="12" y="226"/>
                    <a:pt x="1" y="249"/>
                    <a:pt x="12" y="263"/>
                  </a:cubicBezTo>
                  <a:cubicBezTo>
                    <a:pt x="21" y="297"/>
                    <a:pt x="50" y="311"/>
                    <a:pt x="84" y="311"/>
                  </a:cubicBezTo>
                  <a:cubicBezTo>
                    <a:pt x="94" y="311"/>
                    <a:pt x="105" y="310"/>
                    <a:pt x="116" y="307"/>
                  </a:cubicBezTo>
                  <a:cubicBezTo>
                    <a:pt x="163" y="307"/>
                    <a:pt x="211" y="307"/>
                    <a:pt x="233" y="344"/>
                  </a:cubicBezTo>
                  <a:cubicBezTo>
                    <a:pt x="244" y="355"/>
                    <a:pt x="244" y="366"/>
                    <a:pt x="255" y="377"/>
                  </a:cubicBezTo>
                  <a:cubicBezTo>
                    <a:pt x="268" y="393"/>
                    <a:pt x="288" y="397"/>
                    <a:pt x="310" y="397"/>
                  </a:cubicBezTo>
                  <a:cubicBezTo>
                    <a:pt x="332" y="397"/>
                    <a:pt x="357" y="394"/>
                    <a:pt x="380" y="394"/>
                  </a:cubicBezTo>
                  <a:cubicBezTo>
                    <a:pt x="404" y="394"/>
                    <a:pt x="427" y="397"/>
                    <a:pt x="443" y="414"/>
                  </a:cubicBezTo>
                  <a:cubicBezTo>
                    <a:pt x="454" y="414"/>
                    <a:pt x="454" y="425"/>
                    <a:pt x="465" y="436"/>
                  </a:cubicBezTo>
                  <a:cubicBezTo>
                    <a:pt x="490" y="436"/>
                    <a:pt x="501" y="414"/>
                    <a:pt x="513" y="414"/>
                  </a:cubicBezTo>
                  <a:cubicBezTo>
                    <a:pt x="535" y="414"/>
                    <a:pt x="535" y="436"/>
                    <a:pt x="535" y="447"/>
                  </a:cubicBezTo>
                  <a:cubicBezTo>
                    <a:pt x="535" y="472"/>
                    <a:pt x="524" y="483"/>
                    <a:pt x="513" y="506"/>
                  </a:cubicBezTo>
                  <a:lnTo>
                    <a:pt x="513" y="528"/>
                  </a:lnTo>
                  <a:lnTo>
                    <a:pt x="524" y="517"/>
                  </a:lnTo>
                  <a:cubicBezTo>
                    <a:pt x="534" y="510"/>
                    <a:pt x="545" y="508"/>
                    <a:pt x="557" y="508"/>
                  </a:cubicBezTo>
                  <a:cubicBezTo>
                    <a:pt x="591" y="508"/>
                    <a:pt x="632" y="528"/>
                    <a:pt x="670" y="528"/>
                  </a:cubicBezTo>
                  <a:cubicBezTo>
                    <a:pt x="685" y="528"/>
                    <a:pt x="698" y="525"/>
                    <a:pt x="711" y="517"/>
                  </a:cubicBezTo>
                  <a:cubicBezTo>
                    <a:pt x="734" y="483"/>
                    <a:pt x="722" y="436"/>
                    <a:pt x="700" y="414"/>
                  </a:cubicBezTo>
                  <a:cubicBezTo>
                    <a:pt x="675" y="388"/>
                    <a:pt x="630" y="377"/>
                    <a:pt x="594" y="377"/>
                  </a:cubicBezTo>
                  <a:cubicBezTo>
                    <a:pt x="603" y="340"/>
                    <a:pt x="638" y="316"/>
                    <a:pt x="677" y="316"/>
                  </a:cubicBezTo>
                  <a:cubicBezTo>
                    <a:pt x="685" y="316"/>
                    <a:pt x="692" y="317"/>
                    <a:pt x="700" y="318"/>
                  </a:cubicBezTo>
                  <a:cubicBezTo>
                    <a:pt x="711" y="307"/>
                    <a:pt x="700" y="285"/>
                    <a:pt x="686" y="285"/>
                  </a:cubicBezTo>
                  <a:cubicBezTo>
                    <a:pt x="686" y="274"/>
                    <a:pt x="664" y="263"/>
                    <a:pt x="664" y="249"/>
                  </a:cubicBezTo>
                  <a:cubicBezTo>
                    <a:pt x="641" y="237"/>
                    <a:pt x="641" y="204"/>
                    <a:pt x="630" y="179"/>
                  </a:cubicBezTo>
                  <a:cubicBezTo>
                    <a:pt x="619" y="170"/>
                    <a:pt x="602" y="153"/>
                    <a:pt x="584" y="153"/>
                  </a:cubicBezTo>
                  <a:cubicBezTo>
                    <a:pt x="580" y="153"/>
                    <a:pt x="576" y="154"/>
                    <a:pt x="571" y="156"/>
                  </a:cubicBezTo>
                  <a:cubicBezTo>
                    <a:pt x="546" y="167"/>
                    <a:pt x="560" y="215"/>
                    <a:pt x="535" y="237"/>
                  </a:cubicBezTo>
                  <a:cubicBezTo>
                    <a:pt x="529" y="240"/>
                    <a:pt x="522" y="242"/>
                    <a:pt x="515" y="242"/>
                  </a:cubicBezTo>
                  <a:cubicBezTo>
                    <a:pt x="495" y="242"/>
                    <a:pt x="473" y="231"/>
                    <a:pt x="465" y="215"/>
                  </a:cubicBezTo>
                  <a:cubicBezTo>
                    <a:pt x="454" y="193"/>
                    <a:pt x="454" y="167"/>
                    <a:pt x="465" y="145"/>
                  </a:cubicBezTo>
                  <a:cubicBezTo>
                    <a:pt x="476" y="134"/>
                    <a:pt x="490" y="123"/>
                    <a:pt x="490" y="109"/>
                  </a:cubicBezTo>
                  <a:cubicBezTo>
                    <a:pt x="513" y="64"/>
                    <a:pt x="476" y="16"/>
                    <a:pt x="432" y="5"/>
                  </a:cubicBezTo>
                  <a:cubicBezTo>
                    <a:pt x="418" y="2"/>
                    <a:pt x="404" y="1"/>
                    <a:pt x="39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0" name="Google Shape;378;p17">
              <a:extLst>
                <a:ext uri="{FF2B5EF4-FFF2-40B4-BE49-F238E27FC236}">
                  <a16:creationId xmlns:a16="http://schemas.microsoft.com/office/drawing/2014/main" xmlns="" id="{DBE87118-D1F5-B50F-1580-BFC6E12BB623}"/>
                </a:ext>
              </a:extLst>
            </p:cNvPr>
            <p:cNvSpPr/>
            <p:nvPr/>
          </p:nvSpPr>
          <p:spPr>
            <a:xfrm>
              <a:off x="2410326" y="2912623"/>
              <a:ext cx="174987" cy="140177"/>
            </a:xfrm>
            <a:custGeom>
              <a:avLst/>
              <a:gdLst/>
              <a:ahLst/>
              <a:cxnLst/>
              <a:rect l="l" t="t" r="r" b="b"/>
              <a:pathLst>
                <a:path w="759" h="608" extrusionOk="0">
                  <a:moveTo>
                    <a:pt x="398" y="48"/>
                  </a:moveTo>
                  <a:cubicBezTo>
                    <a:pt x="409" y="48"/>
                    <a:pt x="420" y="48"/>
                    <a:pt x="434" y="60"/>
                  </a:cubicBezTo>
                  <a:cubicBezTo>
                    <a:pt x="446" y="60"/>
                    <a:pt x="468" y="71"/>
                    <a:pt x="468" y="85"/>
                  </a:cubicBezTo>
                  <a:cubicBezTo>
                    <a:pt x="479" y="96"/>
                    <a:pt x="490" y="107"/>
                    <a:pt x="490" y="118"/>
                  </a:cubicBezTo>
                  <a:lnTo>
                    <a:pt x="479" y="130"/>
                  </a:lnTo>
                  <a:cubicBezTo>
                    <a:pt x="479" y="141"/>
                    <a:pt x="468" y="155"/>
                    <a:pt x="468" y="166"/>
                  </a:cubicBezTo>
                  <a:cubicBezTo>
                    <a:pt x="457" y="177"/>
                    <a:pt x="446" y="199"/>
                    <a:pt x="446" y="225"/>
                  </a:cubicBezTo>
                  <a:cubicBezTo>
                    <a:pt x="446" y="236"/>
                    <a:pt x="457" y="247"/>
                    <a:pt x="457" y="258"/>
                  </a:cubicBezTo>
                  <a:cubicBezTo>
                    <a:pt x="468" y="281"/>
                    <a:pt x="490" y="295"/>
                    <a:pt x="527" y="295"/>
                  </a:cubicBezTo>
                  <a:cubicBezTo>
                    <a:pt x="538" y="295"/>
                    <a:pt x="549" y="295"/>
                    <a:pt x="560" y="281"/>
                  </a:cubicBezTo>
                  <a:cubicBezTo>
                    <a:pt x="574" y="269"/>
                    <a:pt x="574" y="258"/>
                    <a:pt x="585" y="258"/>
                  </a:cubicBezTo>
                  <a:cubicBezTo>
                    <a:pt x="585" y="236"/>
                    <a:pt x="585" y="225"/>
                    <a:pt x="597" y="211"/>
                  </a:cubicBezTo>
                  <a:lnTo>
                    <a:pt x="597" y="199"/>
                  </a:lnTo>
                  <a:cubicBezTo>
                    <a:pt x="608" y="199"/>
                    <a:pt x="608" y="199"/>
                    <a:pt x="608" y="211"/>
                  </a:cubicBezTo>
                  <a:cubicBezTo>
                    <a:pt x="619" y="211"/>
                    <a:pt x="619" y="225"/>
                    <a:pt x="619" y="225"/>
                  </a:cubicBezTo>
                  <a:cubicBezTo>
                    <a:pt x="630" y="236"/>
                    <a:pt x="630" y="247"/>
                    <a:pt x="630" y="258"/>
                  </a:cubicBezTo>
                  <a:cubicBezTo>
                    <a:pt x="644" y="269"/>
                    <a:pt x="644" y="281"/>
                    <a:pt x="655" y="295"/>
                  </a:cubicBezTo>
                  <a:cubicBezTo>
                    <a:pt x="666" y="317"/>
                    <a:pt x="689" y="317"/>
                    <a:pt x="689" y="328"/>
                  </a:cubicBezTo>
                  <a:lnTo>
                    <a:pt x="689" y="329"/>
                  </a:lnTo>
                  <a:lnTo>
                    <a:pt x="689" y="329"/>
                  </a:lnTo>
                  <a:cubicBezTo>
                    <a:pt x="648" y="332"/>
                    <a:pt x="606" y="354"/>
                    <a:pt x="585" y="398"/>
                  </a:cubicBezTo>
                  <a:lnTo>
                    <a:pt x="574" y="420"/>
                  </a:lnTo>
                  <a:lnTo>
                    <a:pt x="608" y="434"/>
                  </a:lnTo>
                  <a:cubicBezTo>
                    <a:pt x="644" y="434"/>
                    <a:pt x="678" y="446"/>
                    <a:pt x="700" y="457"/>
                  </a:cubicBezTo>
                  <a:cubicBezTo>
                    <a:pt x="714" y="468"/>
                    <a:pt x="714" y="490"/>
                    <a:pt x="714" y="504"/>
                  </a:cubicBezTo>
                  <a:cubicBezTo>
                    <a:pt x="714" y="515"/>
                    <a:pt x="714" y="527"/>
                    <a:pt x="700" y="527"/>
                  </a:cubicBezTo>
                  <a:cubicBezTo>
                    <a:pt x="700" y="527"/>
                    <a:pt x="689" y="538"/>
                    <a:pt x="678" y="538"/>
                  </a:cubicBezTo>
                  <a:cubicBezTo>
                    <a:pt x="666" y="538"/>
                    <a:pt x="655" y="527"/>
                    <a:pt x="630" y="527"/>
                  </a:cubicBezTo>
                  <a:cubicBezTo>
                    <a:pt x="619" y="527"/>
                    <a:pt x="597" y="515"/>
                    <a:pt x="574" y="515"/>
                  </a:cubicBezTo>
                  <a:cubicBezTo>
                    <a:pt x="570" y="515"/>
                    <a:pt x="565" y="516"/>
                    <a:pt x="560" y="518"/>
                  </a:cubicBezTo>
                  <a:lnTo>
                    <a:pt x="560" y="518"/>
                  </a:lnTo>
                  <a:cubicBezTo>
                    <a:pt x="560" y="517"/>
                    <a:pt x="560" y="516"/>
                    <a:pt x="560" y="515"/>
                  </a:cubicBezTo>
                  <a:cubicBezTo>
                    <a:pt x="560" y="515"/>
                    <a:pt x="574" y="504"/>
                    <a:pt x="574" y="490"/>
                  </a:cubicBezTo>
                  <a:lnTo>
                    <a:pt x="574" y="479"/>
                  </a:lnTo>
                  <a:cubicBezTo>
                    <a:pt x="574" y="457"/>
                    <a:pt x="574" y="446"/>
                    <a:pt x="560" y="446"/>
                  </a:cubicBezTo>
                  <a:cubicBezTo>
                    <a:pt x="560" y="434"/>
                    <a:pt x="549" y="420"/>
                    <a:pt x="527" y="420"/>
                  </a:cubicBezTo>
                  <a:cubicBezTo>
                    <a:pt x="504" y="420"/>
                    <a:pt x="490" y="434"/>
                    <a:pt x="490" y="434"/>
                  </a:cubicBezTo>
                  <a:lnTo>
                    <a:pt x="485" y="440"/>
                  </a:lnTo>
                  <a:lnTo>
                    <a:pt x="479" y="434"/>
                  </a:lnTo>
                  <a:lnTo>
                    <a:pt x="468" y="420"/>
                  </a:lnTo>
                  <a:cubicBezTo>
                    <a:pt x="468" y="409"/>
                    <a:pt x="457" y="409"/>
                    <a:pt x="434" y="409"/>
                  </a:cubicBezTo>
                  <a:cubicBezTo>
                    <a:pt x="420" y="398"/>
                    <a:pt x="409" y="398"/>
                    <a:pt x="398" y="398"/>
                  </a:cubicBezTo>
                  <a:cubicBezTo>
                    <a:pt x="376" y="398"/>
                    <a:pt x="339" y="409"/>
                    <a:pt x="317" y="409"/>
                  </a:cubicBezTo>
                  <a:cubicBezTo>
                    <a:pt x="317" y="409"/>
                    <a:pt x="306" y="409"/>
                    <a:pt x="295" y="398"/>
                  </a:cubicBezTo>
                  <a:cubicBezTo>
                    <a:pt x="295" y="398"/>
                    <a:pt x="281" y="398"/>
                    <a:pt x="281" y="387"/>
                  </a:cubicBezTo>
                  <a:cubicBezTo>
                    <a:pt x="281" y="387"/>
                    <a:pt x="269" y="376"/>
                    <a:pt x="269" y="364"/>
                  </a:cubicBezTo>
                  <a:cubicBezTo>
                    <a:pt x="258" y="339"/>
                    <a:pt x="236" y="328"/>
                    <a:pt x="211" y="328"/>
                  </a:cubicBezTo>
                  <a:cubicBezTo>
                    <a:pt x="200" y="317"/>
                    <a:pt x="177" y="317"/>
                    <a:pt x="166" y="317"/>
                  </a:cubicBezTo>
                  <a:lnTo>
                    <a:pt x="71" y="317"/>
                  </a:lnTo>
                  <a:cubicBezTo>
                    <a:pt x="49" y="306"/>
                    <a:pt x="49" y="306"/>
                    <a:pt x="49" y="295"/>
                  </a:cubicBezTo>
                  <a:lnTo>
                    <a:pt x="49" y="281"/>
                  </a:lnTo>
                  <a:lnTo>
                    <a:pt x="49" y="247"/>
                  </a:lnTo>
                  <a:cubicBezTo>
                    <a:pt x="58" y="215"/>
                    <a:pt x="68" y="177"/>
                    <a:pt x="87" y="151"/>
                  </a:cubicBezTo>
                  <a:lnTo>
                    <a:pt x="87" y="151"/>
                  </a:lnTo>
                  <a:cubicBezTo>
                    <a:pt x="99" y="156"/>
                    <a:pt x="111" y="159"/>
                    <a:pt x="118" y="166"/>
                  </a:cubicBezTo>
                  <a:cubicBezTo>
                    <a:pt x="141" y="166"/>
                    <a:pt x="155" y="166"/>
                    <a:pt x="166" y="177"/>
                  </a:cubicBezTo>
                  <a:cubicBezTo>
                    <a:pt x="188" y="177"/>
                    <a:pt x="211" y="199"/>
                    <a:pt x="225" y="225"/>
                  </a:cubicBezTo>
                  <a:cubicBezTo>
                    <a:pt x="247" y="247"/>
                    <a:pt x="269" y="269"/>
                    <a:pt x="306" y="281"/>
                  </a:cubicBezTo>
                  <a:lnTo>
                    <a:pt x="339" y="281"/>
                  </a:lnTo>
                  <a:cubicBezTo>
                    <a:pt x="351" y="281"/>
                    <a:pt x="365" y="281"/>
                    <a:pt x="387" y="269"/>
                  </a:cubicBezTo>
                  <a:cubicBezTo>
                    <a:pt x="398" y="269"/>
                    <a:pt x="409" y="258"/>
                    <a:pt x="409" y="236"/>
                  </a:cubicBezTo>
                  <a:cubicBezTo>
                    <a:pt x="420" y="225"/>
                    <a:pt x="420" y="225"/>
                    <a:pt x="420" y="211"/>
                  </a:cubicBezTo>
                  <a:cubicBezTo>
                    <a:pt x="420" y="188"/>
                    <a:pt x="409" y="177"/>
                    <a:pt x="398" y="166"/>
                  </a:cubicBezTo>
                  <a:cubicBezTo>
                    <a:pt x="387" y="141"/>
                    <a:pt x="376" y="130"/>
                    <a:pt x="365" y="118"/>
                  </a:cubicBezTo>
                  <a:cubicBezTo>
                    <a:pt x="351" y="118"/>
                    <a:pt x="339" y="107"/>
                    <a:pt x="339" y="96"/>
                  </a:cubicBezTo>
                  <a:cubicBezTo>
                    <a:pt x="328" y="85"/>
                    <a:pt x="328" y="71"/>
                    <a:pt x="328" y="71"/>
                  </a:cubicBezTo>
                  <a:lnTo>
                    <a:pt x="328" y="66"/>
                  </a:lnTo>
                  <a:lnTo>
                    <a:pt x="328" y="66"/>
                  </a:lnTo>
                  <a:cubicBezTo>
                    <a:pt x="350" y="56"/>
                    <a:pt x="379" y="48"/>
                    <a:pt x="398" y="48"/>
                  </a:cubicBezTo>
                  <a:close/>
                  <a:moveTo>
                    <a:pt x="398" y="1"/>
                  </a:moveTo>
                  <a:cubicBezTo>
                    <a:pt x="365" y="1"/>
                    <a:pt x="328" y="15"/>
                    <a:pt x="306" y="26"/>
                  </a:cubicBezTo>
                  <a:lnTo>
                    <a:pt x="295" y="26"/>
                  </a:lnTo>
                  <a:lnTo>
                    <a:pt x="295" y="37"/>
                  </a:lnTo>
                  <a:cubicBezTo>
                    <a:pt x="281" y="48"/>
                    <a:pt x="281" y="60"/>
                    <a:pt x="281" y="71"/>
                  </a:cubicBezTo>
                  <a:cubicBezTo>
                    <a:pt x="281" y="85"/>
                    <a:pt x="281" y="107"/>
                    <a:pt x="295" y="118"/>
                  </a:cubicBezTo>
                  <a:cubicBezTo>
                    <a:pt x="306" y="130"/>
                    <a:pt x="317" y="141"/>
                    <a:pt x="328" y="155"/>
                  </a:cubicBezTo>
                  <a:cubicBezTo>
                    <a:pt x="339" y="166"/>
                    <a:pt x="351" y="177"/>
                    <a:pt x="365" y="188"/>
                  </a:cubicBezTo>
                  <a:cubicBezTo>
                    <a:pt x="365" y="199"/>
                    <a:pt x="376" y="211"/>
                    <a:pt x="376" y="211"/>
                  </a:cubicBezTo>
                  <a:lnTo>
                    <a:pt x="376" y="225"/>
                  </a:lnTo>
                  <a:cubicBezTo>
                    <a:pt x="365" y="225"/>
                    <a:pt x="365" y="236"/>
                    <a:pt x="365" y="236"/>
                  </a:cubicBezTo>
                  <a:lnTo>
                    <a:pt x="317" y="236"/>
                  </a:lnTo>
                  <a:cubicBezTo>
                    <a:pt x="306" y="236"/>
                    <a:pt x="281" y="211"/>
                    <a:pt x="258" y="188"/>
                  </a:cubicBezTo>
                  <a:cubicBezTo>
                    <a:pt x="236" y="166"/>
                    <a:pt x="211" y="141"/>
                    <a:pt x="177" y="130"/>
                  </a:cubicBezTo>
                  <a:cubicBezTo>
                    <a:pt x="166" y="118"/>
                    <a:pt x="141" y="118"/>
                    <a:pt x="130" y="118"/>
                  </a:cubicBezTo>
                  <a:cubicBezTo>
                    <a:pt x="118" y="118"/>
                    <a:pt x="107" y="107"/>
                    <a:pt x="96" y="107"/>
                  </a:cubicBezTo>
                  <a:lnTo>
                    <a:pt x="85" y="85"/>
                  </a:lnTo>
                  <a:lnTo>
                    <a:pt x="60" y="107"/>
                  </a:lnTo>
                  <a:cubicBezTo>
                    <a:pt x="37" y="141"/>
                    <a:pt x="15" y="199"/>
                    <a:pt x="1" y="236"/>
                  </a:cubicBezTo>
                  <a:lnTo>
                    <a:pt x="1" y="281"/>
                  </a:lnTo>
                  <a:lnTo>
                    <a:pt x="1" y="306"/>
                  </a:lnTo>
                  <a:cubicBezTo>
                    <a:pt x="1" y="328"/>
                    <a:pt x="26" y="350"/>
                    <a:pt x="49" y="350"/>
                  </a:cubicBezTo>
                  <a:cubicBezTo>
                    <a:pt x="71" y="364"/>
                    <a:pt x="96" y="364"/>
                    <a:pt x="118" y="364"/>
                  </a:cubicBezTo>
                  <a:lnTo>
                    <a:pt x="166" y="364"/>
                  </a:lnTo>
                  <a:cubicBezTo>
                    <a:pt x="177" y="364"/>
                    <a:pt x="188" y="364"/>
                    <a:pt x="200" y="376"/>
                  </a:cubicBezTo>
                  <a:cubicBezTo>
                    <a:pt x="211" y="376"/>
                    <a:pt x="225" y="376"/>
                    <a:pt x="225" y="387"/>
                  </a:cubicBezTo>
                  <a:cubicBezTo>
                    <a:pt x="236" y="387"/>
                    <a:pt x="236" y="409"/>
                    <a:pt x="247" y="420"/>
                  </a:cubicBezTo>
                  <a:cubicBezTo>
                    <a:pt x="258" y="434"/>
                    <a:pt x="269" y="446"/>
                    <a:pt x="281" y="446"/>
                  </a:cubicBezTo>
                  <a:cubicBezTo>
                    <a:pt x="295" y="457"/>
                    <a:pt x="306" y="457"/>
                    <a:pt x="317" y="457"/>
                  </a:cubicBezTo>
                  <a:cubicBezTo>
                    <a:pt x="351" y="457"/>
                    <a:pt x="376" y="446"/>
                    <a:pt x="398" y="446"/>
                  </a:cubicBezTo>
                  <a:lnTo>
                    <a:pt x="420" y="446"/>
                  </a:lnTo>
                  <a:cubicBezTo>
                    <a:pt x="434" y="457"/>
                    <a:pt x="434" y="457"/>
                    <a:pt x="446" y="457"/>
                  </a:cubicBezTo>
                  <a:cubicBezTo>
                    <a:pt x="446" y="457"/>
                    <a:pt x="446" y="468"/>
                    <a:pt x="457" y="468"/>
                  </a:cubicBezTo>
                  <a:cubicBezTo>
                    <a:pt x="457" y="479"/>
                    <a:pt x="468" y="479"/>
                    <a:pt x="479" y="490"/>
                  </a:cubicBezTo>
                  <a:cubicBezTo>
                    <a:pt x="490" y="490"/>
                    <a:pt x="504" y="479"/>
                    <a:pt x="504" y="479"/>
                  </a:cubicBezTo>
                  <a:cubicBezTo>
                    <a:pt x="515" y="479"/>
                    <a:pt x="515" y="468"/>
                    <a:pt x="527" y="468"/>
                  </a:cubicBezTo>
                  <a:lnTo>
                    <a:pt x="527" y="479"/>
                  </a:lnTo>
                  <a:cubicBezTo>
                    <a:pt x="527" y="479"/>
                    <a:pt x="527" y="490"/>
                    <a:pt x="515" y="490"/>
                  </a:cubicBezTo>
                  <a:cubicBezTo>
                    <a:pt x="515" y="504"/>
                    <a:pt x="515" y="515"/>
                    <a:pt x="504" y="527"/>
                  </a:cubicBezTo>
                  <a:lnTo>
                    <a:pt x="504" y="549"/>
                  </a:lnTo>
                  <a:lnTo>
                    <a:pt x="504" y="560"/>
                  </a:lnTo>
                  <a:lnTo>
                    <a:pt x="515" y="608"/>
                  </a:lnTo>
                  <a:lnTo>
                    <a:pt x="549" y="574"/>
                  </a:lnTo>
                  <a:cubicBezTo>
                    <a:pt x="560" y="560"/>
                    <a:pt x="560" y="560"/>
                    <a:pt x="574" y="560"/>
                  </a:cubicBezTo>
                  <a:cubicBezTo>
                    <a:pt x="585" y="560"/>
                    <a:pt x="608" y="560"/>
                    <a:pt x="619" y="574"/>
                  </a:cubicBezTo>
                  <a:cubicBezTo>
                    <a:pt x="644" y="574"/>
                    <a:pt x="655" y="585"/>
                    <a:pt x="678" y="585"/>
                  </a:cubicBezTo>
                  <a:cubicBezTo>
                    <a:pt x="700" y="585"/>
                    <a:pt x="725" y="574"/>
                    <a:pt x="736" y="560"/>
                  </a:cubicBezTo>
                  <a:cubicBezTo>
                    <a:pt x="759" y="549"/>
                    <a:pt x="759" y="527"/>
                    <a:pt x="759" y="504"/>
                  </a:cubicBezTo>
                  <a:cubicBezTo>
                    <a:pt x="759" y="479"/>
                    <a:pt x="748" y="446"/>
                    <a:pt x="725" y="420"/>
                  </a:cubicBezTo>
                  <a:cubicBezTo>
                    <a:pt x="702" y="406"/>
                    <a:pt x="675" y="396"/>
                    <a:pt x="650" y="391"/>
                  </a:cubicBezTo>
                  <a:lnTo>
                    <a:pt x="650" y="391"/>
                  </a:lnTo>
                  <a:cubicBezTo>
                    <a:pt x="663" y="380"/>
                    <a:pt x="679" y="376"/>
                    <a:pt x="700" y="376"/>
                  </a:cubicBezTo>
                  <a:lnTo>
                    <a:pt x="725" y="376"/>
                  </a:lnTo>
                  <a:lnTo>
                    <a:pt x="736" y="364"/>
                  </a:lnTo>
                  <a:cubicBezTo>
                    <a:pt x="736" y="350"/>
                    <a:pt x="748" y="350"/>
                    <a:pt x="748" y="339"/>
                  </a:cubicBezTo>
                  <a:cubicBezTo>
                    <a:pt x="736" y="317"/>
                    <a:pt x="736" y="306"/>
                    <a:pt x="725" y="295"/>
                  </a:cubicBezTo>
                  <a:cubicBezTo>
                    <a:pt x="714" y="281"/>
                    <a:pt x="700" y="269"/>
                    <a:pt x="689" y="269"/>
                  </a:cubicBezTo>
                  <a:cubicBezTo>
                    <a:pt x="689" y="258"/>
                    <a:pt x="678" y="258"/>
                    <a:pt x="678" y="247"/>
                  </a:cubicBezTo>
                  <a:cubicBezTo>
                    <a:pt x="678" y="236"/>
                    <a:pt x="666" y="225"/>
                    <a:pt x="666" y="211"/>
                  </a:cubicBezTo>
                  <a:cubicBezTo>
                    <a:pt x="666" y="199"/>
                    <a:pt x="655" y="188"/>
                    <a:pt x="644" y="177"/>
                  </a:cubicBezTo>
                  <a:cubicBezTo>
                    <a:pt x="630" y="166"/>
                    <a:pt x="619" y="155"/>
                    <a:pt x="597" y="155"/>
                  </a:cubicBezTo>
                  <a:lnTo>
                    <a:pt x="585" y="166"/>
                  </a:lnTo>
                  <a:cubicBezTo>
                    <a:pt x="574" y="166"/>
                    <a:pt x="560" y="177"/>
                    <a:pt x="549" y="188"/>
                  </a:cubicBezTo>
                  <a:cubicBezTo>
                    <a:pt x="549" y="199"/>
                    <a:pt x="538" y="211"/>
                    <a:pt x="538" y="225"/>
                  </a:cubicBezTo>
                  <a:cubicBezTo>
                    <a:pt x="538" y="236"/>
                    <a:pt x="538" y="247"/>
                    <a:pt x="527" y="247"/>
                  </a:cubicBezTo>
                  <a:cubicBezTo>
                    <a:pt x="515" y="247"/>
                    <a:pt x="504" y="247"/>
                    <a:pt x="504" y="236"/>
                  </a:cubicBezTo>
                  <a:cubicBezTo>
                    <a:pt x="490" y="236"/>
                    <a:pt x="490" y="225"/>
                    <a:pt x="490" y="225"/>
                  </a:cubicBezTo>
                  <a:cubicBezTo>
                    <a:pt x="490" y="211"/>
                    <a:pt x="504" y="199"/>
                    <a:pt x="504" y="188"/>
                  </a:cubicBezTo>
                  <a:cubicBezTo>
                    <a:pt x="515" y="177"/>
                    <a:pt x="527" y="166"/>
                    <a:pt x="527" y="141"/>
                  </a:cubicBezTo>
                  <a:cubicBezTo>
                    <a:pt x="527" y="141"/>
                    <a:pt x="538" y="130"/>
                    <a:pt x="538" y="118"/>
                  </a:cubicBezTo>
                  <a:cubicBezTo>
                    <a:pt x="538" y="96"/>
                    <a:pt x="527" y="71"/>
                    <a:pt x="504" y="48"/>
                  </a:cubicBezTo>
                  <a:cubicBezTo>
                    <a:pt x="490" y="37"/>
                    <a:pt x="468" y="15"/>
                    <a:pt x="446" y="15"/>
                  </a:cubicBezTo>
                  <a:cubicBezTo>
                    <a:pt x="434" y="1"/>
                    <a:pt x="420" y="1"/>
                    <a:pt x="39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1" name="Google Shape;379;p17">
              <a:extLst>
                <a:ext uri="{FF2B5EF4-FFF2-40B4-BE49-F238E27FC236}">
                  <a16:creationId xmlns:a16="http://schemas.microsoft.com/office/drawing/2014/main" xmlns="" id="{01546461-3D6F-D61F-E2ED-2784A71A44C7}"/>
                </a:ext>
              </a:extLst>
            </p:cNvPr>
            <p:cNvSpPr/>
            <p:nvPr/>
          </p:nvSpPr>
          <p:spPr>
            <a:xfrm>
              <a:off x="1502645" y="2445291"/>
              <a:ext cx="13833" cy="11297"/>
            </a:xfrm>
            <a:custGeom>
              <a:avLst/>
              <a:gdLst/>
              <a:ahLst/>
              <a:cxnLst/>
              <a:rect l="l" t="t" r="r" b="b"/>
              <a:pathLst>
                <a:path w="60" h="49" extrusionOk="0">
                  <a:moveTo>
                    <a:pt x="1" y="1"/>
                  </a:moveTo>
                  <a:lnTo>
                    <a:pt x="1" y="26"/>
                  </a:lnTo>
                  <a:lnTo>
                    <a:pt x="12" y="26"/>
                  </a:lnTo>
                  <a:cubicBezTo>
                    <a:pt x="23" y="26"/>
                    <a:pt x="23" y="26"/>
                    <a:pt x="37" y="37"/>
                  </a:cubicBezTo>
                  <a:cubicBezTo>
                    <a:pt x="37" y="48"/>
                    <a:pt x="48" y="48"/>
                    <a:pt x="48" y="48"/>
                  </a:cubicBezTo>
                  <a:lnTo>
                    <a:pt x="60" y="48"/>
                  </a:lnTo>
                  <a:lnTo>
                    <a:pt x="60" y="26"/>
                  </a:lnTo>
                  <a:cubicBezTo>
                    <a:pt x="60" y="15"/>
                    <a:pt x="48" y="15"/>
                    <a:pt x="48" y="1"/>
                  </a:cubicBezTo>
                  <a:close/>
                </a:path>
              </a:pathLst>
            </a:custGeom>
            <a:solidFill>
              <a:srgbClr val="027CB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2" name="Google Shape;380;p17">
              <a:extLst>
                <a:ext uri="{FF2B5EF4-FFF2-40B4-BE49-F238E27FC236}">
                  <a16:creationId xmlns:a16="http://schemas.microsoft.com/office/drawing/2014/main" xmlns="" id="{9D445078-2F2B-57B7-A2B4-5EFAF7AE0E69}"/>
                </a:ext>
              </a:extLst>
            </p:cNvPr>
            <p:cNvSpPr/>
            <p:nvPr/>
          </p:nvSpPr>
          <p:spPr>
            <a:xfrm>
              <a:off x="1497573" y="2440219"/>
              <a:ext cx="23977" cy="21442"/>
            </a:xfrm>
            <a:custGeom>
              <a:avLst/>
              <a:gdLst/>
              <a:ahLst/>
              <a:cxnLst/>
              <a:rect l="l" t="t" r="r" b="b"/>
              <a:pathLst>
                <a:path w="104" h="93" extrusionOk="0">
                  <a:moveTo>
                    <a:pt x="12" y="0"/>
                  </a:moveTo>
                  <a:cubicBezTo>
                    <a:pt x="1" y="12"/>
                    <a:pt x="1" y="12"/>
                    <a:pt x="1" y="23"/>
                  </a:cubicBezTo>
                  <a:lnTo>
                    <a:pt x="1" y="37"/>
                  </a:lnTo>
                  <a:lnTo>
                    <a:pt x="1" y="48"/>
                  </a:lnTo>
                  <a:cubicBezTo>
                    <a:pt x="1" y="48"/>
                    <a:pt x="1" y="59"/>
                    <a:pt x="12" y="70"/>
                  </a:cubicBezTo>
                  <a:lnTo>
                    <a:pt x="23" y="70"/>
                  </a:lnTo>
                  <a:cubicBezTo>
                    <a:pt x="34" y="70"/>
                    <a:pt x="34" y="70"/>
                    <a:pt x="45" y="81"/>
                  </a:cubicBezTo>
                  <a:cubicBezTo>
                    <a:pt x="59" y="93"/>
                    <a:pt x="59" y="93"/>
                    <a:pt x="70" y="93"/>
                  </a:cubicBezTo>
                  <a:lnTo>
                    <a:pt x="82" y="93"/>
                  </a:lnTo>
                  <a:lnTo>
                    <a:pt x="93" y="81"/>
                  </a:lnTo>
                  <a:lnTo>
                    <a:pt x="104" y="81"/>
                  </a:lnTo>
                  <a:lnTo>
                    <a:pt x="104" y="48"/>
                  </a:lnTo>
                  <a:lnTo>
                    <a:pt x="104" y="37"/>
                  </a:lnTo>
                  <a:cubicBezTo>
                    <a:pt x="104" y="23"/>
                    <a:pt x="93" y="12"/>
                    <a:pt x="82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3" name="Google Shape;381;p17">
              <a:extLst>
                <a:ext uri="{FF2B5EF4-FFF2-40B4-BE49-F238E27FC236}">
                  <a16:creationId xmlns:a16="http://schemas.microsoft.com/office/drawing/2014/main" xmlns="" id="{DAFF3DE1-C95D-D804-CF5F-B8F8C833D1FF}"/>
                </a:ext>
              </a:extLst>
            </p:cNvPr>
            <p:cNvSpPr/>
            <p:nvPr/>
          </p:nvSpPr>
          <p:spPr>
            <a:xfrm>
              <a:off x="1511176" y="2464658"/>
              <a:ext cx="10375" cy="10606"/>
            </a:xfrm>
            <a:custGeom>
              <a:avLst/>
              <a:gdLst/>
              <a:ahLst/>
              <a:cxnLst/>
              <a:rect l="l" t="t" r="r" b="b"/>
              <a:pathLst>
                <a:path w="45" h="46" extrusionOk="0">
                  <a:moveTo>
                    <a:pt x="34" y="1"/>
                  </a:moveTo>
                  <a:cubicBezTo>
                    <a:pt x="34" y="1"/>
                    <a:pt x="23" y="12"/>
                    <a:pt x="11" y="12"/>
                  </a:cubicBezTo>
                  <a:cubicBezTo>
                    <a:pt x="11" y="23"/>
                    <a:pt x="11" y="23"/>
                    <a:pt x="0" y="34"/>
                  </a:cubicBezTo>
                  <a:lnTo>
                    <a:pt x="0" y="45"/>
                  </a:lnTo>
                  <a:lnTo>
                    <a:pt x="23" y="45"/>
                  </a:lnTo>
                  <a:lnTo>
                    <a:pt x="45" y="23"/>
                  </a:lnTo>
                  <a:lnTo>
                    <a:pt x="45" y="12"/>
                  </a:lnTo>
                  <a:lnTo>
                    <a:pt x="45" y="1"/>
                  </a:lnTo>
                  <a:close/>
                </a:path>
              </a:pathLst>
            </a:custGeom>
            <a:solidFill>
              <a:srgbClr val="027CB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4" name="Google Shape;382;p17">
              <a:extLst>
                <a:ext uri="{FF2B5EF4-FFF2-40B4-BE49-F238E27FC236}">
                  <a16:creationId xmlns:a16="http://schemas.microsoft.com/office/drawing/2014/main" xmlns="" id="{BAFE94DB-6836-E9D3-66BA-9EC45414EFCD}"/>
                </a:ext>
              </a:extLst>
            </p:cNvPr>
            <p:cNvSpPr/>
            <p:nvPr/>
          </p:nvSpPr>
          <p:spPr>
            <a:xfrm>
              <a:off x="1505412" y="2458894"/>
              <a:ext cx="22133" cy="22133"/>
            </a:xfrm>
            <a:custGeom>
              <a:avLst/>
              <a:gdLst/>
              <a:ahLst/>
              <a:cxnLst/>
              <a:rect l="l" t="t" r="r" b="b"/>
              <a:pathLst>
                <a:path w="96" h="96" extrusionOk="0">
                  <a:moveTo>
                    <a:pt x="59" y="0"/>
                  </a:moveTo>
                  <a:cubicBezTo>
                    <a:pt x="48" y="0"/>
                    <a:pt x="36" y="12"/>
                    <a:pt x="25" y="26"/>
                  </a:cubicBezTo>
                  <a:cubicBezTo>
                    <a:pt x="11" y="37"/>
                    <a:pt x="11" y="48"/>
                    <a:pt x="0" y="59"/>
                  </a:cubicBezTo>
                  <a:lnTo>
                    <a:pt x="0" y="70"/>
                  </a:lnTo>
                  <a:lnTo>
                    <a:pt x="0" y="81"/>
                  </a:lnTo>
                  <a:lnTo>
                    <a:pt x="25" y="95"/>
                  </a:lnTo>
                  <a:lnTo>
                    <a:pt x="59" y="95"/>
                  </a:lnTo>
                  <a:lnTo>
                    <a:pt x="59" y="81"/>
                  </a:lnTo>
                  <a:lnTo>
                    <a:pt x="70" y="81"/>
                  </a:lnTo>
                  <a:cubicBezTo>
                    <a:pt x="70" y="81"/>
                    <a:pt x="81" y="70"/>
                    <a:pt x="95" y="48"/>
                  </a:cubicBezTo>
                  <a:lnTo>
                    <a:pt x="95" y="37"/>
                  </a:lnTo>
                  <a:lnTo>
                    <a:pt x="95" y="26"/>
                  </a:lnTo>
                  <a:lnTo>
                    <a:pt x="81" y="12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5" name="Google Shape;383;p17">
              <a:extLst>
                <a:ext uri="{FF2B5EF4-FFF2-40B4-BE49-F238E27FC236}">
                  <a16:creationId xmlns:a16="http://schemas.microsoft.com/office/drawing/2014/main" xmlns="" id="{A1D20115-BE68-C65A-1D88-51E6D7FCDD66}"/>
                </a:ext>
              </a:extLst>
            </p:cNvPr>
            <p:cNvSpPr/>
            <p:nvPr/>
          </p:nvSpPr>
          <p:spPr>
            <a:xfrm>
              <a:off x="1491809" y="2496935"/>
              <a:ext cx="13833" cy="10606"/>
            </a:xfrm>
            <a:custGeom>
              <a:avLst/>
              <a:gdLst/>
              <a:ahLst/>
              <a:cxnLst/>
              <a:rect l="l" t="t" r="r" b="b"/>
              <a:pathLst>
                <a:path w="60" h="46" extrusionOk="0">
                  <a:moveTo>
                    <a:pt x="26" y="0"/>
                  </a:moveTo>
                  <a:cubicBezTo>
                    <a:pt x="14" y="12"/>
                    <a:pt x="0" y="23"/>
                    <a:pt x="14" y="34"/>
                  </a:cubicBezTo>
                  <a:cubicBezTo>
                    <a:pt x="14" y="45"/>
                    <a:pt x="37" y="45"/>
                    <a:pt x="48" y="45"/>
                  </a:cubicBezTo>
                  <a:lnTo>
                    <a:pt x="59" y="45"/>
                  </a:lnTo>
                  <a:lnTo>
                    <a:pt x="59" y="23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027CB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6" name="Google Shape;384;p17">
              <a:extLst>
                <a:ext uri="{FF2B5EF4-FFF2-40B4-BE49-F238E27FC236}">
                  <a16:creationId xmlns:a16="http://schemas.microsoft.com/office/drawing/2014/main" xmlns="" id="{4D69DE7E-AB6E-0EFD-DA7D-00D24C667FBF}"/>
                </a:ext>
              </a:extLst>
            </p:cNvPr>
            <p:cNvSpPr/>
            <p:nvPr/>
          </p:nvSpPr>
          <p:spPr>
            <a:xfrm>
              <a:off x="1489273" y="2491171"/>
              <a:ext cx="22133" cy="22133"/>
            </a:xfrm>
            <a:custGeom>
              <a:avLst/>
              <a:gdLst/>
              <a:ahLst/>
              <a:cxnLst/>
              <a:rect l="l" t="t" r="r" b="b"/>
              <a:pathLst>
                <a:path w="96" h="96" extrusionOk="0">
                  <a:moveTo>
                    <a:pt x="11" y="0"/>
                  </a:moveTo>
                  <a:cubicBezTo>
                    <a:pt x="0" y="11"/>
                    <a:pt x="0" y="37"/>
                    <a:pt x="0" y="48"/>
                  </a:cubicBezTo>
                  <a:lnTo>
                    <a:pt x="0" y="70"/>
                  </a:lnTo>
                  <a:cubicBezTo>
                    <a:pt x="11" y="81"/>
                    <a:pt x="11" y="81"/>
                    <a:pt x="25" y="95"/>
                  </a:cubicBezTo>
                  <a:lnTo>
                    <a:pt x="81" y="95"/>
                  </a:lnTo>
                  <a:lnTo>
                    <a:pt x="81" y="81"/>
                  </a:lnTo>
                  <a:cubicBezTo>
                    <a:pt x="95" y="70"/>
                    <a:pt x="95" y="59"/>
                    <a:pt x="95" y="48"/>
                  </a:cubicBezTo>
                  <a:cubicBezTo>
                    <a:pt x="95" y="37"/>
                    <a:pt x="95" y="25"/>
                    <a:pt x="81" y="11"/>
                  </a:cubicBezTo>
                  <a:lnTo>
                    <a:pt x="7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7" name="Google Shape;385;p17">
              <a:extLst>
                <a:ext uri="{FF2B5EF4-FFF2-40B4-BE49-F238E27FC236}">
                  <a16:creationId xmlns:a16="http://schemas.microsoft.com/office/drawing/2014/main" xmlns="" id="{C820A8A7-EC52-E7A7-D815-67808C8D31FE}"/>
                </a:ext>
              </a:extLst>
            </p:cNvPr>
            <p:cNvSpPr/>
            <p:nvPr/>
          </p:nvSpPr>
          <p:spPr>
            <a:xfrm>
              <a:off x="1511176" y="2502007"/>
              <a:ext cx="16369" cy="18906"/>
            </a:xfrm>
            <a:custGeom>
              <a:avLst/>
              <a:gdLst/>
              <a:ahLst/>
              <a:cxnLst/>
              <a:rect l="l" t="t" r="r" b="b"/>
              <a:pathLst>
                <a:path w="71" h="82" extrusionOk="0">
                  <a:moveTo>
                    <a:pt x="11" y="1"/>
                  </a:moveTo>
                  <a:lnTo>
                    <a:pt x="11" y="12"/>
                  </a:lnTo>
                  <a:cubicBezTo>
                    <a:pt x="0" y="23"/>
                    <a:pt x="0" y="34"/>
                    <a:pt x="11" y="34"/>
                  </a:cubicBezTo>
                  <a:lnTo>
                    <a:pt x="11" y="48"/>
                  </a:lnTo>
                  <a:cubicBezTo>
                    <a:pt x="23" y="48"/>
                    <a:pt x="23" y="59"/>
                    <a:pt x="34" y="59"/>
                  </a:cubicBezTo>
                  <a:lnTo>
                    <a:pt x="45" y="71"/>
                  </a:lnTo>
                  <a:lnTo>
                    <a:pt x="45" y="82"/>
                  </a:lnTo>
                  <a:lnTo>
                    <a:pt x="56" y="82"/>
                  </a:lnTo>
                  <a:cubicBezTo>
                    <a:pt x="70" y="82"/>
                    <a:pt x="70" y="71"/>
                    <a:pt x="70" y="59"/>
                  </a:cubicBezTo>
                  <a:cubicBezTo>
                    <a:pt x="70" y="48"/>
                    <a:pt x="56" y="23"/>
                    <a:pt x="34" y="12"/>
                  </a:cubicBezTo>
                  <a:cubicBezTo>
                    <a:pt x="23" y="1"/>
                    <a:pt x="23" y="1"/>
                    <a:pt x="11" y="1"/>
                  </a:cubicBezTo>
                  <a:close/>
                </a:path>
              </a:pathLst>
            </a:custGeom>
            <a:solidFill>
              <a:srgbClr val="027CB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8" name="Google Shape;386;p17">
              <a:extLst>
                <a:ext uri="{FF2B5EF4-FFF2-40B4-BE49-F238E27FC236}">
                  <a16:creationId xmlns:a16="http://schemas.microsoft.com/office/drawing/2014/main" xmlns="" id="{88AEF6AC-5E44-08DA-1C6C-C6186579FCDF}"/>
                </a:ext>
              </a:extLst>
            </p:cNvPr>
            <p:cNvSpPr/>
            <p:nvPr/>
          </p:nvSpPr>
          <p:spPr>
            <a:xfrm>
              <a:off x="1505412" y="2496935"/>
              <a:ext cx="27205" cy="32508"/>
            </a:xfrm>
            <a:custGeom>
              <a:avLst/>
              <a:gdLst/>
              <a:ahLst/>
              <a:cxnLst/>
              <a:rect l="l" t="t" r="r" b="b"/>
              <a:pathLst>
                <a:path w="118" h="141" extrusionOk="0">
                  <a:moveTo>
                    <a:pt x="48" y="0"/>
                  </a:moveTo>
                  <a:cubicBezTo>
                    <a:pt x="36" y="0"/>
                    <a:pt x="25" y="0"/>
                    <a:pt x="25" y="12"/>
                  </a:cubicBezTo>
                  <a:lnTo>
                    <a:pt x="11" y="23"/>
                  </a:lnTo>
                  <a:lnTo>
                    <a:pt x="11" y="34"/>
                  </a:lnTo>
                  <a:lnTo>
                    <a:pt x="0" y="45"/>
                  </a:lnTo>
                  <a:cubicBezTo>
                    <a:pt x="0" y="56"/>
                    <a:pt x="11" y="70"/>
                    <a:pt x="11" y="81"/>
                  </a:cubicBezTo>
                  <a:lnTo>
                    <a:pt x="25" y="93"/>
                  </a:lnTo>
                  <a:cubicBezTo>
                    <a:pt x="36" y="93"/>
                    <a:pt x="36" y="93"/>
                    <a:pt x="48" y="104"/>
                  </a:cubicBezTo>
                  <a:lnTo>
                    <a:pt x="59" y="115"/>
                  </a:lnTo>
                  <a:lnTo>
                    <a:pt x="70" y="126"/>
                  </a:lnTo>
                  <a:lnTo>
                    <a:pt x="70" y="140"/>
                  </a:lnTo>
                  <a:lnTo>
                    <a:pt x="95" y="126"/>
                  </a:lnTo>
                  <a:cubicBezTo>
                    <a:pt x="106" y="115"/>
                    <a:pt x="106" y="115"/>
                    <a:pt x="118" y="104"/>
                  </a:cubicBezTo>
                  <a:lnTo>
                    <a:pt x="118" y="93"/>
                  </a:lnTo>
                  <a:lnTo>
                    <a:pt x="118" y="81"/>
                  </a:lnTo>
                  <a:cubicBezTo>
                    <a:pt x="118" y="56"/>
                    <a:pt x="95" y="34"/>
                    <a:pt x="81" y="12"/>
                  </a:cubicBezTo>
                  <a:lnTo>
                    <a:pt x="70" y="12"/>
                  </a:lnTo>
                  <a:cubicBezTo>
                    <a:pt x="59" y="12"/>
                    <a:pt x="59" y="0"/>
                    <a:pt x="4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9" name="Google Shape;387;p17">
              <a:extLst>
                <a:ext uri="{FF2B5EF4-FFF2-40B4-BE49-F238E27FC236}">
                  <a16:creationId xmlns:a16="http://schemas.microsoft.com/office/drawing/2014/main" xmlns="" id="{382E2B5E-F7AA-71C2-3D39-13264406CA6D}"/>
                </a:ext>
              </a:extLst>
            </p:cNvPr>
            <p:cNvSpPr/>
            <p:nvPr/>
          </p:nvSpPr>
          <p:spPr>
            <a:xfrm>
              <a:off x="1620687" y="2524832"/>
              <a:ext cx="19597" cy="20750"/>
            </a:xfrm>
            <a:custGeom>
              <a:avLst/>
              <a:gdLst/>
              <a:ahLst/>
              <a:cxnLst/>
              <a:rect l="l" t="t" r="r" b="b"/>
              <a:pathLst>
                <a:path w="85" h="90" extrusionOk="0">
                  <a:moveTo>
                    <a:pt x="48" y="0"/>
                  </a:moveTo>
                  <a:cubicBezTo>
                    <a:pt x="41" y="0"/>
                    <a:pt x="33" y="5"/>
                    <a:pt x="26" y="5"/>
                  </a:cubicBezTo>
                  <a:cubicBezTo>
                    <a:pt x="15" y="5"/>
                    <a:pt x="15" y="19"/>
                    <a:pt x="1" y="30"/>
                  </a:cubicBezTo>
                  <a:lnTo>
                    <a:pt x="1" y="42"/>
                  </a:lnTo>
                  <a:cubicBezTo>
                    <a:pt x="1" y="53"/>
                    <a:pt x="1" y="53"/>
                    <a:pt x="15" y="53"/>
                  </a:cubicBezTo>
                  <a:cubicBezTo>
                    <a:pt x="15" y="64"/>
                    <a:pt x="1" y="75"/>
                    <a:pt x="1" y="89"/>
                  </a:cubicBezTo>
                  <a:cubicBezTo>
                    <a:pt x="26" y="89"/>
                    <a:pt x="48" y="75"/>
                    <a:pt x="71" y="75"/>
                  </a:cubicBezTo>
                  <a:lnTo>
                    <a:pt x="84" y="64"/>
                  </a:lnTo>
                  <a:lnTo>
                    <a:pt x="84" y="42"/>
                  </a:lnTo>
                  <a:lnTo>
                    <a:pt x="84" y="19"/>
                  </a:lnTo>
                  <a:lnTo>
                    <a:pt x="59" y="5"/>
                  </a:lnTo>
                  <a:cubicBezTo>
                    <a:pt x="56" y="1"/>
                    <a:pt x="52" y="0"/>
                    <a:pt x="48" y="0"/>
                  </a:cubicBezTo>
                  <a:close/>
                </a:path>
              </a:pathLst>
            </a:custGeom>
            <a:solidFill>
              <a:srgbClr val="027CB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0" name="Google Shape;388;p17">
              <a:extLst>
                <a:ext uri="{FF2B5EF4-FFF2-40B4-BE49-F238E27FC236}">
                  <a16:creationId xmlns:a16="http://schemas.microsoft.com/office/drawing/2014/main" xmlns="" id="{004D8479-64C9-8C64-3444-EAE4AB8AF6E5}"/>
                </a:ext>
              </a:extLst>
            </p:cNvPr>
            <p:cNvSpPr/>
            <p:nvPr/>
          </p:nvSpPr>
          <p:spPr>
            <a:xfrm>
              <a:off x="1615615" y="2520682"/>
              <a:ext cx="29741" cy="29972"/>
            </a:xfrm>
            <a:custGeom>
              <a:avLst/>
              <a:gdLst/>
              <a:ahLst/>
              <a:cxnLst/>
              <a:rect l="l" t="t" r="r" b="b"/>
              <a:pathLst>
                <a:path w="129" h="130" extrusionOk="0">
                  <a:moveTo>
                    <a:pt x="81" y="48"/>
                  </a:moveTo>
                  <a:lnTo>
                    <a:pt x="81" y="60"/>
                  </a:lnTo>
                  <a:lnTo>
                    <a:pt x="81" y="71"/>
                  </a:lnTo>
                  <a:cubicBezTo>
                    <a:pt x="70" y="71"/>
                    <a:pt x="61" y="74"/>
                    <a:pt x="54" y="77"/>
                  </a:cubicBezTo>
                  <a:lnTo>
                    <a:pt x="54" y="77"/>
                  </a:lnTo>
                  <a:lnTo>
                    <a:pt x="48" y="71"/>
                  </a:lnTo>
                  <a:lnTo>
                    <a:pt x="48" y="60"/>
                  </a:lnTo>
                  <a:lnTo>
                    <a:pt x="48" y="48"/>
                  </a:lnTo>
                  <a:close/>
                  <a:moveTo>
                    <a:pt x="37" y="1"/>
                  </a:moveTo>
                  <a:cubicBezTo>
                    <a:pt x="23" y="12"/>
                    <a:pt x="23" y="12"/>
                    <a:pt x="11" y="23"/>
                  </a:cubicBezTo>
                  <a:lnTo>
                    <a:pt x="0" y="37"/>
                  </a:lnTo>
                  <a:lnTo>
                    <a:pt x="0" y="60"/>
                  </a:lnTo>
                  <a:lnTo>
                    <a:pt x="0" y="71"/>
                  </a:lnTo>
                  <a:cubicBezTo>
                    <a:pt x="0" y="75"/>
                    <a:pt x="2" y="77"/>
                    <a:pt x="3" y="79"/>
                  </a:cubicBezTo>
                  <a:lnTo>
                    <a:pt x="3" y="79"/>
                  </a:lnTo>
                  <a:lnTo>
                    <a:pt x="0" y="82"/>
                  </a:lnTo>
                  <a:lnTo>
                    <a:pt x="0" y="93"/>
                  </a:lnTo>
                  <a:lnTo>
                    <a:pt x="0" y="118"/>
                  </a:lnTo>
                  <a:lnTo>
                    <a:pt x="11" y="129"/>
                  </a:lnTo>
                  <a:lnTo>
                    <a:pt x="37" y="129"/>
                  </a:lnTo>
                  <a:cubicBezTo>
                    <a:pt x="59" y="129"/>
                    <a:pt x="81" y="118"/>
                    <a:pt x="93" y="118"/>
                  </a:cubicBezTo>
                  <a:cubicBezTo>
                    <a:pt x="106" y="107"/>
                    <a:pt x="118" y="107"/>
                    <a:pt x="129" y="93"/>
                  </a:cubicBezTo>
                  <a:lnTo>
                    <a:pt x="129" y="60"/>
                  </a:lnTo>
                  <a:lnTo>
                    <a:pt x="129" y="23"/>
                  </a:lnTo>
                  <a:cubicBezTo>
                    <a:pt x="118" y="23"/>
                    <a:pt x="118" y="12"/>
                    <a:pt x="106" y="12"/>
                  </a:cubicBezTo>
                  <a:lnTo>
                    <a:pt x="9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1" name="Google Shape;389;p17">
              <a:extLst>
                <a:ext uri="{FF2B5EF4-FFF2-40B4-BE49-F238E27FC236}">
                  <a16:creationId xmlns:a16="http://schemas.microsoft.com/office/drawing/2014/main" xmlns="" id="{99894ECF-464C-C5FC-6F3C-D4AFEEFF8205}"/>
                </a:ext>
              </a:extLst>
            </p:cNvPr>
            <p:cNvSpPr/>
            <p:nvPr/>
          </p:nvSpPr>
          <p:spPr>
            <a:xfrm>
              <a:off x="1642590" y="2509846"/>
              <a:ext cx="13833" cy="11067"/>
            </a:xfrm>
            <a:custGeom>
              <a:avLst/>
              <a:gdLst/>
              <a:ahLst/>
              <a:cxnLst/>
              <a:rect l="l" t="t" r="r" b="b"/>
              <a:pathLst>
                <a:path w="60" h="48" extrusionOk="0">
                  <a:moveTo>
                    <a:pt x="23" y="0"/>
                  </a:moveTo>
                  <a:cubicBezTo>
                    <a:pt x="23" y="14"/>
                    <a:pt x="12" y="14"/>
                    <a:pt x="12" y="25"/>
                  </a:cubicBezTo>
                  <a:lnTo>
                    <a:pt x="1" y="37"/>
                  </a:lnTo>
                  <a:lnTo>
                    <a:pt x="12" y="48"/>
                  </a:lnTo>
                  <a:lnTo>
                    <a:pt x="34" y="48"/>
                  </a:lnTo>
                  <a:cubicBezTo>
                    <a:pt x="45" y="48"/>
                    <a:pt x="45" y="37"/>
                    <a:pt x="45" y="25"/>
                  </a:cubicBezTo>
                  <a:lnTo>
                    <a:pt x="59" y="14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027CB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2" name="Google Shape;390;p17">
              <a:extLst>
                <a:ext uri="{FF2B5EF4-FFF2-40B4-BE49-F238E27FC236}">
                  <a16:creationId xmlns:a16="http://schemas.microsoft.com/office/drawing/2014/main" xmlns="" id="{D6788462-5590-2E4B-5196-A66903DF9A5A}"/>
                </a:ext>
              </a:extLst>
            </p:cNvPr>
            <p:cNvSpPr/>
            <p:nvPr/>
          </p:nvSpPr>
          <p:spPr>
            <a:xfrm>
              <a:off x="1636826" y="2503391"/>
              <a:ext cx="24669" cy="22825"/>
            </a:xfrm>
            <a:custGeom>
              <a:avLst/>
              <a:gdLst/>
              <a:ahLst/>
              <a:cxnLst/>
              <a:rect l="l" t="t" r="r" b="b"/>
              <a:pathLst>
                <a:path w="107" h="99" extrusionOk="0">
                  <a:moveTo>
                    <a:pt x="48" y="1"/>
                  </a:moveTo>
                  <a:cubicBezTo>
                    <a:pt x="44" y="1"/>
                    <a:pt x="41" y="2"/>
                    <a:pt x="37" y="6"/>
                  </a:cubicBezTo>
                  <a:lnTo>
                    <a:pt x="37" y="17"/>
                  </a:lnTo>
                  <a:cubicBezTo>
                    <a:pt x="26" y="28"/>
                    <a:pt x="14" y="28"/>
                    <a:pt x="14" y="42"/>
                  </a:cubicBezTo>
                  <a:lnTo>
                    <a:pt x="14" y="53"/>
                  </a:lnTo>
                  <a:lnTo>
                    <a:pt x="1" y="65"/>
                  </a:lnTo>
                  <a:lnTo>
                    <a:pt x="14" y="76"/>
                  </a:lnTo>
                  <a:lnTo>
                    <a:pt x="14" y="87"/>
                  </a:lnTo>
                  <a:cubicBezTo>
                    <a:pt x="26" y="98"/>
                    <a:pt x="37" y="98"/>
                    <a:pt x="48" y="98"/>
                  </a:cubicBezTo>
                  <a:lnTo>
                    <a:pt x="70" y="98"/>
                  </a:lnTo>
                  <a:cubicBezTo>
                    <a:pt x="84" y="98"/>
                    <a:pt x="84" y="87"/>
                    <a:pt x="96" y="76"/>
                  </a:cubicBezTo>
                  <a:lnTo>
                    <a:pt x="96" y="65"/>
                  </a:lnTo>
                  <a:lnTo>
                    <a:pt x="107" y="53"/>
                  </a:lnTo>
                  <a:lnTo>
                    <a:pt x="107" y="42"/>
                  </a:lnTo>
                  <a:lnTo>
                    <a:pt x="107" y="28"/>
                  </a:lnTo>
                  <a:lnTo>
                    <a:pt x="96" y="17"/>
                  </a:lnTo>
                  <a:lnTo>
                    <a:pt x="96" y="6"/>
                  </a:lnTo>
                  <a:lnTo>
                    <a:pt x="70" y="6"/>
                  </a:lnTo>
                  <a:cubicBezTo>
                    <a:pt x="63" y="6"/>
                    <a:pt x="56" y="1"/>
                    <a:pt x="4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3" name="Google Shape;391;p17">
              <a:extLst>
                <a:ext uri="{FF2B5EF4-FFF2-40B4-BE49-F238E27FC236}">
                  <a16:creationId xmlns:a16="http://schemas.microsoft.com/office/drawing/2014/main" xmlns="" id="{EEEA64EA-4CDF-EF19-EB37-9EE3D02F4041}"/>
                </a:ext>
              </a:extLst>
            </p:cNvPr>
            <p:cNvSpPr/>
            <p:nvPr/>
          </p:nvSpPr>
          <p:spPr>
            <a:xfrm>
              <a:off x="1534922" y="2545351"/>
              <a:ext cx="18905" cy="13142"/>
            </a:xfrm>
            <a:custGeom>
              <a:avLst/>
              <a:gdLst/>
              <a:ahLst/>
              <a:cxnLst/>
              <a:rect l="l" t="t" r="r" b="b"/>
              <a:pathLst>
                <a:path w="82" h="57" extrusionOk="0">
                  <a:moveTo>
                    <a:pt x="23" y="0"/>
                  </a:moveTo>
                  <a:cubicBezTo>
                    <a:pt x="23" y="0"/>
                    <a:pt x="1" y="0"/>
                    <a:pt x="1" y="11"/>
                  </a:cubicBezTo>
                  <a:lnTo>
                    <a:pt x="1" y="22"/>
                  </a:lnTo>
                  <a:cubicBezTo>
                    <a:pt x="1" y="34"/>
                    <a:pt x="12" y="45"/>
                    <a:pt x="23" y="56"/>
                  </a:cubicBezTo>
                  <a:lnTo>
                    <a:pt x="82" y="56"/>
                  </a:lnTo>
                  <a:lnTo>
                    <a:pt x="82" y="45"/>
                  </a:lnTo>
                  <a:cubicBezTo>
                    <a:pt x="71" y="34"/>
                    <a:pt x="71" y="34"/>
                    <a:pt x="59" y="34"/>
                  </a:cubicBezTo>
                  <a:lnTo>
                    <a:pt x="48" y="22"/>
                  </a:lnTo>
                  <a:cubicBezTo>
                    <a:pt x="37" y="11"/>
                    <a:pt x="37" y="0"/>
                    <a:pt x="23" y="0"/>
                  </a:cubicBezTo>
                  <a:close/>
                </a:path>
              </a:pathLst>
            </a:custGeom>
            <a:solidFill>
              <a:srgbClr val="027CB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4" name="Google Shape;392;p17">
              <a:extLst>
                <a:ext uri="{FF2B5EF4-FFF2-40B4-BE49-F238E27FC236}">
                  <a16:creationId xmlns:a16="http://schemas.microsoft.com/office/drawing/2014/main" xmlns="" id="{6735C04F-F64C-255E-663B-098E47F87AF0}"/>
                </a:ext>
              </a:extLst>
            </p:cNvPr>
            <p:cNvSpPr/>
            <p:nvPr/>
          </p:nvSpPr>
          <p:spPr>
            <a:xfrm>
              <a:off x="1529850" y="2539357"/>
              <a:ext cx="29741" cy="24900"/>
            </a:xfrm>
            <a:custGeom>
              <a:avLst/>
              <a:gdLst/>
              <a:ahLst/>
              <a:cxnLst/>
              <a:rect l="l" t="t" r="r" b="b"/>
              <a:pathLst>
                <a:path w="129" h="108" extrusionOk="0">
                  <a:moveTo>
                    <a:pt x="34" y="1"/>
                  </a:moveTo>
                  <a:cubicBezTo>
                    <a:pt x="34" y="1"/>
                    <a:pt x="23" y="1"/>
                    <a:pt x="23" y="12"/>
                  </a:cubicBezTo>
                  <a:lnTo>
                    <a:pt x="12" y="12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8"/>
                  </a:lnTo>
                  <a:cubicBezTo>
                    <a:pt x="0" y="71"/>
                    <a:pt x="12" y="82"/>
                    <a:pt x="23" y="96"/>
                  </a:cubicBezTo>
                  <a:lnTo>
                    <a:pt x="34" y="107"/>
                  </a:lnTo>
                  <a:lnTo>
                    <a:pt x="129" y="107"/>
                  </a:lnTo>
                  <a:lnTo>
                    <a:pt x="129" y="96"/>
                  </a:lnTo>
                  <a:lnTo>
                    <a:pt x="129" y="82"/>
                  </a:lnTo>
                  <a:cubicBezTo>
                    <a:pt x="129" y="71"/>
                    <a:pt x="129" y="60"/>
                    <a:pt x="115" y="48"/>
                  </a:cubicBezTo>
                  <a:cubicBezTo>
                    <a:pt x="104" y="48"/>
                    <a:pt x="104" y="37"/>
                    <a:pt x="93" y="37"/>
                  </a:cubicBezTo>
                  <a:lnTo>
                    <a:pt x="81" y="26"/>
                  </a:lnTo>
                  <a:cubicBezTo>
                    <a:pt x="81" y="12"/>
                    <a:pt x="81" y="12"/>
                    <a:pt x="7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5" name="Google Shape;393;p17">
              <a:extLst>
                <a:ext uri="{FF2B5EF4-FFF2-40B4-BE49-F238E27FC236}">
                  <a16:creationId xmlns:a16="http://schemas.microsoft.com/office/drawing/2014/main" xmlns="" id="{3E9513D5-5107-2BF4-AAE4-D4D67CACAB64}"/>
                </a:ext>
              </a:extLst>
            </p:cNvPr>
            <p:cNvSpPr/>
            <p:nvPr/>
          </p:nvSpPr>
          <p:spPr>
            <a:xfrm>
              <a:off x="1387370" y="2077789"/>
              <a:ext cx="559084" cy="481629"/>
            </a:xfrm>
            <a:custGeom>
              <a:avLst/>
              <a:gdLst/>
              <a:ahLst/>
              <a:cxnLst/>
              <a:rect l="l" t="t" r="r" b="b"/>
              <a:pathLst>
                <a:path w="2425" h="2089" extrusionOk="0">
                  <a:moveTo>
                    <a:pt x="1211" y="1"/>
                  </a:moveTo>
                  <a:lnTo>
                    <a:pt x="1211" y="12"/>
                  </a:lnTo>
                  <a:cubicBezTo>
                    <a:pt x="1200" y="34"/>
                    <a:pt x="1178" y="46"/>
                    <a:pt x="1152" y="57"/>
                  </a:cubicBezTo>
                  <a:cubicBezTo>
                    <a:pt x="1119" y="57"/>
                    <a:pt x="1108" y="104"/>
                    <a:pt x="1071" y="115"/>
                  </a:cubicBezTo>
                  <a:cubicBezTo>
                    <a:pt x="1062" y="126"/>
                    <a:pt x="1050" y="130"/>
                    <a:pt x="1038" y="130"/>
                  </a:cubicBezTo>
                  <a:cubicBezTo>
                    <a:pt x="1019" y="130"/>
                    <a:pt x="999" y="122"/>
                    <a:pt x="979" y="115"/>
                  </a:cubicBezTo>
                  <a:cubicBezTo>
                    <a:pt x="968" y="104"/>
                    <a:pt x="957" y="104"/>
                    <a:pt x="943" y="93"/>
                  </a:cubicBezTo>
                  <a:cubicBezTo>
                    <a:pt x="924" y="81"/>
                    <a:pt x="897" y="71"/>
                    <a:pt x="874" y="71"/>
                  </a:cubicBezTo>
                  <a:cubicBezTo>
                    <a:pt x="855" y="71"/>
                    <a:pt x="838" y="77"/>
                    <a:pt x="828" y="93"/>
                  </a:cubicBezTo>
                  <a:cubicBezTo>
                    <a:pt x="817" y="104"/>
                    <a:pt x="817" y="115"/>
                    <a:pt x="803" y="127"/>
                  </a:cubicBezTo>
                  <a:cubicBezTo>
                    <a:pt x="781" y="141"/>
                    <a:pt x="758" y="141"/>
                    <a:pt x="733" y="152"/>
                  </a:cubicBezTo>
                  <a:cubicBezTo>
                    <a:pt x="688" y="174"/>
                    <a:pt x="711" y="233"/>
                    <a:pt x="711" y="266"/>
                  </a:cubicBezTo>
                  <a:cubicBezTo>
                    <a:pt x="722" y="280"/>
                    <a:pt x="733" y="292"/>
                    <a:pt x="733" y="314"/>
                  </a:cubicBezTo>
                  <a:cubicBezTo>
                    <a:pt x="747" y="336"/>
                    <a:pt x="769" y="350"/>
                    <a:pt x="792" y="373"/>
                  </a:cubicBezTo>
                  <a:cubicBezTo>
                    <a:pt x="803" y="395"/>
                    <a:pt x="817" y="431"/>
                    <a:pt x="792" y="454"/>
                  </a:cubicBezTo>
                  <a:cubicBezTo>
                    <a:pt x="792" y="454"/>
                    <a:pt x="781" y="465"/>
                    <a:pt x="769" y="465"/>
                  </a:cubicBezTo>
                  <a:cubicBezTo>
                    <a:pt x="758" y="490"/>
                    <a:pt x="769" y="513"/>
                    <a:pt x="792" y="524"/>
                  </a:cubicBezTo>
                  <a:cubicBezTo>
                    <a:pt x="803" y="546"/>
                    <a:pt x="817" y="560"/>
                    <a:pt x="817" y="582"/>
                  </a:cubicBezTo>
                  <a:lnTo>
                    <a:pt x="817" y="605"/>
                  </a:lnTo>
                  <a:cubicBezTo>
                    <a:pt x="813" y="608"/>
                    <a:pt x="807" y="609"/>
                    <a:pt x="801" y="609"/>
                  </a:cubicBezTo>
                  <a:cubicBezTo>
                    <a:pt x="785" y="609"/>
                    <a:pt x="766" y="602"/>
                    <a:pt x="758" y="594"/>
                  </a:cubicBezTo>
                  <a:cubicBezTo>
                    <a:pt x="740" y="586"/>
                    <a:pt x="724" y="578"/>
                    <a:pt x="712" y="578"/>
                  </a:cubicBezTo>
                  <a:cubicBezTo>
                    <a:pt x="707" y="578"/>
                    <a:pt x="703" y="579"/>
                    <a:pt x="699" y="582"/>
                  </a:cubicBezTo>
                  <a:cubicBezTo>
                    <a:pt x="677" y="605"/>
                    <a:pt x="688" y="641"/>
                    <a:pt x="663" y="652"/>
                  </a:cubicBezTo>
                  <a:cubicBezTo>
                    <a:pt x="657" y="658"/>
                    <a:pt x="655" y="661"/>
                    <a:pt x="652" y="661"/>
                  </a:cubicBezTo>
                  <a:cubicBezTo>
                    <a:pt x="649" y="661"/>
                    <a:pt x="646" y="658"/>
                    <a:pt x="641" y="652"/>
                  </a:cubicBezTo>
                  <a:cubicBezTo>
                    <a:pt x="607" y="652"/>
                    <a:pt x="582" y="616"/>
                    <a:pt x="582" y="582"/>
                  </a:cubicBezTo>
                  <a:lnTo>
                    <a:pt x="582" y="546"/>
                  </a:lnTo>
                  <a:cubicBezTo>
                    <a:pt x="582" y="535"/>
                    <a:pt x="571" y="524"/>
                    <a:pt x="560" y="524"/>
                  </a:cubicBezTo>
                  <a:cubicBezTo>
                    <a:pt x="536" y="507"/>
                    <a:pt x="506" y="499"/>
                    <a:pt x="477" y="499"/>
                  </a:cubicBezTo>
                  <a:cubicBezTo>
                    <a:pt x="448" y="499"/>
                    <a:pt x="420" y="507"/>
                    <a:pt x="397" y="524"/>
                  </a:cubicBezTo>
                  <a:cubicBezTo>
                    <a:pt x="383" y="524"/>
                    <a:pt x="372" y="535"/>
                    <a:pt x="361" y="546"/>
                  </a:cubicBezTo>
                  <a:cubicBezTo>
                    <a:pt x="350" y="546"/>
                    <a:pt x="328" y="546"/>
                    <a:pt x="314" y="535"/>
                  </a:cubicBezTo>
                  <a:cubicBezTo>
                    <a:pt x="302" y="524"/>
                    <a:pt x="314" y="501"/>
                    <a:pt x="291" y="501"/>
                  </a:cubicBezTo>
                  <a:cubicBezTo>
                    <a:pt x="285" y="498"/>
                    <a:pt x="278" y="497"/>
                    <a:pt x="271" y="497"/>
                  </a:cubicBezTo>
                  <a:cubicBezTo>
                    <a:pt x="255" y="497"/>
                    <a:pt x="240" y="505"/>
                    <a:pt x="232" y="513"/>
                  </a:cubicBezTo>
                  <a:cubicBezTo>
                    <a:pt x="232" y="524"/>
                    <a:pt x="221" y="535"/>
                    <a:pt x="210" y="535"/>
                  </a:cubicBezTo>
                  <a:cubicBezTo>
                    <a:pt x="199" y="535"/>
                    <a:pt x="188" y="524"/>
                    <a:pt x="174" y="524"/>
                  </a:cubicBezTo>
                  <a:cubicBezTo>
                    <a:pt x="151" y="501"/>
                    <a:pt x="129" y="501"/>
                    <a:pt x="104" y="501"/>
                  </a:cubicBezTo>
                  <a:cubicBezTo>
                    <a:pt x="81" y="513"/>
                    <a:pt x="59" y="535"/>
                    <a:pt x="70" y="560"/>
                  </a:cubicBezTo>
                  <a:cubicBezTo>
                    <a:pt x="70" y="594"/>
                    <a:pt x="129" y="616"/>
                    <a:pt x="118" y="664"/>
                  </a:cubicBezTo>
                  <a:cubicBezTo>
                    <a:pt x="110" y="657"/>
                    <a:pt x="95" y="651"/>
                    <a:pt x="82" y="651"/>
                  </a:cubicBezTo>
                  <a:cubicBezTo>
                    <a:pt x="73" y="651"/>
                    <a:pt x="64" y="654"/>
                    <a:pt x="59" y="664"/>
                  </a:cubicBezTo>
                  <a:lnTo>
                    <a:pt x="48" y="675"/>
                  </a:lnTo>
                  <a:cubicBezTo>
                    <a:pt x="48" y="686"/>
                    <a:pt x="34" y="686"/>
                    <a:pt x="23" y="686"/>
                  </a:cubicBezTo>
                  <a:lnTo>
                    <a:pt x="0" y="686"/>
                  </a:lnTo>
                  <a:cubicBezTo>
                    <a:pt x="12" y="700"/>
                    <a:pt x="12" y="711"/>
                    <a:pt x="12" y="722"/>
                  </a:cubicBezTo>
                  <a:cubicBezTo>
                    <a:pt x="0" y="733"/>
                    <a:pt x="0" y="745"/>
                    <a:pt x="12" y="756"/>
                  </a:cubicBezTo>
                  <a:lnTo>
                    <a:pt x="23" y="770"/>
                  </a:lnTo>
                  <a:cubicBezTo>
                    <a:pt x="34" y="781"/>
                    <a:pt x="34" y="792"/>
                    <a:pt x="34" y="803"/>
                  </a:cubicBezTo>
                  <a:cubicBezTo>
                    <a:pt x="23" y="815"/>
                    <a:pt x="23" y="826"/>
                    <a:pt x="23" y="851"/>
                  </a:cubicBezTo>
                  <a:cubicBezTo>
                    <a:pt x="23" y="862"/>
                    <a:pt x="23" y="873"/>
                    <a:pt x="34" y="884"/>
                  </a:cubicBezTo>
                  <a:cubicBezTo>
                    <a:pt x="59" y="884"/>
                    <a:pt x="81" y="884"/>
                    <a:pt x="93" y="896"/>
                  </a:cubicBezTo>
                  <a:cubicBezTo>
                    <a:pt x="121" y="915"/>
                    <a:pt x="147" y="939"/>
                    <a:pt x="174" y="939"/>
                  </a:cubicBezTo>
                  <a:cubicBezTo>
                    <a:pt x="182" y="939"/>
                    <a:pt x="191" y="937"/>
                    <a:pt x="199" y="932"/>
                  </a:cubicBezTo>
                  <a:cubicBezTo>
                    <a:pt x="210" y="921"/>
                    <a:pt x="221" y="910"/>
                    <a:pt x="232" y="896"/>
                  </a:cubicBezTo>
                  <a:cubicBezTo>
                    <a:pt x="239" y="892"/>
                    <a:pt x="246" y="890"/>
                    <a:pt x="253" y="890"/>
                  </a:cubicBezTo>
                  <a:cubicBezTo>
                    <a:pt x="284" y="890"/>
                    <a:pt x="316" y="927"/>
                    <a:pt x="328" y="954"/>
                  </a:cubicBezTo>
                  <a:cubicBezTo>
                    <a:pt x="339" y="1002"/>
                    <a:pt x="328" y="1049"/>
                    <a:pt x="339" y="1083"/>
                  </a:cubicBezTo>
                  <a:cubicBezTo>
                    <a:pt x="350" y="1094"/>
                    <a:pt x="350" y="1119"/>
                    <a:pt x="361" y="1119"/>
                  </a:cubicBezTo>
                  <a:cubicBezTo>
                    <a:pt x="372" y="1131"/>
                    <a:pt x="383" y="1131"/>
                    <a:pt x="397" y="1142"/>
                  </a:cubicBezTo>
                  <a:cubicBezTo>
                    <a:pt x="397" y="1153"/>
                    <a:pt x="409" y="1153"/>
                    <a:pt x="409" y="1164"/>
                  </a:cubicBezTo>
                  <a:cubicBezTo>
                    <a:pt x="420" y="1175"/>
                    <a:pt x="431" y="1175"/>
                    <a:pt x="442" y="1175"/>
                  </a:cubicBezTo>
                  <a:cubicBezTo>
                    <a:pt x="453" y="1175"/>
                    <a:pt x="467" y="1164"/>
                    <a:pt x="467" y="1164"/>
                  </a:cubicBezTo>
                  <a:lnTo>
                    <a:pt x="501" y="1164"/>
                  </a:lnTo>
                  <a:lnTo>
                    <a:pt x="501" y="1175"/>
                  </a:lnTo>
                  <a:cubicBezTo>
                    <a:pt x="512" y="1189"/>
                    <a:pt x="512" y="1200"/>
                    <a:pt x="512" y="1212"/>
                  </a:cubicBezTo>
                  <a:lnTo>
                    <a:pt x="512" y="1259"/>
                  </a:lnTo>
                  <a:cubicBezTo>
                    <a:pt x="523" y="1293"/>
                    <a:pt x="523" y="1329"/>
                    <a:pt x="523" y="1363"/>
                  </a:cubicBezTo>
                  <a:lnTo>
                    <a:pt x="523" y="1444"/>
                  </a:lnTo>
                  <a:cubicBezTo>
                    <a:pt x="523" y="1469"/>
                    <a:pt x="537" y="1491"/>
                    <a:pt x="523" y="1514"/>
                  </a:cubicBezTo>
                  <a:lnTo>
                    <a:pt x="523" y="1525"/>
                  </a:lnTo>
                  <a:cubicBezTo>
                    <a:pt x="523" y="1539"/>
                    <a:pt x="523" y="1550"/>
                    <a:pt x="537" y="1561"/>
                  </a:cubicBezTo>
                  <a:cubicBezTo>
                    <a:pt x="548" y="1572"/>
                    <a:pt x="560" y="1572"/>
                    <a:pt x="571" y="1572"/>
                  </a:cubicBezTo>
                  <a:cubicBezTo>
                    <a:pt x="582" y="1572"/>
                    <a:pt x="593" y="1561"/>
                    <a:pt x="607" y="1561"/>
                  </a:cubicBezTo>
                  <a:cubicBezTo>
                    <a:pt x="618" y="1561"/>
                    <a:pt x="630" y="1561"/>
                    <a:pt x="630" y="1572"/>
                  </a:cubicBezTo>
                  <a:lnTo>
                    <a:pt x="630" y="1584"/>
                  </a:lnTo>
                  <a:cubicBezTo>
                    <a:pt x="641" y="1595"/>
                    <a:pt x="641" y="1609"/>
                    <a:pt x="630" y="1620"/>
                  </a:cubicBezTo>
                  <a:lnTo>
                    <a:pt x="641" y="1631"/>
                  </a:lnTo>
                  <a:lnTo>
                    <a:pt x="641" y="1642"/>
                  </a:lnTo>
                  <a:cubicBezTo>
                    <a:pt x="663" y="1653"/>
                    <a:pt x="663" y="1679"/>
                    <a:pt x="663" y="1701"/>
                  </a:cubicBezTo>
                  <a:lnTo>
                    <a:pt x="663" y="1818"/>
                  </a:lnTo>
                  <a:cubicBezTo>
                    <a:pt x="663" y="1852"/>
                    <a:pt x="663" y="1874"/>
                    <a:pt x="677" y="1911"/>
                  </a:cubicBezTo>
                  <a:cubicBezTo>
                    <a:pt x="687" y="1995"/>
                    <a:pt x="775" y="2052"/>
                    <a:pt x="863" y="2052"/>
                  </a:cubicBezTo>
                  <a:cubicBezTo>
                    <a:pt x="871" y="2052"/>
                    <a:pt x="879" y="2051"/>
                    <a:pt x="887" y="2050"/>
                  </a:cubicBezTo>
                  <a:cubicBezTo>
                    <a:pt x="909" y="2039"/>
                    <a:pt x="932" y="2028"/>
                    <a:pt x="943" y="2014"/>
                  </a:cubicBezTo>
                  <a:cubicBezTo>
                    <a:pt x="979" y="1981"/>
                    <a:pt x="979" y="1911"/>
                    <a:pt x="1013" y="1888"/>
                  </a:cubicBezTo>
                  <a:cubicBezTo>
                    <a:pt x="1038" y="1874"/>
                    <a:pt x="1071" y="1888"/>
                    <a:pt x="1096" y="1863"/>
                  </a:cubicBezTo>
                  <a:cubicBezTo>
                    <a:pt x="1130" y="1841"/>
                    <a:pt x="1108" y="1782"/>
                    <a:pt x="1096" y="1734"/>
                  </a:cubicBezTo>
                  <a:cubicBezTo>
                    <a:pt x="1073" y="1703"/>
                    <a:pt x="1093" y="1641"/>
                    <a:pt x="1132" y="1641"/>
                  </a:cubicBezTo>
                  <a:cubicBezTo>
                    <a:pt x="1135" y="1641"/>
                    <a:pt x="1138" y="1641"/>
                    <a:pt x="1141" y="1642"/>
                  </a:cubicBezTo>
                  <a:cubicBezTo>
                    <a:pt x="1130" y="1734"/>
                    <a:pt x="1178" y="1818"/>
                    <a:pt x="1247" y="1874"/>
                  </a:cubicBezTo>
                  <a:cubicBezTo>
                    <a:pt x="1270" y="1888"/>
                    <a:pt x="1281" y="1899"/>
                    <a:pt x="1306" y="1922"/>
                  </a:cubicBezTo>
                  <a:cubicBezTo>
                    <a:pt x="1329" y="1969"/>
                    <a:pt x="1292" y="2039"/>
                    <a:pt x="1340" y="2073"/>
                  </a:cubicBezTo>
                  <a:cubicBezTo>
                    <a:pt x="1351" y="2084"/>
                    <a:pt x="1363" y="2089"/>
                    <a:pt x="1376" y="2089"/>
                  </a:cubicBezTo>
                  <a:cubicBezTo>
                    <a:pt x="1419" y="2089"/>
                    <a:pt x="1468" y="2039"/>
                    <a:pt x="1502" y="2003"/>
                  </a:cubicBezTo>
                  <a:cubicBezTo>
                    <a:pt x="1549" y="1973"/>
                    <a:pt x="1606" y="1952"/>
                    <a:pt x="1664" y="1952"/>
                  </a:cubicBezTo>
                  <a:cubicBezTo>
                    <a:pt x="1692" y="1952"/>
                    <a:pt x="1721" y="1957"/>
                    <a:pt x="1748" y="1969"/>
                  </a:cubicBezTo>
                  <a:cubicBezTo>
                    <a:pt x="1780" y="1977"/>
                    <a:pt x="1817" y="1995"/>
                    <a:pt x="1852" y="1995"/>
                  </a:cubicBezTo>
                  <a:cubicBezTo>
                    <a:pt x="1868" y="1995"/>
                    <a:pt x="1884" y="1991"/>
                    <a:pt x="1899" y="1981"/>
                  </a:cubicBezTo>
                  <a:cubicBezTo>
                    <a:pt x="1921" y="1969"/>
                    <a:pt x="1947" y="1933"/>
                    <a:pt x="1958" y="1911"/>
                  </a:cubicBezTo>
                  <a:cubicBezTo>
                    <a:pt x="1969" y="1888"/>
                    <a:pt x="1980" y="1874"/>
                    <a:pt x="2005" y="1874"/>
                  </a:cubicBezTo>
                  <a:cubicBezTo>
                    <a:pt x="2028" y="1874"/>
                    <a:pt x="2050" y="1888"/>
                    <a:pt x="2075" y="1899"/>
                  </a:cubicBezTo>
                  <a:cubicBezTo>
                    <a:pt x="2075" y="1899"/>
                    <a:pt x="2086" y="1899"/>
                    <a:pt x="2098" y="1888"/>
                  </a:cubicBezTo>
                  <a:lnTo>
                    <a:pt x="2098" y="1874"/>
                  </a:lnTo>
                  <a:cubicBezTo>
                    <a:pt x="2098" y="1852"/>
                    <a:pt x="2098" y="1830"/>
                    <a:pt x="2120" y="1818"/>
                  </a:cubicBezTo>
                  <a:lnTo>
                    <a:pt x="2131" y="1804"/>
                  </a:lnTo>
                  <a:lnTo>
                    <a:pt x="2131" y="1782"/>
                  </a:lnTo>
                  <a:cubicBezTo>
                    <a:pt x="2131" y="1760"/>
                    <a:pt x="2131" y="1734"/>
                    <a:pt x="2120" y="1723"/>
                  </a:cubicBezTo>
                  <a:cubicBezTo>
                    <a:pt x="2120" y="1712"/>
                    <a:pt x="2109" y="1712"/>
                    <a:pt x="2109" y="1701"/>
                  </a:cubicBezTo>
                  <a:cubicBezTo>
                    <a:pt x="2120" y="1701"/>
                    <a:pt x="2120" y="1690"/>
                    <a:pt x="2120" y="1690"/>
                  </a:cubicBezTo>
                  <a:cubicBezTo>
                    <a:pt x="2145" y="1679"/>
                    <a:pt x="2156" y="1665"/>
                    <a:pt x="2179" y="1665"/>
                  </a:cubicBezTo>
                  <a:cubicBezTo>
                    <a:pt x="2190" y="1665"/>
                    <a:pt x="2215" y="1665"/>
                    <a:pt x="2226" y="1653"/>
                  </a:cubicBezTo>
                  <a:cubicBezTo>
                    <a:pt x="2226" y="1642"/>
                    <a:pt x="2226" y="1631"/>
                    <a:pt x="2237" y="1631"/>
                  </a:cubicBezTo>
                  <a:cubicBezTo>
                    <a:pt x="2237" y="1609"/>
                    <a:pt x="2260" y="1609"/>
                    <a:pt x="2271" y="1609"/>
                  </a:cubicBezTo>
                  <a:lnTo>
                    <a:pt x="2318" y="1609"/>
                  </a:lnTo>
                  <a:cubicBezTo>
                    <a:pt x="2355" y="1595"/>
                    <a:pt x="2366" y="1550"/>
                    <a:pt x="2355" y="1525"/>
                  </a:cubicBezTo>
                  <a:lnTo>
                    <a:pt x="2355" y="1469"/>
                  </a:lnTo>
                  <a:cubicBezTo>
                    <a:pt x="2355" y="1455"/>
                    <a:pt x="2341" y="1444"/>
                    <a:pt x="2366" y="1433"/>
                  </a:cubicBezTo>
                  <a:lnTo>
                    <a:pt x="2377" y="1433"/>
                  </a:lnTo>
                  <a:lnTo>
                    <a:pt x="2377" y="1410"/>
                  </a:lnTo>
                  <a:cubicBezTo>
                    <a:pt x="2377" y="1385"/>
                    <a:pt x="2388" y="1363"/>
                    <a:pt x="2377" y="1340"/>
                  </a:cubicBezTo>
                  <a:cubicBezTo>
                    <a:pt x="2366" y="1329"/>
                    <a:pt x="2366" y="1329"/>
                    <a:pt x="2366" y="1315"/>
                  </a:cubicBezTo>
                  <a:cubicBezTo>
                    <a:pt x="2355" y="1304"/>
                    <a:pt x="2366" y="1282"/>
                    <a:pt x="2366" y="1270"/>
                  </a:cubicBezTo>
                  <a:cubicBezTo>
                    <a:pt x="2377" y="1223"/>
                    <a:pt x="2318" y="1175"/>
                    <a:pt x="2330" y="1142"/>
                  </a:cubicBezTo>
                  <a:cubicBezTo>
                    <a:pt x="2341" y="1119"/>
                    <a:pt x="2355" y="1105"/>
                    <a:pt x="2377" y="1094"/>
                  </a:cubicBezTo>
                  <a:cubicBezTo>
                    <a:pt x="2388" y="1083"/>
                    <a:pt x="2400" y="1083"/>
                    <a:pt x="2411" y="1072"/>
                  </a:cubicBezTo>
                  <a:cubicBezTo>
                    <a:pt x="2425" y="1061"/>
                    <a:pt x="2425" y="1035"/>
                    <a:pt x="2425" y="1024"/>
                  </a:cubicBezTo>
                  <a:cubicBezTo>
                    <a:pt x="2425" y="1002"/>
                    <a:pt x="2400" y="991"/>
                    <a:pt x="2388" y="980"/>
                  </a:cubicBezTo>
                  <a:cubicBezTo>
                    <a:pt x="2388" y="966"/>
                    <a:pt x="2377" y="966"/>
                    <a:pt x="2366" y="966"/>
                  </a:cubicBezTo>
                  <a:cubicBezTo>
                    <a:pt x="2353" y="960"/>
                    <a:pt x="2339" y="960"/>
                    <a:pt x="2326" y="960"/>
                  </a:cubicBezTo>
                  <a:cubicBezTo>
                    <a:pt x="2313" y="960"/>
                    <a:pt x="2302" y="960"/>
                    <a:pt x="2296" y="954"/>
                  </a:cubicBezTo>
                  <a:cubicBezTo>
                    <a:pt x="2285" y="943"/>
                    <a:pt x="2285" y="932"/>
                    <a:pt x="2271" y="921"/>
                  </a:cubicBezTo>
                  <a:cubicBezTo>
                    <a:pt x="2268" y="918"/>
                    <a:pt x="2264" y="916"/>
                    <a:pt x="2261" y="916"/>
                  </a:cubicBezTo>
                  <a:cubicBezTo>
                    <a:pt x="2253" y="916"/>
                    <a:pt x="2245" y="924"/>
                    <a:pt x="2237" y="932"/>
                  </a:cubicBezTo>
                  <a:cubicBezTo>
                    <a:pt x="2237" y="943"/>
                    <a:pt x="2226" y="954"/>
                    <a:pt x="2226" y="966"/>
                  </a:cubicBezTo>
                  <a:cubicBezTo>
                    <a:pt x="2237" y="980"/>
                    <a:pt x="2237" y="991"/>
                    <a:pt x="2226" y="991"/>
                  </a:cubicBezTo>
                  <a:cubicBezTo>
                    <a:pt x="2226" y="1002"/>
                    <a:pt x="2215" y="1002"/>
                    <a:pt x="2201" y="1013"/>
                  </a:cubicBezTo>
                  <a:lnTo>
                    <a:pt x="2201" y="1035"/>
                  </a:lnTo>
                  <a:cubicBezTo>
                    <a:pt x="2201" y="1061"/>
                    <a:pt x="2190" y="1072"/>
                    <a:pt x="2179" y="1083"/>
                  </a:cubicBezTo>
                  <a:cubicBezTo>
                    <a:pt x="2174" y="1088"/>
                    <a:pt x="2165" y="1090"/>
                    <a:pt x="2156" y="1090"/>
                  </a:cubicBezTo>
                  <a:cubicBezTo>
                    <a:pt x="2144" y="1090"/>
                    <a:pt x="2131" y="1085"/>
                    <a:pt x="2131" y="1072"/>
                  </a:cubicBezTo>
                  <a:lnTo>
                    <a:pt x="2131" y="1035"/>
                  </a:lnTo>
                  <a:cubicBezTo>
                    <a:pt x="2120" y="1024"/>
                    <a:pt x="2109" y="1024"/>
                    <a:pt x="2098" y="1024"/>
                  </a:cubicBezTo>
                  <a:lnTo>
                    <a:pt x="2050" y="1024"/>
                  </a:lnTo>
                  <a:cubicBezTo>
                    <a:pt x="2028" y="1035"/>
                    <a:pt x="2016" y="1049"/>
                    <a:pt x="2016" y="1061"/>
                  </a:cubicBezTo>
                  <a:lnTo>
                    <a:pt x="2016" y="1094"/>
                  </a:lnTo>
                  <a:cubicBezTo>
                    <a:pt x="2016" y="1119"/>
                    <a:pt x="2005" y="1131"/>
                    <a:pt x="1991" y="1142"/>
                  </a:cubicBezTo>
                  <a:cubicBezTo>
                    <a:pt x="1991" y="1153"/>
                    <a:pt x="1969" y="1164"/>
                    <a:pt x="1958" y="1164"/>
                  </a:cubicBezTo>
                  <a:cubicBezTo>
                    <a:pt x="1935" y="1153"/>
                    <a:pt x="1935" y="1131"/>
                    <a:pt x="1935" y="1105"/>
                  </a:cubicBezTo>
                  <a:cubicBezTo>
                    <a:pt x="1935" y="1094"/>
                    <a:pt x="1921" y="1072"/>
                    <a:pt x="1910" y="1072"/>
                  </a:cubicBezTo>
                  <a:cubicBezTo>
                    <a:pt x="1907" y="1070"/>
                    <a:pt x="1904" y="1070"/>
                    <a:pt x="1901" y="1070"/>
                  </a:cubicBezTo>
                  <a:cubicBezTo>
                    <a:pt x="1884" y="1070"/>
                    <a:pt x="1873" y="1096"/>
                    <a:pt x="1851" y="1105"/>
                  </a:cubicBezTo>
                  <a:cubicBezTo>
                    <a:pt x="1844" y="1110"/>
                    <a:pt x="1837" y="1112"/>
                    <a:pt x="1830" y="1112"/>
                  </a:cubicBezTo>
                  <a:cubicBezTo>
                    <a:pt x="1815" y="1112"/>
                    <a:pt x="1803" y="1105"/>
                    <a:pt x="1796" y="1105"/>
                  </a:cubicBezTo>
                  <a:cubicBezTo>
                    <a:pt x="1770" y="1094"/>
                    <a:pt x="1759" y="1083"/>
                    <a:pt x="1737" y="1083"/>
                  </a:cubicBezTo>
                  <a:cubicBezTo>
                    <a:pt x="1733" y="1079"/>
                    <a:pt x="1728" y="1078"/>
                    <a:pt x="1722" y="1078"/>
                  </a:cubicBezTo>
                  <a:cubicBezTo>
                    <a:pt x="1709" y="1078"/>
                    <a:pt x="1693" y="1083"/>
                    <a:pt x="1678" y="1083"/>
                  </a:cubicBezTo>
                  <a:cubicBezTo>
                    <a:pt x="1667" y="1083"/>
                    <a:pt x="1642" y="1072"/>
                    <a:pt x="1631" y="1061"/>
                  </a:cubicBezTo>
                  <a:cubicBezTo>
                    <a:pt x="1631" y="1049"/>
                    <a:pt x="1631" y="1049"/>
                    <a:pt x="1619" y="1035"/>
                  </a:cubicBezTo>
                  <a:cubicBezTo>
                    <a:pt x="1619" y="1035"/>
                    <a:pt x="1608" y="1024"/>
                    <a:pt x="1597" y="1024"/>
                  </a:cubicBezTo>
                  <a:cubicBezTo>
                    <a:pt x="1572" y="1013"/>
                    <a:pt x="1561" y="1002"/>
                    <a:pt x="1561" y="980"/>
                  </a:cubicBezTo>
                  <a:cubicBezTo>
                    <a:pt x="1549" y="954"/>
                    <a:pt x="1527" y="884"/>
                    <a:pt x="1561" y="873"/>
                  </a:cubicBezTo>
                  <a:cubicBezTo>
                    <a:pt x="1572" y="873"/>
                    <a:pt x="1572" y="862"/>
                    <a:pt x="1572" y="862"/>
                  </a:cubicBezTo>
                  <a:lnTo>
                    <a:pt x="1572" y="851"/>
                  </a:lnTo>
                  <a:cubicBezTo>
                    <a:pt x="1572" y="826"/>
                    <a:pt x="1561" y="815"/>
                    <a:pt x="1572" y="792"/>
                  </a:cubicBezTo>
                  <a:cubicBezTo>
                    <a:pt x="1586" y="781"/>
                    <a:pt x="1608" y="781"/>
                    <a:pt x="1631" y="781"/>
                  </a:cubicBezTo>
                  <a:cubicBezTo>
                    <a:pt x="1634" y="784"/>
                    <a:pt x="1639" y="786"/>
                    <a:pt x="1646" y="786"/>
                  </a:cubicBezTo>
                  <a:cubicBezTo>
                    <a:pt x="1661" y="786"/>
                    <a:pt x="1681" y="778"/>
                    <a:pt x="1689" y="770"/>
                  </a:cubicBezTo>
                  <a:cubicBezTo>
                    <a:pt x="1700" y="756"/>
                    <a:pt x="1700" y="722"/>
                    <a:pt x="1689" y="700"/>
                  </a:cubicBezTo>
                  <a:cubicBezTo>
                    <a:pt x="1678" y="686"/>
                    <a:pt x="1656" y="675"/>
                    <a:pt x="1631" y="664"/>
                  </a:cubicBezTo>
                  <a:cubicBezTo>
                    <a:pt x="1597" y="664"/>
                    <a:pt x="1561" y="664"/>
                    <a:pt x="1527" y="675"/>
                  </a:cubicBezTo>
                  <a:cubicBezTo>
                    <a:pt x="1520" y="675"/>
                    <a:pt x="1506" y="680"/>
                    <a:pt x="1491" y="680"/>
                  </a:cubicBezTo>
                  <a:cubicBezTo>
                    <a:pt x="1484" y="680"/>
                    <a:pt x="1476" y="678"/>
                    <a:pt x="1468" y="675"/>
                  </a:cubicBezTo>
                  <a:cubicBezTo>
                    <a:pt x="1457" y="652"/>
                    <a:pt x="1468" y="616"/>
                    <a:pt x="1446" y="594"/>
                  </a:cubicBezTo>
                  <a:lnTo>
                    <a:pt x="1432" y="582"/>
                  </a:lnTo>
                  <a:cubicBezTo>
                    <a:pt x="1421" y="560"/>
                    <a:pt x="1432" y="546"/>
                    <a:pt x="1446" y="524"/>
                  </a:cubicBezTo>
                  <a:cubicBezTo>
                    <a:pt x="1457" y="513"/>
                    <a:pt x="1468" y="490"/>
                    <a:pt x="1457" y="476"/>
                  </a:cubicBezTo>
                  <a:cubicBezTo>
                    <a:pt x="1446" y="454"/>
                    <a:pt x="1410" y="465"/>
                    <a:pt x="1387" y="454"/>
                  </a:cubicBezTo>
                  <a:cubicBezTo>
                    <a:pt x="1376" y="443"/>
                    <a:pt x="1362" y="431"/>
                    <a:pt x="1351" y="420"/>
                  </a:cubicBezTo>
                  <a:cubicBezTo>
                    <a:pt x="1351" y="406"/>
                    <a:pt x="1340" y="406"/>
                    <a:pt x="1329" y="395"/>
                  </a:cubicBezTo>
                  <a:cubicBezTo>
                    <a:pt x="1292" y="384"/>
                    <a:pt x="1259" y="373"/>
                    <a:pt x="1236" y="362"/>
                  </a:cubicBezTo>
                  <a:cubicBezTo>
                    <a:pt x="1222" y="336"/>
                    <a:pt x="1236" y="314"/>
                    <a:pt x="1259" y="303"/>
                  </a:cubicBezTo>
                  <a:cubicBezTo>
                    <a:pt x="1281" y="292"/>
                    <a:pt x="1306" y="292"/>
                    <a:pt x="1317" y="266"/>
                  </a:cubicBezTo>
                  <a:lnTo>
                    <a:pt x="1317" y="222"/>
                  </a:lnTo>
                  <a:cubicBezTo>
                    <a:pt x="1317" y="211"/>
                    <a:pt x="1340" y="197"/>
                    <a:pt x="1340" y="185"/>
                  </a:cubicBezTo>
                  <a:cubicBezTo>
                    <a:pt x="1351" y="163"/>
                    <a:pt x="1340" y="152"/>
                    <a:pt x="1317" y="141"/>
                  </a:cubicBezTo>
                  <a:cubicBezTo>
                    <a:pt x="1306" y="127"/>
                    <a:pt x="1292" y="115"/>
                    <a:pt x="1281" y="104"/>
                  </a:cubicBezTo>
                  <a:cubicBezTo>
                    <a:pt x="1259" y="82"/>
                    <a:pt x="1247" y="57"/>
                    <a:pt x="1247" y="34"/>
                  </a:cubicBezTo>
                  <a:lnTo>
                    <a:pt x="1247" y="12"/>
                  </a:lnTo>
                  <a:cubicBezTo>
                    <a:pt x="1236" y="12"/>
                    <a:pt x="1222" y="12"/>
                    <a:pt x="121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6" name="Google Shape;394;p17">
              <a:extLst>
                <a:ext uri="{FF2B5EF4-FFF2-40B4-BE49-F238E27FC236}">
                  <a16:creationId xmlns:a16="http://schemas.microsoft.com/office/drawing/2014/main" xmlns="" id="{B2819DF7-47A0-0BBF-67BD-425B8082F7AD}"/>
                </a:ext>
              </a:extLst>
            </p:cNvPr>
            <p:cNvSpPr/>
            <p:nvPr/>
          </p:nvSpPr>
          <p:spPr>
            <a:xfrm>
              <a:off x="1382067" y="2072025"/>
              <a:ext cx="569689" cy="492235"/>
            </a:xfrm>
            <a:custGeom>
              <a:avLst/>
              <a:gdLst/>
              <a:ahLst/>
              <a:cxnLst/>
              <a:rect l="l" t="t" r="r" b="b"/>
              <a:pathLst>
                <a:path w="2471" h="2135" extrusionOk="0">
                  <a:moveTo>
                    <a:pt x="1245" y="61"/>
                  </a:moveTo>
                  <a:lnTo>
                    <a:pt x="1245" y="61"/>
                  </a:lnTo>
                  <a:cubicBezTo>
                    <a:pt x="1246" y="83"/>
                    <a:pt x="1260" y="119"/>
                    <a:pt x="1282" y="140"/>
                  </a:cubicBezTo>
                  <a:cubicBezTo>
                    <a:pt x="1304" y="166"/>
                    <a:pt x="1315" y="166"/>
                    <a:pt x="1329" y="177"/>
                  </a:cubicBezTo>
                  <a:cubicBezTo>
                    <a:pt x="1340" y="188"/>
                    <a:pt x="1340" y="199"/>
                    <a:pt x="1340" y="199"/>
                  </a:cubicBezTo>
                  <a:lnTo>
                    <a:pt x="1340" y="210"/>
                  </a:lnTo>
                  <a:cubicBezTo>
                    <a:pt x="1329" y="222"/>
                    <a:pt x="1329" y="222"/>
                    <a:pt x="1315" y="236"/>
                  </a:cubicBezTo>
                  <a:lnTo>
                    <a:pt x="1315" y="258"/>
                  </a:lnTo>
                  <a:lnTo>
                    <a:pt x="1315" y="280"/>
                  </a:lnTo>
                  <a:cubicBezTo>
                    <a:pt x="1315" y="291"/>
                    <a:pt x="1315" y="291"/>
                    <a:pt x="1304" y="291"/>
                  </a:cubicBezTo>
                  <a:cubicBezTo>
                    <a:pt x="1293" y="305"/>
                    <a:pt x="1282" y="305"/>
                    <a:pt x="1270" y="305"/>
                  </a:cubicBezTo>
                  <a:cubicBezTo>
                    <a:pt x="1259" y="317"/>
                    <a:pt x="1245" y="328"/>
                    <a:pt x="1245" y="328"/>
                  </a:cubicBezTo>
                  <a:cubicBezTo>
                    <a:pt x="1234" y="339"/>
                    <a:pt x="1223" y="350"/>
                    <a:pt x="1223" y="375"/>
                  </a:cubicBezTo>
                  <a:cubicBezTo>
                    <a:pt x="1223" y="375"/>
                    <a:pt x="1223" y="387"/>
                    <a:pt x="1234" y="398"/>
                  </a:cubicBezTo>
                  <a:lnTo>
                    <a:pt x="1245" y="409"/>
                  </a:lnTo>
                  <a:cubicBezTo>
                    <a:pt x="1270" y="420"/>
                    <a:pt x="1304" y="431"/>
                    <a:pt x="1340" y="445"/>
                  </a:cubicBezTo>
                  <a:cubicBezTo>
                    <a:pt x="1352" y="456"/>
                    <a:pt x="1352" y="456"/>
                    <a:pt x="1363" y="456"/>
                  </a:cubicBezTo>
                  <a:cubicBezTo>
                    <a:pt x="1363" y="468"/>
                    <a:pt x="1363" y="468"/>
                    <a:pt x="1374" y="479"/>
                  </a:cubicBezTo>
                  <a:cubicBezTo>
                    <a:pt x="1374" y="479"/>
                    <a:pt x="1385" y="490"/>
                    <a:pt x="1399" y="501"/>
                  </a:cubicBezTo>
                  <a:cubicBezTo>
                    <a:pt x="1410" y="515"/>
                    <a:pt x="1433" y="515"/>
                    <a:pt x="1444" y="515"/>
                  </a:cubicBezTo>
                  <a:lnTo>
                    <a:pt x="1455" y="515"/>
                  </a:lnTo>
                  <a:cubicBezTo>
                    <a:pt x="1455" y="515"/>
                    <a:pt x="1455" y="526"/>
                    <a:pt x="1444" y="538"/>
                  </a:cubicBezTo>
                  <a:cubicBezTo>
                    <a:pt x="1444" y="549"/>
                    <a:pt x="1433" y="571"/>
                    <a:pt x="1433" y="596"/>
                  </a:cubicBezTo>
                  <a:lnTo>
                    <a:pt x="1433" y="619"/>
                  </a:lnTo>
                  <a:cubicBezTo>
                    <a:pt x="1444" y="630"/>
                    <a:pt x="1455" y="630"/>
                    <a:pt x="1455" y="641"/>
                  </a:cubicBezTo>
                  <a:lnTo>
                    <a:pt x="1455" y="666"/>
                  </a:lnTo>
                  <a:cubicBezTo>
                    <a:pt x="1455" y="677"/>
                    <a:pt x="1455" y="677"/>
                    <a:pt x="1469" y="689"/>
                  </a:cubicBezTo>
                  <a:cubicBezTo>
                    <a:pt x="1469" y="700"/>
                    <a:pt x="1469" y="711"/>
                    <a:pt x="1480" y="711"/>
                  </a:cubicBezTo>
                  <a:cubicBezTo>
                    <a:pt x="1491" y="725"/>
                    <a:pt x="1503" y="736"/>
                    <a:pt x="1514" y="736"/>
                  </a:cubicBezTo>
                  <a:cubicBezTo>
                    <a:pt x="1539" y="725"/>
                    <a:pt x="1550" y="725"/>
                    <a:pt x="1561" y="725"/>
                  </a:cubicBezTo>
                  <a:cubicBezTo>
                    <a:pt x="1572" y="711"/>
                    <a:pt x="1595" y="711"/>
                    <a:pt x="1609" y="711"/>
                  </a:cubicBezTo>
                  <a:lnTo>
                    <a:pt x="1642" y="711"/>
                  </a:lnTo>
                  <a:cubicBezTo>
                    <a:pt x="1665" y="725"/>
                    <a:pt x="1690" y="736"/>
                    <a:pt x="1690" y="747"/>
                  </a:cubicBezTo>
                  <a:cubicBezTo>
                    <a:pt x="1701" y="747"/>
                    <a:pt x="1701" y="758"/>
                    <a:pt x="1701" y="758"/>
                  </a:cubicBezTo>
                  <a:cubicBezTo>
                    <a:pt x="1701" y="770"/>
                    <a:pt x="1701" y="770"/>
                    <a:pt x="1690" y="781"/>
                  </a:cubicBezTo>
                  <a:lnTo>
                    <a:pt x="1631" y="781"/>
                  </a:lnTo>
                  <a:cubicBezTo>
                    <a:pt x="1620" y="781"/>
                    <a:pt x="1609" y="781"/>
                    <a:pt x="1595" y="795"/>
                  </a:cubicBezTo>
                  <a:cubicBezTo>
                    <a:pt x="1595" y="795"/>
                    <a:pt x="1584" y="795"/>
                    <a:pt x="1572" y="806"/>
                  </a:cubicBezTo>
                  <a:cubicBezTo>
                    <a:pt x="1572" y="817"/>
                    <a:pt x="1561" y="828"/>
                    <a:pt x="1561" y="840"/>
                  </a:cubicBezTo>
                  <a:cubicBezTo>
                    <a:pt x="1561" y="851"/>
                    <a:pt x="1572" y="876"/>
                    <a:pt x="1572" y="876"/>
                  </a:cubicBezTo>
                  <a:cubicBezTo>
                    <a:pt x="1561" y="887"/>
                    <a:pt x="1550" y="887"/>
                    <a:pt x="1550" y="898"/>
                  </a:cubicBezTo>
                  <a:cubicBezTo>
                    <a:pt x="1539" y="909"/>
                    <a:pt x="1539" y="921"/>
                    <a:pt x="1539" y="935"/>
                  </a:cubicBezTo>
                  <a:cubicBezTo>
                    <a:pt x="1539" y="946"/>
                    <a:pt x="1550" y="968"/>
                    <a:pt x="1550" y="979"/>
                  </a:cubicBezTo>
                  <a:cubicBezTo>
                    <a:pt x="1550" y="991"/>
                    <a:pt x="1561" y="1005"/>
                    <a:pt x="1561" y="1005"/>
                  </a:cubicBezTo>
                  <a:cubicBezTo>
                    <a:pt x="1561" y="1016"/>
                    <a:pt x="1561" y="1038"/>
                    <a:pt x="1572" y="1049"/>
                  </a:cubicBezTo>
                  <a:cubicBezTo>
                    <a:pt x="1584" y="1060"/>
                    <a:pt x="1595" y="1074"/>
                    <a:pt x="1620" y="1074"/>
                  </a:cubicBezTo>
                  <a:lnTo>
                    <a:pt x="1631" y="1074"/>
                  </a:lnTo>
                  <a:lnTo>
                    <a:pt x="1631" y="1086"/>
                  </a:lnTo>
                  <a:lnTo>
                    <a:pt x="1631" y="1097"/>
                  </a:lnTo>
                  <a:cubicBezTo>
                    <a:pt x="1642" y="1108"/>
                    <a:pt x="1654" y="1119"/>
                    <a:pt x="1665" y="1119"/>
                  </a:cubicBezTo>
                  <a:cubicBezTo>
                    <a:pt x="1679" y="1119"/>
                    <a:pt x="1690" y="1130"/>
                    <a:pt x="1701" y="1130"/>
                  </a:cubicBezTo>
                  <a:lnTo>
                    <a:pt x="1760" y="1130"/>
                  </a:lnTo>
                  <a:cubicBezTo>
                    <a:pt x="1771" y="1130"/>
                    <a:pt x="1782" y="1144"/>
                    <a:pt x="1805" y="1156"/>
                  </a:cubicBezTo>
                  <a:lnTo>
                    <a:pt x="1888" y="1156"/>
                  </a:lnTo>
                  <a:cubicBezTo>
                    <a:pt x="1900" y="1144"/>
                    <a:pt x="1911" y="1130"/>
                    <a:pt x="1911" y="1119"/>
                  </a:cubicBezTo>
                  <a:lnTo>
                    <a:pt x="1933" y="1119"/>
                  </a:lnTo>
                  <a:lnTo>
                    <a:pt x="1933" y="1144"/>
                  </a:lnTo>
                  <a:cubicBezTo>
                    <a:pt x="1933" y="1156"/>
                    <a:pt x="1933" y="1167"/>
                    <a:pt x="1944" y="1178"/>
                  </a:cubicBezTo>
                  <a:cubicBezTo>
                    <a:pt x="1944" y="1189"/>
                    <a:pt x="1958" y="1200"/>
                    <a:pt x="1970" y="1200"/>
                  </a:cubicBezTo>
                  <a:cubicBezTo>
                    <a:pt x="1981" y="1214"/>
                    <a:pt x="1981" y="1214"/>
                    <a:pt x="1992" y="1214"/>
                  </a:cubicBezTo>
                  <a:cubicBezTo>
                    <a:pt x="2014" y="1214"/>
                    <a:pt x="2028" y="1200"/>
                    <a:pt x="2039" y="1189"/>
                  </a:cubicBezTo>
                  <a:cubicBezTo>
                    <a:pt x="2051" y="1167"/>
                    <a:pt x="2062" y="1144"/>
                    <a:pt x="2062" y="1119"/>
                  </a:cubicBezTo>
                  <a:lnTo>
                    <a:pt x="2062" y="1097"/>
                  </a:lnTo>
                  <a:cubicBezTo>
                    <a:pt x="2062" y="1086"/>
                    <a:pt x="2062" y="1086"/>
                    <a:pt x="2073" y="1074"/>
                  </a:cubicBezTo>
                  <a:lnTo>
                    <a:pt x="2132" y="1074"/>
                  </a:lnTo>
                  <a:lnTo>
                    <a:pt x="2132" y="1086"/>
                  </a:lnTo>
                  <a:lnTo>
                    <a:pt x="2132" y="1097"/>
                  </a:lnTo>
                  <a:cubicBezTo>
                    <a:pt x="2132" y="1119"/>
                    <a:pt x="2143" y="1119"/>
                    <a:pt x="2154" y="1130"/>
                  </a:cubicBezTo>
                  <a:cubicBezTo>
                    <a:pt x="2168" y="1144"/>
                    <a:pt x="2179" y="1144"/>
                    <a:pt x="2179" y="1144"/>
                  </a:cubicBezTo>
                  <a:cubicBezTo>
                    <a:pt x="2190" y="1144"/>
                    <a:pt x="2202" y="1144"/>
                    <a:pt x="2213" y="1130"/>
                  </a:cubicBezTo>
                  <a:cubicBezTo>
                    <a:pt x="2224" y="1119"/>
                    <a:pt x="2238" y="1108"/>
                    <a:pt x="2238" y="1097"/>
                  </a:cubicBezTo>
                  <a:cubicBezTo>
                    <a:pt x="2249" y="1086"/>
                    <a:pt x="2249" y="1074"/>
                    <a:pt x="2249" y="1060"/>
                  </a:cubicBezTo>
                  <a:lnTo>
                    <a:pt x="2249" y="1049"/>
                  </a:lnTo>
                  <a:lnTo>
                    <a:pt x="2260" y="1049"/>
                  </a:lnTo>
                  <a:cubicBezTo>
                    <a:pt x="2260" y="1038"/>
                    <a:pt x="2272" y="1038"/>
                    <a:pt x="2272" y="1027"/>
                  </a:cubicBezTo>
                  <a:cubicBezTo>
                    <a:pt x="2272" y="1016"/>
                    <a:pt x="2283" y="1016"/>
                    <a:pt x="2283" y="1005"/>
                  </a:cubicBezTo>
                  <a:cubicBezTo>
                    <a:pt x="2283" y="1005"/>
                    <a:pt x="2283" y="991"/>
                    <a:pt x="2272" y="991"/>
                  </a:cubicBezTo>
                  <a:cubicBezTo>
                    <a:pt x="2272" y="979"/>
                    <a:pt x="2283" y="968"/>
                    <a:pt x="2283" y="968"/>
                  </a:cubicBezTo>
                  <a:cubicBezTo>
                    <a:pt x="2294" y="979"/>
                    <a:pt x="2294" y="979"/>
                    <a:pt x="2294" y="991"/>
                  </a:cubicBezTo>
                  <a:cubicBezTo>
                    <a:pt x="2308" y="1005"/>
                    <a:pt x="2319" y="1005"/>
                    <a:pt x="2319" y="1005"/>
                  </a:cubicBezTo>
                  <a:cubicBezTo>
                    <a:pt x="2330" y="1016"/>
                    <a:pt x="2341" y="1016"/>
                    <a:pt x="2341" y="1016"/>
                  </a:cubicBezTo>
                  <a:lnTo>
                    <a:pt x="2400" y="1016"/>
                  </a:lnTo>
                  <a:cubicBezTo>
                    <a:pt x="2411" y="1027"/>
                    <a:pt x="2423" y="1038"/>
                    <a:pt x="2423" y="1049"/>
                  </a:cubicBezTo>
                  <a:lnTo>
                    <a:pt x="2423" y="1060"/>
                  </a:lnTo>
                  <a:lnTo>
                    <a:pt x="2423" y="1086"/>
                  </a:lnTo>
                  <a:cubicBezTo>
                    <a:pt x="2411" y="1086"/>
                    <a:pt x="2400" y="1086"/>
                    <a:pt x="2389" y="1097"/>
                  </a:cubicBezTo>
                  <a:cubicBezTo>
                    <a:pt x="2364" y="1108"/>
                    <a:pt x="2341" y="1119"/>
                    <a:pt x="2330" y="1156"/>
                  </a:cubicBezTo>
                  <a:lnTo>
                    <a:pt x="2330" y="1178"/>
                  </a:lnTo>
                  <a:cubicBezTo>
                    <a:pt x="2330" y="1200"/>
                    <a:pt x="2341" y="1225"/>
                    <a:pt x="2353" y="1237"/>
                  </a:cubicBezTo>
                  <a:cubicBezTo>
                    <a:pt x="2364" y="1259"/>
                    <a:pt x="2364" y="1270"/>
                    <a:pt x="2364" y="1284"/>
                  </a:cubicBezTo>
                  <a:lnTo>
                    <a:pt x="2364" y="1295"/>
                  </a:lnTo>
                  <a:lnTo>
                    <a:pt x="2364" y="1307"/>
                  </a:lnTo>
                  <a:lnTo>
                    <a:pt x="2364" y="1329"/>
                  </a:lnTo>
                  <a:lnTo>
                    <a:pt x="2364" y="1354"/>
                  </a:lnTo>
                  <a:cubicBezTo>
                    <a:pt x="2364" y="1365"/>
                    <a:pt x="2378" y="1365"/>
                    <a:pt x="2378" y="1376"/>
                  </a:cubicBezTo>
                  <a:lnTo>
                    <a:pt x="2378" y="1410"/>
                  </a:lnTo>
                  <a:lnTo>
                    <a:pt x="2378" y="1435"/>
                  </a:lnTo>
                  <a:cubicBezTo>
                    <a:pt x="2364" y="1446"/>
                    <a:pt x="2364" y="1446"/>
                    <a:pt x="2353" y="1458"/>
                  </a:cubicBezTo>
                  <a:lnTo>
                    <a:pt x="2353" y="1480"/>
                  </a:lnTo>
                  <a:lnTo>
                    <a:pt x="2353" y="1494"/>
                  </a:lnTo>
                  <a:lnTo>
                    <a:pt x="2353" y="1550"/>
                  </a:lnTo>
                  <a:lnTo>
                    <a:pt x="2353" y="1586"/>
                  </a:lnTo>
                  <a:cubicBezTo>
                    <a:pt x="2353" y="1597"/>
                    <a:pt x="2341" y="1609"/>
                    <a:pt x="2341" y="1609"/>
                  </a:cubicBezTo>
                  <a:lnTo>
                    <a:pt x="2294" y="1609"/>
                  </a:lnTo>
                  <a:cubicBezTo>
                    <a:pt x="2283" y="1609"/>
                    <a:pt x="2272" y="1609"/>
                    <a:pt x="2260" y="1620"/>
                  </a:cubicBezTo>
                  <a:cubicBezTo>
                    <a:pt x="2260" y="1620"/>
                    <a:pt x="2249" y="1634"/>
                    <a:pt x="2238" y="1645"/>
                  </a:cubicBezTo>
                  <a:lnTo>
                    <a:pt x="2224" y="1656"/>
                  </a:lnTo>
                  <a:lnTo>
                    <a:pt x="2224" y="1667"/>
                  </a:lnTo>
                  <a:lnTo>
                    <a:pt x="2202" y="1667"/>
                  </a:lnTo>
                  <a:cubicBezTo>
                    <a:pt x="2190" y="1667"/>
                    <a:pt x="2179" y="1667"/>
                    <a:pt x="2168" y="1678"/>
                  </a:cubicBezTo>
                  <a:cubicBezTo>
                    <a:pt x="2154" y="1678"/>
                    <a:pt x="2143" y="1690"/>
                    <a:pt x="2132" y="1704"/>
                  </a:cubicBezTo>
                  <a:cubicBezTo>
                    <a:pt x="2132" y="1704"/>
                    <a:pt x="2121" y="1704"/>
                    <a:pt x="2121" y="1726"/>
                  </a:cubicBezTo>
                  <a:lnTo>
                    <a:pt x="2109" y="1726"/>
                  </a:lnTo>
                  <a:cubicBezTo>
                    <a:pt x="2109" y="1737"/>
                    <a:pt x="2121" y="1748"/>
                    <a:pt x="2121" y="1748"/>
                  </a:cubicBezTo>
                  <a:cubicBezTo>
                    <a:pt x="2132" y="1773"/>
                    <a:pt x="2132" y="1796"/>
                    <a:pt x="2132" y="1807"/>
                  </a:cubicBezTo>
                  <a:lnTo>
                    <a:pt x="2132" y="1818"/>
                  </a:lnTo>
                  <a:lnTo>
                    <a:pt x="2121" y="1818"/>
                  </a:lnTo>
                  <a:cubicBezTo>
                    <a:pt x="2109" y="1843"/>
                    <a:pt x="2098" y="1866"/>
                    <a:pt x="2098" y="1888"/>
                  </a:cubicBezTo>
                  <a:lnTo>
                    <a:pt x="2098" y="1899"/>
                  </a:lnTo>
                  <a:cubicBezTo>
                    <a:pt x="2098" y="1899"/>
                    <a:pt x="2096" y="1899"/>
                    <a:pt x="2093" y="1900"/>
                  </a:cubicBezTo>
                  <a:lnTo>
                    <a:pt x="2093" y="1900"/>
                  </a:lnTo>
                  <a:cubicBezTo>
                    <a:pt x="2086" y="1897"/>
                    <a:pt x="2079" y="1894"/>
                    <a:pt x="2073" y="1888"/>
                  </a:cubicBezTo>
                  <a:cubicBezTo>
                    <a:pt x="2062" y="1888"/>
                    <a:pt x="2051" y="1877"/>
                    <a:pt x="2028" y="1877"/>
                  </a:cubicBezTo>
                  <a:cubicBezTo>
                    <a:pt x="2014" y="1877"/>
                    <a:pt x="1992" y="1888"/>
                    <a:pt x="1992" y="1888"/>
                  </a:cubicBezTo>
                  <a:cubicBezTo>
                    <a:pt x="1981" y="1899"/>
                    <a:pt x="1970" y="1913"/>
                    <a:pt x="1958" y="1924"/>
                  </a:cubicBezTo>
                  <a:cubicBezTo>
                    <a:pt x="1958" y="1936"/>
                    <a:pt x="1944" y="1947"/>
                    <a:pt x="1933" y="1958"/>
                  </a:cubicBezTo>
                  <a:cubicBezTo>
                    <a:pt x="1933" y="1969"/>
                    <a:pt x="1922" y="1983"/>
                    <a:pt x="1911" y="1983"/>
                  </a:cubicBezTo>
                  <a:cubicBezTo>
                    <a:pt x="1900" y="1994"/>
                    <a:pt x="1900" y="1994"/>
                    <a:pt x="1888" y="1994"/>
                  </a:cubicBezTo>
                  <a:cubicBezTo>
                    <a:pt x="1852" y="1994"/>
                    <a:pt x="1819" y="1983"/>
                    <a:pt x="1771" y="1969"/>
                  </a:cubicBezTo>
                  <a:cubicBezTo>
                    <a:pt x="1749" y="1958"/>
                    <a:pt x="1723" y="1958"/>
                    <a:pt x="1690" y="1958"/>
                  </a:cubicBezTo>
                  <a:cubicBezTo>
                    <a:pt x="1631" y="1958"/>
                    <a:pt x="1561" y="1969"/>
                    <a:pt x="1514" y="2017"/>
                  </a:cubicBezTo>
                  <a:cubicBezTo>
                    <a:pt x="1491" y="2028"/>
                    <a:pt x="1480" y="2053"/>
                    <a:pt x="1455" y="2064"/>
                  </a:cubicBezTo>
                  <a:cubicBezTo>
                    <a:pt x="1433" y="2075"/>
                    <a:pt x="1410" y="2087"/>
                    <a:pt x="1399" y="2087"/>
                  </a:cubicBezTo>
                  <a:cubicBezTo>
                    <a:pt x="1385" y="2087"/>
                    <a:pt x="1385" y="2087"/>
                    <a:pt x="1374" y="2075"/>
                  </a:cubicBezTo>
                  <a:cubicBezTo>
                    <a:pt x="1374" y="2075"/>
                    <a:pt x="1363" y="2064"/>
                    <a:pt x="1363" y="2053"/>
                  </a:cubicBezTo>
                  <a:lnTo>
                    <a:pt x="1363" y="2006"/>
                  </a:lnTo>
                  <a:cubicBezTo>
                    <a:pt x="1363" y="1983"/>
                    <a:pt x="1352" y="1958"/>
                    <a:pt x="1340" y="1936"/>
                  </a:cubicBezTo>
                  <a:cubicBezTo>
                    <a:pt x="1329" y="1899"/>
                    <a:pt x="1304" y="1888"/>
                    <a:pt x="1282" y="1877"/>
                  </a:cubicBezTo>
                  <a:cubicBezTo>
                    <a:pt x="1223" y="1843"/>
                    <a:pt x="1189" y="1759"/>
                    <a:pt x="1189" y="1690"/>
                  </a:cubicBezTo>
                  <a:lnTo>
                    <a:pt x="1189" y="1667"/>
                  </a:lnTo>
                  <a:lnTo>
                    <a:pt x="1189" y="1656"/>
                  </a:lnTo>
                  <a:lnTo>
                    <a:pt x="1175" y="1645"/>
                  </a:lnTo>
                  <a:lnTo>
                    <a:pt x="1153" y="1645"/>
                  </a:lnTo>
                  <a:cubicBezTo>
                    <a:pt x="1142" y="1645"/>
                    <a:pt x="1131" y="1645"/>
                    <a:pt x="1119" y="1656"/>
                  </a:cubicBezTo>
                  <a:cubicBezTo>
                    <a:pt x="1106" y="1667"/>
                    <a:pt x="1094" y="1678"/>
                    <a:pt x="1094" y="1690"/>
                  </a:cubicBezTo>
                  <a:cubicBezTo>
                    <a:pt x="1083" y="1704"/>
                    <a:pt x="1083" y="1726"/>
                    <a:pt x="1083" y="1737"/>
                  </a:cubicBezTo>
                  <a:cubicBezTo>
                    <a:pt x="1083" y="1748"/>
                    <a:pt x="1083" y="1759"/>
                    <a:pt x="1094" y="1773"/>
                  </a:cubicBezTo>
                  <a:cubicBezTo>
                    <a:pt x="1094" y="1796"/>
                    <a:pt x="1106" y="1829"/>
                    <a:pt x="1106" y="1843"/>
                  </a:cubicBezTo>
                  <a:cubicBezTo>
                    <a:pt x="1106" y="1855"/>
                    <a:pt x="1106" y="1866"/>
                    <a:pt x="1094" y="1877"/>
                  </a:cubicBezTo>
                  <a:lnTo>
                    <a:pt x="1072" y="1877"/>
                  </a:lnTo>
                  <a:cubicBezTo>
                    <a:pt x="1061" y="1888"/>
                    <a:pt x="1036" y="1888"/>
                    <a:pt x="1024" y="1899"/>
                  </a:cubicBezTo>
                  <a:cubicBezTo>
                    <a:pt x="1013" y="1899"/>
                    <a:pt x="1002" y="1913"/>
                    <a:pt x="991" y="1924"/>
                  </a:cubicBezTo>
                  <a:cubicBezTo>
                    <a:pt x="980" y="1947"/>
                    <a:pt x="980" y="1969"/>
                    <a:pt x="966" y="1983"/>
                  </a:cubicBezTo>
                  <a:cubicBezTo>
                    <a:pt x="966" y="1994"/>
                    <a:pt x="966" y="2017"/>
                    <a:pt x="955" y="2017"/>
                  </a:cubicBezTo>
                  <a:cubicBezTo>
                    <a:pt x="943" y="2028"/>
                    <a:pt x="921" y="2039"/>
                    <a:pt x="910" y="2053"/>
                  </a:cubicBezTo>
                  <a:lnTo>
                    <a:pt x="873" y="2053"/>
                  </a:lnTo>
                  <a:cubicBezTo>
                    <a:pt x="840" y="2053"/>
                    <a:pt x="804" y="2039"/>
                    <a:pt x="770" y="2017"/>
                  </a:cubicBezTo>
                  <a:cubicBezTo>
                    <a:pt x="745" y="1994"/>
                    <a:pt x="722" y="1958"/>
                    <a:pt x="711" y="1924"/>
                  </a:cubicBezTo>
                  <a:lnTo>
                    <a:pt x="711" y="1877"/>
                  </a:lnTo>
                  <a:lnTo>
                    <a:pt x="711" y="1843"/>
                  </a:lnTo>
                  <a:lnTo>
                    <a:pt x="711" y="1737"/>
                  </a:lnTo>
                  <a:lnTo>
                    <a:pt x="711" y="1726"/>
                  </a:lnTo>
                  <a:lnTo>
                    <a:pt x="711" y="1690"/>
                  </a:lnTo>
                  <a:cubicBezTo>
                    <a:pt x="700" y="1667"/>
                    <a:pt x="700" y="1656"/>
                    <a:pt x="675" y="1645"/>
                  </a:cubicBezTo>
                  <a:cubicBezTo>
                    <a:pt x="686" y="1645"/>
                    <a:pt x="686" y="1634"/>
                    <a:pt x="686" y="1634"/>
                  </a:cubicBezTo>
                  <a:cubicBezTo>
                    <a:pt x="686" y="1620"/>
                    <a:pt x="686" y="1620"/>
                    <a:pt x="675" y="1609"/>
                  </a:cubicBezTo>
                  <a:lnTo>
                    <a:pt x="675" y="1586"/>
                  </a:lnTo>
                  <a:cubicBezTo>
                    <a:pt x="664" y="1575"/>
                    <a:pt x="664" y="1575"/>
                    <a:pt x="653" y="1575"/>
                  </a:cubicBezTo>
                  <a:cubicBezTo>
                    <a:pt x="653" y="1564"/>
                    <a:pt x="641" y="1564"/>
                    <a:pt x="630" y="1564"/>
                  </a:cubicBezTo>
                  <a:cubicBezTo>
                    <a:pt x="605" y="1575"/>
                    <a:pt x="605" y="1575"/>
                    <a:pt x="594" y="1575"/>
                  </a:cubicBezTo>
                  <a:cubicBezTo>
                    <a:pt x="583" y="1575"/>
                    <a:pt x="583" y="1575"/>
                    <a:pt x="571" y="1564"/>
                  </a:cubicBezTo>
                  <a:lnTo>
                    <a:pt x="571" y="1539"/>
                  </a:lnTo>
                  <a:lnTo>
                    <a:pt x="571" y="1505"/>
                  </a:lnTo>
                  <a:lnTo>
                    <a:pt x="571" y="1469"/>
                  </a:lnTo>
                  <a:lnTo>
                    <a:pt x="571" y="1446"/>
                  </a:lnTo>
                  <a:lnTo>
                    <a:pt x="571" y="1388"/>
                  </a:lnTo>
                  <a:cubicBezTo>
                    <a:pt x="571" y="1354"/>
                    <a:pt x="571" y="1318"/>
                    <a:pt x="560" y="1284"/>
                  </a:cubicBezTo>
                  <a:lnTo>
                    <a:pt x="560" y="1237"/>
                  </a:lnTo>
                  <a:cubicBezTo>
                    <a:pt x="560" y="1225"/>
                    <a:pt x="560" y="1200"/>
                    <a:pt x="546" y="1189"/>
                  </a:cubicBezTo>
                  <a:lnTo>
                    <a:pt x="546" y="1178"/>
                  </a:lnTo>
                  <a:lnTo>
                    <a:pt x="535" y="1167"/>
                  </a:lnTo>
                  <a:lnTo>
                    <a:pt x="490" y="1167"/>
                  </a:lnTo>
                  <a:cubicBezTo>
                    <a:pt x="476" y="1178"/>
                    <a:pt x="465" y="1178"/>
                    <a:pt x="465" y="1178"/>
                  </a:cubicBezTo>
                  <a:lnTo>
                    <a:pt x="454" y="1178"/>
                  </a:lnTo>
                  <a:cubicBezTo>
                    <a:pt x="443" y="1167"/>
                    <a:pt x="443" y="1167"/>
                    <a:pt x="443" y="1156"/>
                  </a:cubicBezTo>
                  <a:cubicBezTo>
                    <a:pt x="432" y="1144"/>
                    <a:pt x="420" y="1130"/>
                    <a:pt x="406" y="1130"/>
                  </a:cubicBezTo>
                  <a:lnTo>
                    <a:pt x="395" y="1130"/>
                  </a:lnTo>
                  <a:lnTo>
                    <a:pt x="395" y="1119"/>
                  </a:lnTo>
                  <a:lnTo>
                    <a:pt x="384" y="1108"/>
                  </a:lnTo>
                  <a:cubicBezTo>
                    <a:pt x="373" y="1086"/>
                    <a:pt x="373" y="1074"/>
                    <a:pt x="373" y="1049"/>
                  </a:cubicBezTo>
                  <a:lnTo>
                    <a:pt x="373" y="979"/>
                  </a:lnTo>
                  <a:cubicBezTo>
                    <a:pt x="362" y="957"/>
                    <a:pt x="351" y="935"/>
                    <a:pt x="337" y="921"/>
                  </a:cubicBezTo>
                  <a:cubicBezTo>
                    <a:pt x="325" y="909"/>
                    <a:pt x="303" y="898"/>
                    <a:pt x="281" y="898"/>
                  </a:cubicBezTo>
                  <a:cubicBezTo>
                    <a:pt x="267" y="898"/>
                    <a:pt x="255" y="898"/>
                    <a:pt x="244" y="909"/>
                  </a:cubicBezTo>
                  <a:cubicBezTo>
                    <a:pt x="233" y="909"/>
                    <a:pt x="222" y="921"/>
                    <a:pt x="222" y="921"/>
                  </a:cubicBezTo>
                  <a:lnTo>
                    <a:pt x="211" y="935"/>
                  </a:lnTo>
                  <a:lnTo>
                    <a:pt x="197" y="946"/>
                  </a:lnTo>
                  <a:cubicBezTo>
                    <a:pt x="186" y="946"/>
                    <a:pt x="174" y="935"/>
                    <a:pt x="163" y="935"/>
                  </a:cubicBezTo>
                  <a:cubicBezTo>
                    <a:pt x="163" y="921"/>
                    <a:pt x="152" y="921"/>
                    <a:pt x="141" y="909"/>
                  </a:cubicBezTo>
                  <a:cubicBezTo>
                    <a:pt x="120" y="900"/>
                    <a:pt x="101" y="891"/>
                    <a:pt x="74" y="888"/>
                  </a:cubicBezTo>
                  <a:lnTo>
                    <a:pt x="74" y="888"/>
                  </a:lnTo>
                  <a:cubicBezTo>
                    <a:pt x="71" y="881"/>
                    <a:pt x="71" y="876"/>
                    <a:pt x="71" y="876"/>
                  </a:cubicBezTo>
                  <a:cubicBezTo>
                    <a:pt x="71" y="865"/>
                    <a:pt x="71" y="851"/>
                    <a:pt x="82" y="828"/>
                  </a:cubicBezTo>
                  <a:lnTo>
                    <a:pt x="82" y="817"/>
                  </a:lnTo>
                  <a:cubicBezTo>
                    <a:pt x="82" y="806"/>
                    <a:pt x="71" y="795"/>
                    <a:pt x="57" y="770"/>
                  </a:cubicBezTo>
                  <a:lnTo>
                    <a:pt x="46" y="770"/>
                  </a:lnTo>
                  <a:cubicBezTo>
                    <a:pt x="46" y="770"/>
                    <a:pt x="46" y="758"/>
                    <a:pt x="57" y="747"/>
                  </a:cubicBezTo>
                  <a:lnTo>
                    <a:pt x="57" y="736"/>
                  </a:lnTo>
                  <a:lnTo>
                    <a:pt x="71" y="736"/>
                  </a:lnTo>
                  <a:cubicBezTo>
                    <a:pt x="71" y="725"/>
                    <a:pt x="82" y="725"/>
                    <a:pt x="93" y="711"/>
                  </a:cubicBezTo>
                  <a:lnTo>
                    <a:pt x="104" y="700"/>
                  </a:lnTo>
                  <a:cubicBezTo>
                    <a:pt x="116" y="700"/>
                    <a:pt x="127" y="700"/>
                    <a:pt x="141" y="711"/>
                  </a:cubicBezTo>
                  <a:lnTo>
                    <a:pt x="163" y="725"/>
                  </a:lnTo>
                  <a:lnTo>
                    <a:pt x="163" y="689"/>
                  </a:lnTo>
                  <a:lnTo>
                    <a:pt x="163" y="677"/>
                  </a:lnTo>
                  <a:cubicBezTo>
                    <a:pt x="163" y="666"/>
                    <a:pt x="163" y="655"/>
                    <a:pt x="152" y="641"/>
                  </a:cubicBezTo>
                  <a:cubicBezTo>
                    <a:pt x="152" y="630"/>
                    <a:pt x="141" y="619"/>
                    <a:pt x="127" y="607"/>
                  </a:cubicBezTo>
                  <a:cubicBezTo>
                    <a:pt x="116" y="596"/>
                    <a:pt x="116" y="585"/>
                    <a:pt x="116" y="585"/>
                  </a:cubicBezTo>
                  <a:lnTo>
                    <a:pt x="116" y="560"/>
                  </a:lnTo>
                  <a:cubicBezTo>
                    <a:pt x="127" y="560"/>
                    <a:pt x="127" y="549"/>
                    <a:pt x="141" y="549"/>
                  </a:cubicBezTo>
                  <a:lnTo>
                    <a:pt x="152" y="549"/>
                  </a:lnTo>
                  <a:cubicBezTo>
                    <a:pt x="163" y="549"/>
                    <a:pt x="174" y="560"/>
                    <a:pt x="186" y="560"/>
                  </a:cubicBezTo>
                  <a:lnTo>
                    <a:pt x="197" y="571"/>
                  </a:lnTo>
                  <a:cubicBezTo>
                    <a:pt x="211" y="585"/>
                    <a:pt x="222" y="585"/>
                    <a:pt x="233" y="585"/>
                  </a:cubicBezTo>
                  <a:lnTo>
                    <a:pt x="244" y="585"/>
                  </a:lnTo>
                  <a:cubicBezTo>
                    <a:pt x="255" y="585"/>
                    <a:pt x="255" y="571"/>
                    <a:pt x="267" y="571"/>
                  </a:cubicBezTo>
                  <a:cubicBezTo>
                    <a:pt x="267" y="560"/>
                    <a:pt x="267" y="560"/>
                    <a:pt x="281" y="560"/>
                  </a:cubicBezTo>
                  <a:cubicBezTo>
                    <a:pt x="281" y="549"/>
                    <a:pt x="292" y="538"/>
                    <a:pt x="303" y="538"/>
                  </a:cubicBezTo>
                  <a:lnTo>
                    <a:pt x="303" y="549"/>
                  </a:lnTo>
                  <a:lnTo>
                    <a:pt x="314" y="549"/>
                  </a:lnTo>
                  <a:cubicBezTo>
                    <a:pt x="314" y="560"/>
                    <a:pt x="314" y="571"/>
                    <a:pt x="325" y="585"/>
                  </a:cubicBezTo>
                  <a:cubicBezTo>
                    <a:pt x="337" y="596"/>
                    <a:pt x="351" y="596"/>
                    <a:pt x="362" y="596"/>
                  </a:cubicBezTo>
                  <a:lnTo>
                    <a:pt x="395" y="596"/>
                  </a:lnTo>
                  <a:cubicBezTo>
                    <a:pt x="406" y="585"/>
                    <a:pt x="420" y="571"/>
                    <a:pt x="432" y="560"/>
                  </a:cubicBezTo>
                  <a:cubicBezTo>
                    <a:pt x="454" y="549"/>
                    <a:pt x="476" y="549"/>
                    <a:pt x="502" y="549"/>
                  </a:cubicBezTo>
                  <a:cubicBezTo>
                    <a:pt x="524" y="549"/>
                    <a:pt x="546" y="549"/>
                    <a:pt x="571" y="560"/>
                  </a:cubicBezTo>
                  <a:cubicBezTo>
                    <a:pt x="583" y="571"/>
                    <a:pt x="583" y="585"/>
                    <a:pt x="583" y="585"/>
                  </a:cubicBezTo>
                  <a:lnTo>
                    <a:pt x="583" y="607"/>
                  </a:lnTo>
                  <a:cubicBezTo>
                    <a:pt x="583" y="655"/>
                    <a:pt x="616" y="689"/>
                    <a:pt x="664" y="700"/>
                  </a:cubicBezTo>
                  <a:cubicBezTo>
                    <a:pt x="664" y="700"/>
                    <a:pt x="664" y="711"/>
                    <a:pt x="675" y="711"/>
                  </a:cubicBezTo>
                  <a:cubicBezTo>
                    <a:pt x="686" y="711"/>
                    <a:pt x="686" y="700"/>
                    <a:pt x="700" y="700"/>
                  </a:cubicBezTo>
                  <a:cubicBezTo>
                    <a:pt x="711" y="700"/>
                    <a:pt x="722" y="689"/>
                    <a:pt x="722" y="677"/>
                  </a:cubicBezTo>
                  <a:lnTo>
                    <a:pt x="722" y="641"/>
                  </a:lnTo>
                  <a:lnTo>
                    <a:pt x="734" y="630"/>
                  </a:lnTo>
                  <a:lnTo>
                    <a:pt x="745" y="630"/>
                  </a:lnTo>
                  <a:cubicBezTo>
                    <a:pt x="756" y="630"/>
                    <a:pt x="756" y="630"/>
                    <a:pt x="770" y="641"/>
                  </a:cubicBezTo>
                  <a:cubicBezTo>
                    <a:pt x="781" y="655"/>
                    <a:pt x="792" y="666"/>
                    <a:pt x="815" y="666"/>
                  </a:cubicBezTo>
                  <a:cubicBezTo>
                    <a:pt x="826" y="666"/>
                    <a:pt x="851" y="655"/>
                    <a:pt x="862" y="641"/>
                  </a:cubicBezTo>
                  <a:lnTo>
                    <a:pt x="862" y="607"/>
                  </a:lnTo>
                  <a:cubicBezTo>
                    <a:pt x="862" y="596"/>
                    <a:pt x="862" y="585"/>
                    <a:pt x="851" y="571"/>
                  </a:cubicBezTo>
                  <a:cubicBezTo>
                    <a:pt x="840" y="560"/>
                    <a:pt x="840" y="549"/>
                    <a:pt x="826" y="538"/>
                  </a:cubicBezTo>
                  <a:cubicBezTo>
                    <a:pt x="815" y="526"/>
                    <a:pt x="815" y="515"/>
                    <a:pt x="815" y="515"/>
                  </a:cubicBezTo>
                  <a:cubicBezTo>
                    <a:pt x="815" y="501"/>
                    <a:pt x="826" y="501"/>
                    <a:pt x="840" y="490"/>
                  </a:cubicBezTo>
                  <a:cubicBezTo>
                    <a:pt x="851" y="479"/>
                    <a:pt x="851" y="456"/>
                    <a:pt x="851" y="445"/>
                  </a:cubicBezTo>
                  <a:cubicBezTo>
                    <a:pt x="851" y="420"/>
                    <a:pt x="851" y="398"/>
                    <a:pt x="840" y="387"/>
                  </a:cubicBezTo>
                  <a:cubicBezTo>
                    <a:pt x="815" y="361"/>
                    <a:pt x="792" y="339"/>
                    <a:pt x="781" y="328"/>
                  </a:cubicBezTo>
                  <a:cubicBezTo>
                    <a:pt x="781" y="317"/>
                    <a:pt x="770" y="305"/>
                    <a:pt x="770" y="305"/>
                  </a:cubicBezTo>
                  <a:cubicBezTo>
                    <a:pt x="763" y="298"/>
                    <a:pt x="759" y="292"/>
                    <a:pt x="756" y="287"/>
                  </a:cubicBezTo>
                  <a:lnTo>
                    <a:pt x="756" y="287"/>
                  </a:lnTo>
                  <a:cubicBezTo>
                    <a:pt x="755" y="266"/>
                    <a:pt x="745" y="246"/>
                    <a:pt x="745" y="236"/>
                  </a:cubicBezTo>
                  <a:cubicBezTo>
                    <a:pt x="745" y="222"/>
                    <a:pt x="756" y="210"/>
                    <a:pt x="756" y="210"/>
                  </a:cubicBezTo>
                  <a:cubicBezTo>
                    <a:pt x="756" y="199"/>
                    <a:pt x="756" y="199"/>
                    <a:pt x="770" y="199"/>
                  </a:cubicBezTo>
                  <a:cubicBezTo>
                    <a:pt x="770" y="188"/>
                    <a:pt x="781" y="188"/>
                    <a:pt x="792" y="188"/>
                  </a:cubicBezTo>
                  <a:cubicBezTo>
                    <a:pt x="804" y="188"/>
                    <a:pt x="826" y="188"/>
                    <a:pt x="840" y="177"/>
                  </a:cubicBezTo>
                  <a:cubicBezTo>
                    <a:pt x="851" y="166"/>
                    <a:pt x="851" y="152"/>
                    <a:pt x="851" y="152"/>
                  </a:cubicBezTo>
                  <a:cubicBezTo>
                    <a:pt x="862" y="140"/>
                    <a:pt x="862" y="140"/>
                    <a:pt x="862" y="129"/>
                  </a:cubicBezTo>
                  <a:cubicBezTo>
                    <a:pt x="873" y="129"/>
                    <a:pt x="885" y="118"/>
                    <a:pt x="896" y="118"/>
                  </a:cubicBezTo>
                  <a:cubicBezTo>
                    <a:pt x="921" y="118"/>
                    <a:pt x="943" y="129"/>
                    <a:pt x="955" y="140"/>
                  </a:cubicBezTo>
                  <a:cubicBezTo>
                    <a:pt x="966" y="140"/>
                    <a:pt x="980" y="152"/>
                    <a:pt x="991" y="152"/>
                  </a:cubicBezTo>
                  <a:cubicBezTo>
                    <a:pt x="1013" y="166"/>
                    <a:pt x="1036" y="177"/>
                    <a:pt x="1061" y="177"/>
                  </a:cubicBezTo>
                  <a:cubicBezTo>
                    <a:pt x="1083" y="177"/>
                    <a:pt x="1094" y="177"/>
                    <a:pt x="1106" y="166"/>
                  </a:cubicBezTo>
                  <a:cubicBezTo>
                    <a:pt x="1131" y="152"/>
                    <a:pt x="1142" y="129"/>
                    <a:pt x="1153" y="118"/>
                  </a:cubicBezTo>
                  <a:cubicBezTo>
                    <a:pt x="1164" y="107"/>
                    <a:pt x="1175" y="107"/>
                    <a:pt x="1189" y="96"/>
                  </a:cubicBezTo>
                  <a:cubicBezTo>
                    <a:pt x="1206" y="96"/>
                    <a:pt x="1229" y="82"/>
                    <a:pt x="1245" y="61"/>
                  </a:cubicBezTo>
                  <a:close/>
                  <a:moveTo>
                    <a:pt x="1212" y="1"/>
                  </a:moveTo>
                  <a:lnTo>
                    <a:pt x="1212" y="26"/>
                  </a:lnTo>
                  <a:cubicBezTo>
                    <a:pt x="1201" y="37"/>
                    <a:pt x="1189" y="48"/>
                    <a:pt x="1175" y="59"/>
                  </a:cubicBezTo>
                  <a:cubicBezTo>
                    <a:pt x="1153" y="59"/>
                    <a:pt x="1131" y="71"/>
                    <a:pt x="1119" y="96"/>
                  </a:cubicBezTo>
                  <a:cubicBezTo>
                    <a:pt x="1106" y="107"/>
                    <a:pt x="1094" y="118"/>
                    <a:pt x="1083" y="118"/>
                  </a:cubicBezTo>
                  <a:cubicBezTo>
                    <a:pt x="1083" y="129"/>
                    <a:pt x="1072" y="129"/>
                    <a:pt x="1061" y="129"/>
                  </a:cubicBezTo>
                  <a:cubicBezTo>
                    <a:pt x="1050" y="129"/>
                    <a:pt x="1036" y="129"/>
                    <a:pt x="1013" y="118"/>
                  </a:cubicBezTo>
                  <a:cubicBezTo>
                    <a:pt x="1002" y="107"/>
                    <a:pt x="991" y="107"/>
                    <a:pt x="980" y="96"/>
                  </a:cubicBezTo>
                  <a:cubicBezTo>
                    <a:pt x="955" y="82"/>
                    <a:pt x="932" y="71"/>
                    <a:pt x="896" y="71"/>
                  </a:cubicBezTo>
                  <a:cubicBezTo>
                    <a:pt x="873" y="71"/>
                    <a:pt x="851" y="82"/>
                    <a:pt x="826" y="107"/>
                  </a:cubicBezTo>
                  <a:cubicBezTo>
                    <a:pt x="826" y="118"/>
                    <a:pt x="815" y="118"/>
                    <a:pt x="815" y="129"/>
                  </a:cubicBezTo>
                  <a:lnTo>
                    <a:pt x="804" y="140"/>
                  </a:lnTo>
                  <a:lnTo>
                    <a:pt x="792" y="140"/>
                  </a:lnTo>
                  <a:cubicBezTo>
                    <a:pt x="781" y="140"/>
                    <a:pt x="756" y="140"/>
                    <a:pt x="745" y="152"/>
                  </a:cubicBezTo>
                  <a:cubicBezTo>
                    <a:pt x="722" y="166"/>
                    <a:pt x="722" y="177"/>
                    <a:pt x="711" y="188"/>
                  </a:cubicBezTo>
                  <a:cubicBezTo>
                    <a:pt x="711" y="199"/>
                    <a:pt x="700" y="222"/>
                    <a:pt x="700" y="236"/>
                  </a:cubicBezTo>
                  <a:cubicBezTo>
                    <a:pt x="700" y="258"/>
                    <a:pt x="711" y="280"/>
                    <a:pt x="711" y="291"/>
                  </a:cubicBezTo>
                  <a:lnTo>
                    <a:pt x="711" y="317"/>
                  </a:lnTo>
                  <a:lnTo>
                    <a:pt x="722" y="317"/>
                  </a:lnTo>
                  <a:lnTo>
                    <a:pt x="734" y="328"/>
                  </a:lnTo>
                  <a:cubicBezTo>
                    <a:pt x="734" y="328"/>
                    <a:pt x="734" y="339"/>
                    <a:pt x="745" y="350"/>
                  </a:cubicBezTo>
                  <a:cubicBezTo>
                    <a:pt x="756" y="375"/>
                    <a:pt x="781" y="398"/>
                    <a:pt x="792" y="409"/>
                  </a:cubicBezTo>
                  <a:cubicBezTo>
                    <a:pt x="804" y="420"/>
                    <a:pt x="804" y="431"/>
                    <a:pt x="804" y="445"/>
                  </a:cubicBezTo>
                  <a:lnTo>
                    <a:pt x="804" y="456"/>
                  </a:lnTo>
                  <a:cubicBezTo>
                    <a:pt x="804" y="468"/>
                    <a:pt x="792" y="468"/>
                    <a:pt x="781" y="479"/>
                  </a:cubicBezTo>
                  <a:cubicBezTo>
                    <a:pt x="770" y="490"/>
                    <a:pt x="770" y="501"/>
                    <a:pt x="770" y="515"/>
                  </a:cubicBezTo>
                  <a:cubicBezTo>
                    <a:pt x="770" y="538"/>
                    <a:pt x="781" y="560"/>
                    <a:pt x="792" y="571"/>
                  </a:cubicBezTo>
                  <a:lnTo>
                    <a:pt x="815" y="596"/>
                  </a:lnTo>
                  <a:lnTo>
                    <a:pt x="815" y="607"/>
                  </a:lnTo>
                  <a:lnTo>
                    <a:pt x="815" y="619"/>
                  </a:lnTo>
                  <a:cubicBezTo>
                    <a:pt x="815" y="619"/>
                    <a:pt x="804" y="607"/>
                    <a:pt x="792" y="607"/>
                  </a:cubicBezTo>
                  <a:cubicBezTo>
                    <a:pt x="781" y="596"/>
                    <a:pt x="781" y="596"/>
                    <a:pt x="770" y="585"/>
                  </a:cubicBezTo>
                  <a:lnTo>
                    <a:pt x="734" y="585"/>
                  </a:lnTo>
                  <a:cubicBezTo>
                    <a:pt x="730" y="581"/>
                    <a:pt x="727" y="579"/>
                    <a:pt x="724" y="579"/>
                  </a:cubicBezTo>
                  <a:cubicBezTo>
                    <a:pt x="716" y="579"/>
                    <a:pt x="708" y="588"/>
                    <a:pt x="700" y="596"/>
                  </a:cubicBezTo>
                  <a:cubicBezTo>
                    <a:pt x="686" y="596"/>
                    <a:pt x="686" y="607"/>
                    <a:pt x="686" y="619"/>
                  </a:cubicBezTo>
                  <a:cubicBezTo>
                    <a:pt x="675" y="630"/>
                    <a:pt x="675" y="641"/>
                    <a:pt x="675" y="655"/>
                  </a:cubicBezTo>
                  <a:cubicBezTo>
                    <a:pt x="653" y="655"/>
                    <a:pt x="630" y="630"/>
                    <a:pt x="630" y="607"/>
                  </a:cubicBezTo>
                  <a:lnTo>
                    <a:pt x="630" y="585"/>
                  </a:lnTo>
                  <a:lnTo>
                    <a:pt x="630" y="571"/>
                  </a:lnTo>
                  <a:cubicBezTo>
                    <a:pt x="630" y="549"/>
                    <a:pt x="605" y="538"/>
                    <a:pt x="594" y="526"/>
                  </a:cubicBezTo>
                  <a:cubicBezTo>
                    <a:pt x="571" y="501"/>
                    <a:pt x="535" y="501"/>
                    <a:pt x="502" y="501"/>
                  </a:cubicBezTo>
                  <a:cubicBezTo>
                    <a:pt x="465" y="501"/>
                    <a:pt x="432" y="501"/>
                    <a:pt x="406" y="526"/>
                  </a:cubicBezTo>
                  <a:cubicBezTo>
                    <a:pt x="395" y="538"/>
                    <a:pt x="384" y="549"/>
                    <a:pt x="373" y="549"/>
                  </a:cubicBezTo>
                  <a:lnTo>
                    <a:pt x="362" y="549"/>
                  </a:lnTo>
                  <a:cubicBezTo>
                    <a:pt x="362" y="549"/>
                    <a:pt x="362" y="538"/>
                    <a:pt x="351" y="526"/>
                  </a:cubicBezTo>
                  <a:cubicBezTo>
                    <a:pt x="351" y="526"/>
                    <a:pt x="351" y="515"/>
                    <a:pt x="337" y="515"/>
                  </a:cubicBezTo>
                  <a:cubicBezTo>
                    <a:pt x="337" y="501"/>
                    <a:pt x="325" y="501"/>
                    <a:pt x="314" y="501"/>
                  </a:cubicBezTo>
                  <a:lnTo>
                    <a:pt x="303" y="490"/>
                  </a:lnTo>
                  <a:cubicBezTo>
                    <a:pt x="281" y="490"/>
                    <a:pt x="255" y="515"/>
                    <a:pt x="244" y="526"/>
                  </a:cubicBezTo>
                  <a:lnTo>
                    <a:pt x="233" y="538"/>
                  </a:lnTo>
                  <a:lnTo>
                    <a:pt x="222" y="538"/>
                  </a:lnTo>
                  <a:cubicBezTo>
                    <a:pt x="222" y="538"/>
                    <a:pt x="222" y="526"/>
                    <a:pt x="211" y="526"/>
                  </a:cubicBezTo>
                  <a:cubicBezTo>
                    <a:pt x="186" y="515"/>
                    <a:pt x="174" y="501"/>
                    <a:pt x="152" y="501"/>
                  </a:cubicBezTo>
                  <a:lnTo>
                    <a:pt x="116" y="501"/>
                  </a:lnTo>
                  <a:cubicBezTo>
                    <a:pt x="104" y="515"/>
                    <a:pt x="93" y="526"/>
                    <a:pt x="82" y="538"/>
                  </a:cubicBezTo>
                  <a:cubicBezTo>
                    <a:pt x="71" y="549"/>
                    <a:pt x="71" y="560"/>
                    <a:pt x="71" y="585"/>
                  </a:cubicBezTo>
                  <a:cubicBezTo>
                    <a:pt x="71" y="596"/>
                    <a:pt x="71" y="619"/>
                    <a:pt x="82" y="619"/>
                  </a:cubicBezTo>
                  <a:cubicBezTo>
                    <a:pt x="93" y="641"/>
                    <a:pt x="104" y="655"/>
                    <a:pt x="104" y="655"/>
                  </a:cubicBezTo>
                  <a:lnTo>
                    <a:pt x="82" y="655"/>
                  </a:lnTo>
                  <a:cubicBezTo>
                    <a:pt x="82" y="666"/>
                    <a:pt x="71" y="666"/>
                    <a:pt x="57" y="677"/>
                  </a:cubicBezTo>
                  <a:lnTo>
                    <a:pt x="57" y="689"/>
                  </a:lnTo>
                  <a:lnTo>
                    <a:pt x="23" y="689"/>
                  </a:lnTo>
                  <a:lnTo>
                    <a:pt x="1" y="700"/>
                  </a:lnTo>
                  <a:lnTo>
                    <a:pt x="12" y="725"/>
                  </a:lnTo>
                  <a:lnTo>
                    <a:pt x="12" y="736"/>
                  </a:lnTo>
                  <a:cubicBezTo>
                    <a:pt x="12" y="747"/>
                    <a:pt x="1" y="758"/>
                    <a:pt x="1" y="770"/>
                  </a:cubicBezTo>
                  <a:cubicBezTo>
                    <a:pt x="1" y="781"/>
                    <a:pt x="1" y="795"/>
                    <a:pt x="12" y="806"/>
                  </a:cubicBezTo>
                  <a:lnTo>
                    <a:pt x="35" y="817"/>
                  </a:lnTo>
                  <a:lnTo>
                    <a:pt x="35" y="828"/>
                  </a:lnTo>
                  <a:cubicBezTo>
                    <a:pt x="35" y="840"/>
                    <a:pt x="23" y="851"/>
                    <a:pt x="23" y="876"/>
                  </a:cubicBezTo>
                  <a:cubicBezTo>
                    <a:pt x="23" y="887"/>
                    <a:pt x="23" y="898"/>
                    <a:pt x="35" y="921"/>
                  </a:cubicBezTo>
                  <a:lnTo>
                    <a:pt x="46" y="935"/>
                  </a:lnTo>
                  <a:lnTo>
                    <a:pt x="57" y="935"/>
                  </a:lnTo>
                  <a:cubicBezTo>
                    <a:pt x="71" y="935"/>
                    <a:pt x="93" y="935"/>
                    <a:pt x="104" y="946"/>
                  </a:cubicBezTo>
                  <a:cubicBezTo>
                    <a:pt x="116" y="957"/>
                    <a:pt x="127" y="968"/>
                    <a:pt x="152" y="968"/>
                  </a:cubicBezTo>
                  <a:cubicBezTo>
                    <a:pt x="163" y="979"/>
                    <a:pt x="174" y="991"/>
                    <a:pt x="197" y="991"/>
                  </a:cubicBezTo>
                  <a:cubicBezTo>
                    <a:pt x="211" y="991"/>
                    <a:pt x="222" y="979"/>
                    <a:pt x="233" y="979"/>
                  </a:cubicBezTo>
                  <a:lnTo>
                    <a:pt x="255" y="957"/>
                  </a:lnTo>
                  <a:lnTo>
                    <a:pt x="267" y="946"/>
                  </a:lnTo>
                  <a:lnTo>
                    <a:pt x="281" y="946"/>
                  </a:lnTo>
                  <a:cubicBezTo>
                    <a:pt x="281" y="946"/>
                    <a:pt x="292" y="946"/>
                    <a:pt x="303" y="957"/>
                  </a:cubicBezTo>
                  <a:cubicBezTo>
                    <a:pt x="314" y="968"/>
                    <a:pt x="325" y="979"/>
                    <a:pt x="325" y="991"/>
                  </a:cubicBezTo>
                  <a:lnTo>
                    <a:pt x="325" y="1049"/>
                  </a:lnTo>
                  <a:cubicBezTo>
                    <a:pt x="325" y="1074"/>
                    <a:pt x="325" y="1097"/>
                    <a:pt x="337" y="1119"/>
                  </a:cubicBezTo>
                  <a:cubicBezTo>
                    <a:pt x="351" y="1130"/>
                    <a:pt x="351" y="1130"/>
                    <a:pt x="351" y="1144"/>
                  </a:cubicBezTo>
                  <a:cubicBezTo>
                    <a:pt x="362" y="1156"/>
                    <a:pt x="362" y="1156"/>
                    <a:pt x="373" y="1167"/>
                  </a:cubicBezTo>
                  <a:cubicBezTo>
                    <a:pt x="384" y="1178"/>
                    <a:pt x="395" y="1178"/>
                    <a:pt x="395" y="1178"/>
                  </a:cubicBezTo>
                  <a:cubicBezTo>
                    <a:pt x="395" y="1178"/>
                    <a:pt x="406" y="1189"/>
                    <a:pt x="420" y="1200"/>
                  </a:cubicBezTo>
                  <a:cubicBezTo>
                    <a:pt x="432" y="1225"/>
                    <a:pt x="443" y="1225"/>
                    <a:pt x="465" y="1225"/>
                  </a:cubicBezTo>
                  <a:lnTo>
                    <a:pt x="476" y="1225"/>
                  </a:lnTo>
                  <a:cubicBezTo>
                    <a:pt x="490" y="1225"/>
                    <a:pt x="502" y="1214"/>
                    <a:pt x="502" y="1214"/>
                  </a:cubicBezTo>
                  <a:lnTo>
                    <a:pt x="510" y="1214"/>
                  </a:lnTo>
                  <a:cubicBezTo>
                    <a:pt x="513" y="1222"/>
                    <a:pt x="513" y="1229"/>
                    <a:pt x="513" y="1237"/>
                  </a:cubicBezTo>
                  <a:lnTo>
                    <a:pt x="513" y="1295"/>
                  </a:lnTo>
                  <a:cubicBezTo>
                    <a:pt x="524" y="1318"/>
                    <a:pt x="524" y="1354"/>
                    <a:pt x="524" y="1388"/>
                  </a:cubicBezTo>
                  <a:lnTo>
                    <a:pt x="524" y="1446"/>
                  </a:lnTo>
                  <a:lnTo>
                    <a:pt x="524" y="1469"/>
                  </a:lnTo>
                  <a:lnTo>
                    <a:pt x="524" y="1505"/>
                  </a:lnTo>
                  <a:lnTo>
                    <a:pt x="524" y="1527"/>
                  </a:lnTo>
                  <a:lnTo>
                    <a:pt x="524" y="1550"/>
                  </a:lnTo>
                  <a:cubicBezTo>
                    <a:pt x="524" y="1575"/>
                    <a:pt x="524" y="1597"/>
                    <a:pt x="546" y="1597"/>
                  </a:cubicBezTo>
                  <a:lnTo>
                    <a:pt x="535" y="1597"/>
                  </a:lnTo>
                  <a:cubicBezTo>
                    <a:pt x="560" y="1609"/>
                    <a:pt x="571" y="1620"/>
                    <a:pt x="594" y="1620"/>
                  </a:cubicBezTo>
                  <a:lnTo>
                    <a:pt x="605" y="1620"/>
                  </a:lnTo>
                  <a:cubicBezTo>
                    <a:pt x="616" y="1620"/>
                    <a:pt x="630" y="1609"/>
                    <a:pt x="630" y="1609"/>
                  </a:cubicBezTo>
                  <a:lnTo>
                    <a:pt x="641" y="1620"/>
                  </a:lnTo>
                  <a:lnTo>
                    <a:pt x="641" y="1634"/>
                  </a:lnTo>
                  <a:cubicBezTo>
                    <a:pt x="641" y="1634"/>
                    <a:pt x="641" y="1645"/>
                    <a:pt x="630" y="1645"/>
                  </a:cubicBezTo>
                  <a:lnTo>
                    <a:pt x="641" y="1656"/>
                  </a:lnTo>
                  <a:lnTo>
                    <a:pt x="641" y="1667"/>
                  </a:lnTo>
                  <a:lnTo>
                    <a:pt x="653" y="1678"/>
                  </a:lnTo>
                  <a:cubicBezTo>
                    <a:pt x="653" y="1690"/>
                    <a:pt x="664" y="1690"/>
                    <a:pt x="664" y="1704"/>
                  </a:cubicBezTo>
                  <a:lnTo>
                    <a:pt x="664" y="1726"/>
                  </a:lnTo>
                  <a:lnTo>
                    <a:pt x="664" y="1737"/>
                  </a:lnTo>
                  <a:lnTo>
                    <a:pt x="664" y="1843"/>
                  </a:lnTo>
                  <a:lnTo>
                    <a:pt x="664" y="1877"/>
                  </a:lnTo>
                  <a:cubicBezTo>
                    <a:pt x="664" y="1888"/>
                    <a:pt x="664" y="1913"/>
                    <a:pt x="675" y="1936"/>
                  </a:cubicBezTo>
                  <a:cubicBezTo>
                    <a:pt x="675" y="1983"/>
                    <a:pt x="711" y="2028"/>
                    <a:pt x="745" y="2053"/>
                  </a:cubicBezTo>
                  <a:cubicBezTo>
                    <a:pt x="781" y="2087"/>
                    <a:pt x="826" y="2098"/>
                    <a:pt x="873" y="2098"/>
                  </a:cubicBezTo>
                  <a:lnTo>
                    <a:pt x="921" y="2098"/>
                  </a:lnTo>
                  <a:cubicBezTo>
                    <a:pt x="943" y="2087"/>
                    <a:pt x="966" y="2075"/>
                    <a:pt x="991" y="2053"/>
                  </a:cubicBezTo>
                  <a:cubicBezTo>
                    <a:pt x="1013" y="2028"/>
                    <a:pt x="1013" y="2006"/>
                    <a:pt x="1024" y="1983"/>
                  </a:cubicBezTo>
                  <a:cubicBezTo>
                    <a:pt x="1024" y="1969"/>
                    <a:pt x="1024" y="1958"/>
                    <a:pt x="1036" y="1947"/>
                  </a:cubicBezTo>
                  <a:lnTo>
                    <a:pt x="1050" y="1936"/>
                  </a:lnTo>
                  <a:cubicBezTo>
                    <a:pt x="1061" y="1936"/>
                    <a:pt x="1072" y="1936"/>
                    <a:pt x="1083" y="1924"/>
                  </a:cubicBezTo>
                  <a:cubicBezTo>
                    <a:pt x="1094" y="1924"/>
                    <a:pt x="1119" y="1924"/>
                    <a:pt x="1131" y="1913"/>
                  </a:cubicBezTo>
                  <a:cubicBezTo>
                    <a:pt x="1153" y="1888"/>
                    <a:pt x="1153" y="1866"/>
                    <a:pt x="1153" y="1843"/>
                  </a:cubicBezTo>
                  <a:cubicBezTo>
                    <a:pt x="1153" y="1818"/>
                    <a:pt x="1142" y="1785"/>
                    <a:pt x="1131" y="1759"/>
                  </a:cubicBezTo>
                  <a:lnTo>
                    <a:pt x="1131" y="1737"/>
                  </a:lnTo>
                  <a:cubicBezTo>
                    <a:pt x="1131" y="1726"/>
                    <a:pt x="1142" y="1715"/>
                    <a:pt x="1142" y="1704"/>
                  </a:cubicBezTo>
                  <a:cubicBezTo>
                    <a:pt x="1142" y="1701"/>
                    <a:pt x="1142" y="1699"/>
                    <a:pt x="1142" y="1697"/>
                  </a:cubicBezTo>
                  <a:lnTo>
                    <a:pt x="1142" y="1697"/>
                  </a:lnTo>
                  <a:cubicBezTo>
                    <a:pt x="1144" y="1789"/>
                    <a:pt x="1191" y="1867"/>
                    <a:pt x="1259" y="1913"/>
                  </a:cubicBezTo>
                  <a:cubicBezTo>
                    <a:pt x="1282" y="1936"/>
                    <a:pt x="1293" y="1947"/>
                    <a:pt x="1304" y="1958"/>
                  </a:cubicBezTo>
                  <a:cubicBezTo>
                    <a:pt x="1315" y="1969"/>
                    <a:pt x="1315" y="1994"/>
                    <a:pt x="1315" y="2028"/>
                  </a:cubicBezTo>
                  <a:lnTo>
                    <a:pt x="1315" y="2064"/>
                  </a:lnTo>
                  <a:cubicBezTo>
                    <a:pt x="1329" y="2087"/>
                    <a:pt x="1329" y="2098"/>
                    <a:pt x="1340" y="2109"/>
                  </a:cubicBezTo>
                  <a:cubicBezTo>
                    <a:pt x="1363" y="2134"/>
                    <a:pt x="1374" y="2134"/>
                    <a:pt x="1399" y="2134"/>
                  </a:cubicBezTo>
                  <a:cubicBezTo>
                    <a:pt x="1433" y="2134"/>
                    <a:pt x="1455" y="2123"/>
                    <a:pt x="1480" y="2098"/>
                  </a:cubicBezTo>
                  <a:cubicBezTo>
                    <a:pt x="1503" y="2087"/>
                    <a:pt x="1525" y="2064"/>
                    <a:pt x="1550" y="2053"/>
                  </a:cubicBezTo>
                  <a:cubicBezTo>
                    <a:pt x="1584" y="2017"/>
                    <a:pt x="1642" y="2006"/>
                    <a:pt x="1690" y="2006"/>
                  </a:cubicBezTo>
                  <a:lnTo>
                    <a:pt x="1760" y="2006"/>
                  </a:lnTo>
                  <a:cubicBezTo>
                    <a:pt x="1793" y="2017"/>
                    <a:pt x="1841" y="2039"/>
                    <a:pt x="1888" y="2039"/>
                  </a:cubicBezTo>
                  <a:cubicBezTo>
                    <a:pt x="1900" y="2039"/>
                    <a:pt x="1922" y="2039"/>
                    <a:pt x="1944" y="2028"/>
                  </a:cubicBezTo>
                  <a:cubicBezTo>
                    <a:pt x="1958" y="2017"/>
                    <a:pt x="1970" y="2006"/>
                    <a:pt x="1981" y="1983"/>
                  </a:cubicBezTo>
                  <a:cubicBezTo>
                    <a:pt x="1981" y="1969"/>
                    <a:pt x="1992" y="1958"/>
                    <a:pt x="2003" y="1947"/>
                  </a:cubicBezTo>
                  <a:cubicBezTo>
                    <a:pt x="2003" y="1936"/>
                    <a:pt x="2014" y="1936"/>
                    <a:pt x="2014" y="1936"/>
                  </a:cubicBezTo>
                  <a:cubicBezTo>
                    <a:pt x="2014" y="1924"/>
                    <a:pt x="2028" y="1924"/>
                    <a:pt x="2028" y="1924"/>
                  </a:cubicBezTo>
                  <a:cubicBezTo>
                    <a:pt x="2039" y="1924"/>
                    <a:pt x="2039" y="1924"/>
                    <a:pt x="2051" y="1936"/>
                  </a:cubicBezTo>
                  <a:cubicBezTo>
                    <a:pt x="2062" y="1936"/>
                    <a:pt x="2073" y="1947"/>
                    <a:pt x="2084" y="1947"/>
                  </a:cubicBezTo>
                  <a:lnTo>
                    <a:pt x="2098" y="1958"/>
                  </a:lnTo>
                  <a:lnTo>
                    <a:pt x="2109" y="1947"/>
                  </a:lnTo>
                  <a:lnTo>
                    <a:pt x="2121" y="1947"/>
                  </a:lnTo>
                  <a:cubicBezTo>
                    <a:pt x="2121" y="1936"/>
                    <a:pt x="2132" y="1936"/>
                    <a:pt x="2132" y="1924"/>
                  </a:cubicBezTo>
                  <a:cubicBezTo>
                    <a:pt x="2143" y="1913"/>
                    <a:pt x="2143" y="1913"/>
                    <a:pt x="2143" y="1899"/>
                  </a:cubicBezTo>
                  <a:lnTo>
                    <a:pt x="2143" y="1888"/>
                  </a:lnTo>
                  <a:cubicBezTo>
                    <a:pt x="2143" y="1878"/>
                    <a:pt x="2143" y="1868"/>
                    <a:pt x="2151" y="1859"/>
                  </a:cubicBezTo>
                  <a:lnTo>
                    <a:pt x="2151" y="1859"/>
                  </a:lnTo>
                  <a:lnTo>
                    <a:pt x="2154" y="1866"/>
                  </a:lnTo>
                  <a:cubicBezTo>
                    <a:pt x="2154" y="1855"/>
                    <a:pt x="2168" y="1855"/>
                    <a:pt x="2179" y="1843"/>
                  </a:cubicBezTo>
                  <a:lnTo>
                    <a:pt x="2179" y="1818"/>
                  </a:lnTo>
                  <a:lnTo>
                    <a:pt x="2179" y="1807"/>
                  </a:lnTo>
                  <a:cubicBezTo>
                    <a:pt x="2179" y="1785"/>
                    <a:pt x="2179" y="1759"/>
                    <a:pt x="2168" y="1737"/>
                  </a:cubicBezTo>
                  <a:cubicBezTo>
                    <a:pt x="2168" y="1726"/>
                    <a:pt x="2179" y="1726"/>
                    <a:pt x="2190" y="1715"/>
                  </a:cubicBezTo>
                  <a:lnTo>
                    <a:pt x="2224" y="1715"/>
                  </a:lnTo>
                  <a:cubicBezTo>
                    <a:pt x="2224" y="1715"/>
                    <a:pt x="2238" y="1715"/>
                    <a:pt x="2238" y="1704"/>
                  </a:cubicBezTo>
                  <a:lnTo>
                    <a:pt x="2260" y="1704"/>
                  </a:lnTo>
                  <a:cubicBezTo>
                    <a:pt x="2272" y="1690"/>
                    <a:pt x="2272" y="1678"/>
                    <a:pt x="2272" y="1678"/>
                  </a:cubicBezTo>
                  <a:lnTo>
                    <a:pt x="2272" y="1667"/>
                  </a:lnTo>
                  <a:lnTo>
                    <a:pt x="2283" y="1656"/>
                  </a:lnTo>
                  <a:lnTo>
                    <a:pt x="2319" y="1656"/>
                  </a:lnTo>
                  <a:cubicBezTo>
                    <a:pt x="2330" y="1656"/>
                    <a:pt x="2341" y="1656"/>
                    <a:pt x="2353" y="1645"/>
                  </a:cubicBezTo>
                  <a:cubicBezTo>
                    <a:pt x="2378" y="1645"/>
                    <a:pt x="2389" y="1620"/>
                    <a:pt x="2400" y="1609"/>
                  </a:cubicBezTo>
                  <a:lnTo>
                    <a:pt x="2400" y="1550"/>
                  </a:lnTo>
                  <a:lnTo>
                    <a:pt x="2400" y="1480"/>
                  </a:lnTo>
                  <a:lnTo>
                    <a:pt x="2411" y="1480"/>
                  </a:lnTo>
                  <a:lnTo>
                    <a:pt x="2411" y="1469"/>
                  </a:lnTo>
                  <a:cubicBezTo>
                    <a:pt x="2423" y="1469"/>
                    <a:pt x="2423" y="1458"/>
                    <a:pt x="2423" y="1446"/>
                  </a:cubicBezTo>
                  <a:lnTo>
                    <a:pt x="2423" y="1435"/>
                  </a:lnTo>
                  <a:lnTo>
                    <a:pt x="2423" y="1410"/>
                  </a:lnTo>
                  <a:cubicBezTo>
                    <a:pt x="2423" y="1399"/>
                    <a:pt x="2423" y="1376"/>
                    <a:pt x="2411" y="1354"/>
                  </a:cubicBezTo>
                  <a:lnTo>
                    <a:pt x="2411" y="1340"/>
                  </a:lnTo>
                  <a:lnTo>
                    <a:pt x="2411" y="1329"/>
                  </a:lnTo>
                  <a:lnTo>
                    <a:pt x="2411" y="1318"/>
                  </a:lnTo>
                  <a:lnTo>
                    <a:pt x="2411" y="1295"/>
                  </a:lnTo>
                  <a:lnTo>
                    <a:pt x="2411" y="1284"/>
                  </a:lnTo>
                  <a:cubicBezTo>
                    <a:pt x="2411" y="1259"/>
                    <a:pt x="2400" y="1237"/>
                    <a:pt x="2400" y="1214"/>
                  </a:cubicBezTo>
                  <a:cubicBezTo>
                    <a:pt x="2389" y="1200"/>
                    <a:pt x="2378" y="1189"/>
                    <a:pt x="2378" y="1178"/>
                  </a:cubicBezTo>
                  <a:lnTo>
                    <a:pt x="2378" y="1167"/>
                  </a:lnTo>
                  <a:cubicBezTo>
                    <a:pt x="2378" y="1156"/>
                    <a:pt x="2389" y="1144"/>
                    <a:pt x="2411" y="1144"/>
                  </a:cubicBezTo>
                  <a:cubicBezTo>
                    <a:pt x="2423" y="1130"/>
                    <a:pt x="2434" y="1130"/>
                    <a:pt x="2459" y="1108"/>
                  </a:cubicBezTo>
                  <a:cubicBezTo>
                    <a:pt x="2470" y="1097"/>
                    <a:pt x="2470" y="1086"/>
                    <a:pt x="2470" y="1060"/>
                  </a:cubicBezTo>
                  <a:lnTo>
                    <a:pt x="2470" y="1038"/>
                  </a:lnTo>
                  <a:cubicBezTo>
                    <a:pt x="2459" y="1016"/>
                    <a:pt x="2448" y="991"/>
                    <a:pt x="2423" y="979"/>
                  </a:cubicBezTo>
                  <a:cubicBezTo>
                    <a:pt x="2423" y="979"/>
                    <a:pt x="2411" y="968"/>
                    <a:pt x="2389" y="968"/>
                  </a:cubicBezTo>
                  <a:lnTo>
                    <a:pt x="2341" y="968"/>
                  </a:lnTo>
                  <a:lnTo>
                    <a:pt x="2330" y="957"/>
                  </a:lnTo>
                  <a:cubicBezTo>
                    <a:pt x="2330" y="946"/>
                    <a:pt x="2330" y="935"/>
                    <a:pt x="2319" y="935"/>
                  </a:cubicBezTo>
                  <a:cubicBezTo>
                    <a:pt x="2308" y="921"/>
                    <a:pt x="2294" y="921"/>
                    <a:pt x="2283" y="921"/>
                  </a:cubicBezTo>
                  <a:cubicBezTo>
                    <a:pt x="2272" y="921"/>
                    <a:pt x="2260" y="921"/>
                    <a:pt x="2249" y="946"/>
                  </a:cubicBezTo>
                  <a:cubicBezTo>
                    <a:pt x="2238" y="957"/>
                    <a:pt x="2224" y="968"/>
                    <a:pt x="2224" y="991"/>
                  </a:cubicBezTo>
                  <a:lnTo>
                    <a:pt x="2238" y="1005"/>
                  </a:lnTo>
                  <a:cubicBezTo>
                    <a:pt x="2224" y="1005"/>
                    <a:pt x="2213" y="1016"/>
                    <a:pt x="2213" y="1027"/>
                  </a:cubicBezTo>
                  <a:cubicBezTo>
                    <a:pt x="2202" y="1038"/>
                    <a:pt x="2202" y="1049"/>
                    <a:pt x="2202" y="1049"/>
                  </a:cubicBezTo>
                  <a:lnTo>
                    <a:pt x="2202" y="1060"/>
                  </a:lnTo>
                  <a:lnTo>
                    <a:pt x="2202" y="1086"/>
                  </a:lnTo>
                  <a:cubicBezTo>
                    <a:pt x="2190" y="1086"/>
                    <a:pt x="2190" y="1086"/>
                    <a:pt x="2190" y="1097"/>
                  </a:cubicBezTo>
                  <a:lnTo>
                    <a:pt x="2179" y="1097"/>
                  </a:lnTo>
                  <a:lnTo>
                    <a:pt x="2179" y="1086"/>
                  </a:lnTo>
                  <a:lnTo>
                    <a:pt x="2179" y="1074"/>
                  </a:lnTo>
                  <a:cubicBezTo>
                    <a:pt x="2179" y="1060"/>
                    <a:pt x="2179" y="1060"/>
                    <a:pt x="2168" y="1049"/>
                  </a:cubicBezTo>
                  <a:cubicBezTo>
                    <a:pt x="2168" y="1038"/>
                    <a:pt x="2154" y="1027"/>
                    <a:pt x="2143" y="1027"/>
                  </a:cubicBezTo>
                  <a:lnTo>
                    <a:pt x="2109" y="1027"/>
                  </a:lnTo>
                  <a:cubicBezTo>
                    <a:pt x="2098" y="1027"/>
                    <a:pt x="2084" y="1027"/>
                    <a:pt x="2062" y="1038"/>
                  </a:cubicBezTo>
                  <a:cubicBezTo>
                    <a:pt x="2039" y="1038"/>
                    <a:pt x="2028" y="1049"/>
                    <a:pt x="2014" y="1086"/>
                  </a:cubicBezTo>
                  <a:lnTo>
                    <a:pt x="2014" y="1097"/>
                  </a:lnTo>
                  <a:lnTo>
                    <a:pt x="2014" y="1119"/>
                  </a:lnTo>
                  <a:cubicBezTo>
                    <a:pt x="2014" y="1130"/>
                    <a:pt x="2003" y="1144"/>
                    <a:pt x="2003" y="1156"/>
                  </a:cubicBezTo>
                  <a:lnTo>
                    <a:pt x="1992" y="1167"/>
                  </a:lnTo>
                  <a:lnTo>
                    <a:pt x="1981" y="1156"/>
                  </a:lnTo>
                  <a:lnTo>
                    <a:pt x="1981" y="1130"/>
                  </a:lnTo>
                  <a:cubicBezTo>
                    <a:pt x="1981" y="1119"/>
                    <a:pt x="1981" y="1108"/>
                    <a:pt x="1970" y="1097"/>
                  </a:cubicBezTo>
                  <a:cubicBezTo>
                    <a:pt x="1970" y="1086"/>
                    <a:pt x="1958" y="1074"/>
                    <a:pt x="1933" y="1074"/>
                  </a:cubicBezTo>
                  <a:lnTo>
                    <a:pt x="1900" y="1074"/>
                  </a:lnTo>
                  <a:cubicBezTo>
                    <a:pt x="1888" y="1086"/>
                    <a:pt x="1888" y="1097"/>
                    <a:pt x="1874" y="1097"/>
                  </a:cubicBezTo>
                  <a:cubicBezTo>
                    <a:pt x="1874" y="1108"/>
                    <a:pt x="1863" y="1108"/>
                    <a:pt x="1863" y="1108"/>
                  </a:cubicBezTo>
                  <a:lnTo>
                    <a:pt x="1830" y="1108"/>
                  </a:lnTo>
                  <a:cubicBezTo>
                    <a:pt x="1805" y="1097"/>
                    <a:pt x="1793" y="1086"/>
                    <a:pt x="1771" y="1086"/>
                  </a:cubicBezTo>
                  <a:lnTo>
                    <a:pt x="1701" y="1086"/>
                  </a:lnTo>
                  <a:lnTo>
                    <a:pt x="1690" y="1074"/>
                  </a:lnTo>
                  <a:lnTo>
                    <a:pt x="1679" y="1074"/>
                  </a:lnTo>
                  <a:cubicBezTo>
                    <a:pt x="1679" y="1060"/>
                    <a:pt x="1679" y="1060"/>
                    <a:pt x="1665" y="1049"/>
                  </a:cubicBezTo>
                  <a:cubicBezTo>
                    <a:pt x="1654" y="1038"/>
                    <a:pt x="1631" y="1027"/>
                    <a:pt x="1631" y="1027"/>
                  </a:cubicBezTo>
                  <a:cubicBezTo>
                    <a:pt x="1620" y="1027"/>
                    <a:pt x="1609" y="1027"/>
                    <a:pt x="1609" y="1016"/>
                  </a:cubicBezTo>
                  <a:lnTo>
                    <a:pt x="1609" y="1005"/>
                  </a:lnTo>
                  <a:cubicBezTo>
                    <a:pt x="1595" y="991"/>
                    <a:pt x="1595" y="979"/>
                    <a:pt x="1595" y="968"/>
                  </a:cubicBezTo>
                  <a:cubicBezTo>
                    <a:pt x="1584" y="957"/>
                    <a:pt x="1584" y="935"/>
                    <a:pt x="1584" y="935"/>
                  </a:cubicBezTo>
                  <a:lnTo>
                    <a:pt x="1584" y="921"/>
                  </a:lnTo>
                  <a:lnTo>
                    <a:pt x="1595" y="921"/>
                  </a:lnTo>
                  <a:lnTo>
                    <a:pt x="1609" y="909"/>
                  </a:lnTo>
                  <a:lnTo>
                    <a:pt x="1620" y="898"/>
                  </a:lnTo>
                  <a:lnTo>
                    <a:pt x="1620" y="887"/>
                  </a:lnTo>
                  <a:lnTo>
                    <a:pt x="1620" y="865"/>
                  </a:lnTo>
                  <a:cubicBezTo>
                    <a:pt x="1620" y="851"/>
                    <a:pt x="1609" y="840"/>
                    <a:pt x="1609" y="840"/>
                  </a:cubicBezTo>
                  <a:lnTo>
                    <a:pt x="1609" y="828"/>
                  </a:lnTo>
                  <a:lnTo>
                    <a:pt x="1665" y="828"/>
                  </a:lnTo>
                  <a:cubicBezTo>
                    <a:pt x="1690" y="828"/>
                    <a:pt x="1712" y="828"/>
                    <a:pt x="1723" y="806"/>
                  </a:cubicBezTo>
                  <a:cubicBezTo>
                    <a:pt x="1735" y="795"/>
                    <a:pt x="1749" y="781"/>
                    <a:pt x="1749" y="758"/>
                  </a:cubicBezTo>
                  <a:cubicBezTo>
                    <a:pt x="1749" y="747"/>
                    <a:pt x="1735" y="725"/>
                    <a:pt x="1735" y="711"/>
                  </a:cubicBezTo>
                  <a:lnTo>
                    <a:pt x="1723" y="711"/>
                  </a:lnTo>
                  <a:cubicBezTo>
                    <a:pt x="1712" y="689"/>
                    <a:pt x="1679" y="677"/>
                    <a:pt x="1654" y="677"/>
                  </a:cubicBezTo>
                  <a:lnTo>
                    <a:pt x="1654" y="666"/>
                  </a:lnTo>
                  <a:lnTo>
                    <a:pt x="1609" y="666"/>
                  </a:lnTo>
                  <a:cubicBezTo>
                    <a:pt x="1584" y="666"/>
                    <a:pt x="1572" y="666"/>
                    <a:pt x="1550" y="677"/>
                  </a:cubicBezTo>
                  <a:cubicBezTo>
                    <a:pt x="1539" y="677"/>
                    <a:pt x="1525" y="689"/>
                    <a:pt x="1514" y="689"/>
                  </a:cubicBezTo>
                  <a:lnTo>
                    <a:pt x="1514" y="677"/>
                  </a:lnTo>
                  <a:lnTo>
                    <a:pt x="1503" y="677"/>
                  </a:lnTo>
                  <a:lnTo>
                    <a:pt x="1503" y="655"/>
                  </a:lnTo>
                  <a:cubicBezTo>
                    <a:pt x="1503" y="641"/>
                    <a:pt x="1503" y="630"/>
                    <a:pt x="1491" y="607"/>
                  </a:cubicBezTo>
                  <a:lnTo>
                    <a:pt x="1480" y="596"/>
                  </a:lnTo>
                  <a:cubicBezTo>
                    <a:pt x="1480" y="585"/>
                    <a:pt x="1480" y="571"/>
                    <a:pt x="1491" y="571"/>
                  </a:cubicBezTo>
                  <a:lnTo>
                    <a:pt x="1491" y="560"/>
                  </a:lnTo>
                  <a:cubicBezTo>
                    <a:pt x="1491" y="549"/>
                    <a:pt x="1503" y="538"/>
                    <a:pt x="1503" y="515"/>
                  </a:cubicBezTo>
                  <a:lnTo>
                    <a:pt x="1503" y="490"/>
                  </a:lnTo>
                  <a:cubicBezTo>
                    <a:pt x="1491" y="479"/>
                    <a:pt x="1480" y="468"/>
                    <a:pt x="1469" y="468"/>
                  </a:cubicBezTo>
                  <a:lnTo>
                    <a:pt x="1433" y="468"/>
                  </a:lnTo>
                  <a:cubicBezTo>
                    <a:pt x="1433" y="468"/>
                    <a:pt x="1421" y="468"/>
                    <a:pt x="1421" y="456"/>
                  </a:cubicBezTo>
                  <a:lnTo>
                    <a:pt x="1410" y="456"/>
                  </a:lnTo>
                  <a:cubicBezTo>
                    <a:pt x="1410" y="445"/>
                    <a:pt x="1399" y="431"/>
                    <a:pt x="1399" y="431"/>
                  </a:cubicBezTo>
                  <a:cubicBezTo>
                    <a:pt x="1385" y="420"/>
                    <a:pt x="1363" y="409"/>
                    <a:pt x="1352" y="409"/>
                  </a:cubicBezTo>
                  <a:cubicBezTo>
                    <a:pt x="1332" y="389"/>
                    <a:pt x="1301" y="378"/>
                    <a:pt x="1270" y="366"/>
                  </a:cubicBezTo>
                  <a:lnTo>
                    <a:pt x="1270" y="366"/>
                  </a:lnTo>
                  <a:lnTo>
                    <a:pt x="1270" y="361"/>
                  </a:lnTo>
                  <a:cubicBezTo>
                    <a:pt x="1270" y="361"/>
                    <a:pt x="1282" y="350"/>
                    <a:pt x="1293" y="350"/>
                  </a:cubicBezTo>
                  <a:cubicBezTo>
                    <a:pt x="1304" y="350"/>
                    <a:pt x="1315" y="339"/>
                    <a:pt x="1329" y="339"/>
                  </a:cubicBezTo>
                  <a:cubicBezTo>
                    <a:pt x="1340" y="328"/>
                    <a:pt x="1352" y="317"/>
                    <a:pt x="1363" y="291"/>
                  </a:cubicBezTo>
                  <a:lnTo>
                    <a:pt x="1363" y="280"/>
                  </a:lnTo>
                  <a:lnTo>
                    <a:pt x="1363" y="258"/>
                  </a:lnTo>
                  <a:cubicBezTo>
                    <a:pt x="1363" y="247"/>
                    <a:pt x="1363" y="247"/>
                    <a:pt x="1374" y="247"/>
                  </a:cubicBezTo>
                  <a:cubicBezTo>
                    <a:pt x="1374" y="236"/>
                    <a:pt x="1385" y="236"/>
                    <a:pt x="1385" y="210"/>
                  </a:cubicBezTo>
                  <a:lnTo>
                    <a:pt x="1385" y="199"/>
                  </a:lnTo>
                  <a:cubicBezTo>
                    <a:pt x="1385" y="177"/>
                    <a:pt x="1374" y="152"/>
                    <a:pt x="1363" y="140"/>
                  </a:cubicBezTo>
                  <a:cubicBezTo>
                    <a:pt x="1340" y="129"/>
                    <a:pt x="1329" y="118"/>
                    <a:pt x="1315" y="118"/>
                  </a:cubicBezTo>
                  <a:cubicBezTo>
                    <a:pt x="1304" y="96"/>
                    <a:pt x="1293" y="82"/>
                    <a:pt x="1293" y="59"/>
                  </a:cubicBezTo>
                  <a:lnTo>
                    <a:pt x="1293" y="37"/>
                  </a:lnTo>
                  <a:lnTo>
                    <a:pt x="1304" y="12"/>
                  </a:lnTo>
                  <a:lnTo>
                    <a:pt x="1282" y="12"/>
                  </a:lnTo>
                  <a:cubicBezTo>
                    <a:pt x="1259" y="12"/>
                    <a:pt x="1245" y="12"/>
                    <a:pt x="1234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7" name="Google Shape;395;p17">
              <a:extLst>
                <a:ext uri="{FF2B5EF4-FFF2-40B4-BE49-F238E27FC236}">
                  <a16:creationId xmlns:a16="http://schemas.microsoft.com/office/drawing/2014/main" xmlns="" id="{417ED021-8D69-6210-8894-230556E4BFF3}"/>
                </a:ext>
              </a:extLst>
            </p:cNvPr>
            <p:cNvSpPr/>
            <p:nvPr/>
          </p:nvSpPr>
          <p:spPr>
            <a:xfrm>
              <a:off x="1545989" y="2534976"/>
              <a:ext cx="542254" cy="515290"/>
            </a:xfrm>
            <a:custGeom>
              <a:avLst/>
              <a:gdLst/>
              <a:ahLst/>
              <a:cxnLst/>
              <a:rect l="l" t="t" r="r" b="b"/>
              <a:pathLst>
                <a:path w="2352" h="2235" extrusionOk="0">
                  <a:moveTo>
                    <a:pt x="1415" y="0"/>
                  </a:moveTo>
                  <a:cubicBezTo>
                    <a:pt x="1366" y="0"/>
                    <a:pt x="1316" y="9"/>
                    <a:pt x="1270" y="31"/>
                  </a:cubicBezTo>
                  <a:cubicBezTo>
                    <a:pt x="1141" y="101"/>
                    <a:pt x="1130" y="300"/>
                    <a:pt x="1012" y="381"/>
                  </a:cubicBezTo>
                  <a:cubicBezTo>
                    <a:pt x="978" y="410"/>
                    <a:pt x="931" y="425"/>
                    <a:pt x="884" y="425"/>
                  </a:cubicBezTo>
                  <a:cubicBezTo>
                    <a:pt x="836" y="425"/>
                    <a:pt x="786" y="410"/>
                    <a:pt x="744" y="381"/>
                  </a:cubicBezTo>
                  <a:cubicBezTo>
                    <a:pt x="700" y="354"/>
                    <a:pt x="647" y="298"/>
                    <a:pt x="597" y="298"/>
                  </a:cubicBezTo>
                  <a:cubicBezTo>
                    <a:pt x="584" y="298"/>
                    <a:pt x="572" y="301"/>
                    <a:pt x="559" y="311"/>
                  </a:cubicBezTo>
                  <a:cubicBezTo>
                    <a:pt x="539" y="274"/>
                    <a:pt x="512" y="235"/>
                    <a:pt x="483" y="235"/>
                  </a:cubicBezTo>
                  <a:cubicBezTo>
                    <a:pt x="477" y="235"/>
                    <a:pt x="471" y="237"/>
                    <a:pt x="464" y="241"/>
                  </a:cubicBezTo>
                  <a:cubicBezTo>
                    <a:pt x="478" y="395"/>
                    <a:pt x="431" y="534"/>
                    <a:pt x="350" y="660"/>
                  </a:cubicBezTo>
                  <a:cubicBezTo>
                    <a:pt x="313" y="719"/>
                    <a:pt x="255" y="778"/>
                    <a:pt x="210" y="825"/>
                  </a:cubicBezTo>
                  <a:cubicBezTo>
                    <a:pt x="176" y="846"/>
                    <a:pt x="134" y="941"/>
                    <a:pt x="90" y="941"/>
                  </a:cubicBezTo>
                  <a:cubicBezTo>
                    <a:pt x="87" y="941"/>
                    <a:pt x="84" y="941"/>
                    <a:pt x="81" y="940"/>
                  </a:cubicBezTo>
                  <a:cubicBezTo>
                    <a:pt x="59" y="940"/>
                    <a:pt x="45" y="929"/>
                    <a:pt x="23" y="929"/>
                  </a:cubicBezTo>
                  <a:cubicBezTo>
                    <a:pt x="0" y="929"/>
                    <a:pt x="0" y="965"/>
                    <a:pt x="0" y="976"/>
                  </a:cubicBezTo>
                  <a:cubicBezTo>
                    <a:pt x="11" y="999"/>
                    <a:pt x="23" y="1010"/>
                    <a:pt x="45" y="1024"/>
                  </a:cubicBezTo>
                  <a:cubicBezTo>
                    <a:pt x="70" y="1035"/>
                    <a:pt x="81" y="1035"/>
                    <a:pt x="93" y="1057"/>
                  </a:cubicBezTo>
                  <a:cubicBezTo>
                    <a:pt x="104" y="1080"/>
                    <a:pt x="104" y="1094"/>
                    <a:pt x="115" y="1116"/>
                  </a:cubicBezTo>
                  <a:cubicBezTo>
                    <a:pt x="140" y="1175"/>
                    <a:pt x="210" y="1186"/>
                    <a:pt x="269" y="1233"/>
                  </a:cubicBezTo>
                  <a:cubicBezTo>
                    <a:pt x="350" y="1289"/>
                    <a:pt x="361" y="1418"/>
                    <a:pt x="313" y="1513"/>
                  </a:cubicBezTo>
                  <a:cubicBezTo>
                    <a:pt x="302" y="1535"/>
                    <a:pt x="291" y="1547"/>
                    <a:pt x="280" y="1569"/>
                  </a:cubicBezTo>
                  <a:cubicBezTo>
                    <a:pt x="280" y="1583"/>
                    <a:pt x="280" y="1605"/>
                    <a:pt x="291" y="1617"/>
                  </a:cubicBezTo>
                  <a:cubicBezTo>
                    <a:pt x="300" y="1621"/>
                    <a:pt x="310" y="1624"/>
                    <a:pt x="318" y="1624"/>
                  </a:cubicBezTo>
                  <a:cubicBezTo>
                    <a:pt x="330" y="1624"/>
                    <a:pt x="339" y="1618"/>
                    <a:pt x="339" y="1605"/>
                  </a:cubicBezTo>
                  <a:lnTo>
                    <a:pt x="339" y="1594"/>
                  </a:lnTo>
                  <a:cubicBezTo>
                    <a:pt x="350" y="1569"/>
                    <a:pt x="361" y="1558"/>
                    <a:pt x="383" y="1558"/>
                  </a:cubicBezTo>
                  <a:cubicBezTo>
                    <a:pt x="408" y="1558"/>
                    <a:pt x="420" y="1569"/>
                    <a:pt x="442" y="1569"/>
                  </a:cubicBezTo>
                  <a:cubicBezTo>
                    <a:pt x="501" y="1605"/>
                    <a:pt x="548" y="1628"/>
                    <a:pt x="593" y="1664"/>
                  </a:cubicBezTo>
                  <a:cubicBezTo>
                    <a:pt x="710" y="1745"/>
                    <a:pt x="814" y="1849"/>
                    <a:pt x="884" y="1977"/>
                  </a:cubicBezTo>
                  <a:cubicBezTo>
                    <a:pt x="931" y="2036"/>
                    <a:pt x="968" y="2095"/>
                    <a:pt x="990" y="2165"/>
                  </a:cubicBezTo>
                  <a:cubicBezTo>
                    <a:pt x="1001" y="2187"/>
                    <a:pt x="1012" y="2212"/>
                    <a:pt x="1012" y="2235"/>
                  </a:cubicBezTo>
                  <a:cubicBezTo>
                    <a:pt x="1038" y="2235"/>
                    <a:pt x="1071" y="2223"/>
                    <a:pt x="1094" y="2223"/>
                  </a:cubicBezTo>
                  <a:cubicBezTo>
                    <a:pt x="1133" y="2214"/>
                    <a:pt x="1172" y="2195"/>
                    <a:pt x="1210" y="2195"/>
                  </a:cubicBezTo>
                  <a:cubicBezTo>
                    <a:pt x="1218" y="2195"/>
                    <a:pt x="1226" y="2196"/>
                    <a:pt x="1233" y="2198"/>
                  </a:cubicBezTo>
                  <a:cubicBezTo>
                    <a:pt x="1270" y="2209"/>
                    <a:pt x="1312" y="2231"/>
                    <a:pt x="1345" y="2231"/>
                  </a:cubicBezTo>
                  <a:cubicBezTo>
                    <a:pt x="1356" y="2231"/>
                    <a:pt x="1365" y="2229"/>
                    <a:pt x="1373" y="2223"/>
                  </a:cubicBezTo>
                  <a:cubicBezTo>
                    <a:pt x="1410" y="2198"/>
                    <a:pt x="1398" y="2142"/>
                    <a:pt x="1373" y="2106"/>
                  </a:cubicBezTo>
                  <a:cubicBezTo>
                    <a:pt x="1421" y="2058"/>
                    <a:pt x="1479" y="2014"/>
                    <a:pt x="1538" y="2002"/>
                  </a:cubicBezTo>
                  <a:cubicBezTo>
                    <a:pt x="1561" y="1988"/>
                    <a:pt x="1572" y="1988"/>
                    <a:pt x="1583" y="1977"/>
                  </a:cubicBezTo>
                  <a:cubicBezTo>
                    <a:pt x="1608" y="1955"/>
                    <a:pt x="1583" y="1907"/>
                    <a:pt x="1549" y="1885"/>
                  </a:cubicBezTo>
                  <a:cubicBezTo>
                    <a:pt x="1513" y="1874"/>
                    <a:pt x="1479" y="1863"/>
                    <a:pt x="1457" y="1837"/>
                  </a:cubicBezTo>
                  <a:cubicBezTo>
                    <a:pt x="1421" y="1815"/>
                    <a:pt x="1421" y="1768"/>
                    <a:pt x="1410" y="1734"/>
                  </a:cubicBezTo>
                  <a:cubicBezTo>
                    <a:pt x="1392" y="1706"/>
                    <a:pt x="1360" y="1679"/>
                    <a:pt x="1336" y="1679"/>
                  </a:cubicBezTo>
                  <a:cubicBezTo>
                    <a:pt x="1329" y="1679"/>
                    <a:pt x="1322" y="1681"/>
                    <a:pt x="1317" y="1686"/>
                  </a:cubicBezTo>
                  <a:cubicBezTo>
                    <a:pt x="1292" y="1698"/>
                    <a:pt x="1292" y="1723"/>
                    <a:pt x="1281" y="1723"/>
                  </a:cubicBezTo>
                  <a:cubicBezTo>
                    <a:pt x="1272" y="1729"/>
                    <a:pt x="1261" y="1732"/>
                    <a:pt x="1251" y="1732"/>
                  </a:cubicBezTo>
                  <a:cubicBezTo>
                    <a:pt x="1224" y="1732"/>
                    <a:pt x="1197" y="1713"/>
                    <a:pt x="1189" y="1686"/>
                  </a:cubicBezTo>
                  <a:cubicBezTo>
                    <a:pt x="1189" y="1653"/>
                    <a:pt x="1200" y="1617"/>
                    <a:pt x="1211" y="1583"/>
                  </a:cubicBezTo>
                  <a:cubicBezTo>
                    <a:pt x="1233" y="1558"/>
                    <a:pt x="1259" y="1524"/>
                    <a:pt x="1259" y="1488"/>
                  </a:cubicBezTo>
                  <a:cubicBezTo>
                    <a:pt x="1270" y="1418"/>
                    <a:pt x="1211" y="1359"/>
                    <a:pt x="1222" y="1303"/>
                  </a:cubicBezTo>
                  <a:cubicBezTo>
                    <a:pt x="1222" y="1256"/>
                    <a:pt x="1233" y="1220"/>
                    <a:pt x="1270" y="1197"/>
                  </a:cubicBezTo>
                  <a:cubicBezTo>
                    <a:pt x="1292" y="1150"/>
                    <a:pt x="1340" y="1116"/>
                    <a:pt x="1387" y="1116"/>
                  </a:cubicBezTo>
                  <a:cubicBezTo>
                    <a:pt x="1432" y="1116"/>
                    <a:pt x="1491" y="1164"/>
                    <a:pt x="1468" y="1208"/>
                  </a:cubicBezTo>
                  <a:cubicBezTo>
                    <a:pt x="1474" y="1207"/>
                    <a:pt x="1480" y="1206"/>
                    <a:pt x="1485" y="1206"/>
                  </a:cubicBezTo>
                  <a:cubicBezTo>
                    <a:pt x="1525" y="1206"/>
                    <a:pt x="1565" y="1238"/>
                    <a:pt x="1597" y="1267"/>
                  </a:cubicBezTo>
                  <a:cubicBezTo>
                    <a:pt x="1620" y="1283"/>
                    <a:pt x="1656" y="1305"/>
                    <a:pt x="1686" y="1305"/>
                  </a:cubicBezTo>
                  <a:cubicBezTo>
                    <a:pt x="1700" y="1305"/>
                    <a:pt x="1712" y="1301"/>
                    <a:pt x="1723" y="1289"/>
                  </a:cubicBezTo>
                  <a:cubicBezTo>
                    <a:pt x="1757" y="1258"/>
                    <a:pt x="1749" y="1185"/>
                    <a:pt x="1785" y="1185"/>
                  </a:cubicBezTo>
                  <a:cubicBezTo>
                    <a:pt x="1787" y="1185"/>
                    <a:pt x="1790" y="1185"/>
                    <a:pt x="1793" y="1186"/>
                  </a:cubicBezTo>
                  <a:cubicBezTo>
                    <a:pt x="1829" y="1186"/>
                    <a:pt x="1840" y="1220"/>
                    <a:pt x="1851" y="1233"/>
                  </a:cubicBezTo>
                  <a:cubicBezTo>
                    <a:pt x="1865" y="1246"/>
                    <a:pt x="1881" y="1252"/>
                    <a:pt x="1898" y="1252"/>
                  </a:cubicBezTo>
                  <a:cubicBezTo>
                    <a:pt x="1939" y="1252"/>
                    <a:pt x="1983" y="1217"/>
                    <a:pt x="1991" y="1175"/>
                  </a:cubicBezTo>
                  <a:cubicBezTo>
                    <a:pt x="2002" y="1116"/>
                    <a:pt x="1991" y="1057"/>
                    <a:pt x="1980" y="999"/>
                  </a:cubicBezTo>
                  <a:lnTo>
                    <a:pt x="1980" y="965"/>
                  </a:lnTo>
                  <a:cubicBezTo>
                    <a:pt x="1991" y="954"/>
                    <a:pt x="2002" y="954"/>
                    <a:pt x="2002" y="940"/>
                  </a:cubicBezTo>
                  <a:cubicBezTo>
                    <a:pt x="2061" y="929"/>
                    <a:pt x="2109" y="906"/>
                    <a:pt x="2156" y="884"/>
                  </a:cubicBezTo>
                  <a:cubicBezTo>
                    <a:pt x="2179" y="870"/>
                    <a:pt x="2190" y="870"/>
                    <a:pt x="2201" y="848"/>
                  </a:cubicBezTo>
                  <a:cubicBezTo>
                    <a:pt x="2212" y="836"/>
                    <a:pt x="2226" y="814"/>
                    <a:pt x="2237" y="800"/>
                  </a:cubicBezTo>
                  <a:cubicBezTo>
                    <a:pt x="2248" y="767"/>
                    <a:pt x="2282" y="755"/>
                    <a:pt x="2307" y="719"/>
                  </a:cubicBezTo>
                  <a:cubicBezTo>
                    <a:pt x="2352" y="660"/>
                    <a:pt x="2330" y="590"/>
                    <a:pt x="2318" y="520"/>
                  </a:cubicBezTo>
                  <a:cubicBezTo>
                    <a:pt x="2318" y="487"/>
                    <a:pt x="2318" y="465"/>
                    <a:pt x="2330" y="439"/>
                  </a:cubicBezTo>
                  <a:cubicBezTo>
                    <a:pt x="2307" y="417"/>
                    <a:pt x="2282" y="406"/>
                    <a:pt x="2248" y="395"/>
                  </a:cubicBezTo>
                  <a:cubicBezTo>
                    <a:pt x="2241" y="390"/>
                    <a:pt x="2232" y="388"/>
                    <a:pt x="2222" y="388"/>
                  </a:cubicBezTo>
                  <a:cubicBezTo>
                    <a:pt x="2202" y="388"/>
                    <a:pt x="2179" y="395"/>
                    <a:pt x="2156" y="395"/>
                  </a:cubicBezTo>
                  <a:cubicBezTo>
                    <a:pt x="2061" y="395"/>
                    <a:pt x="1969" y="336"/>
                    <a:pt x="1932" y="255"/>
                  </a:cubicBezTo>
                  <a:cubicBezTo>
                    <a:pt x="1910" y="218"/>
                    <a:pt x="1899" y="171"/>
                    <a:pt x="1863" y="171"/>
                  </a:cubicBezTo>
                  <a:cubicBezTo>
                    <a:pt x="1840" y="171"/>
                    <a:pt x="1823" y="177"/>
                    <a:pt x="1806" y="177"/>
                  </a:cubicBezTo>
                  <a:cubicBezTo>
                    <a:pt x="1798" y="177"/>
                    <a:pt x="1790" y="176"/>
                    <a:pt x="1781" y="171"/>
                  </a:cubicBezTo>
                  <a:cubicBezTo>
                    <a:pt x="1748" y="171"/>
                    <a:pt x="1737" y="137"/>
                    <a:pt x="1723" y="115"/>
                  </a:cubicBezTo>
                  <a:cubicBezTo>
                    <a:pt x="1689" y="56"/>
                    <a:pt x="1619" y="31"/>
                    <a:pt x="1561" y="20"/>
                  </a:cubicBezTo>
                  <a:cubicBezTo>
                    <a:pt x="1514" y="9"/>
                    <a:pt x="1465" y="0"/>
                    <a:pt x="1415" y="0"/>
                  </a:cubicBezTo>
                  <a:close/>
                </a:path>
              </a:pathLst>
            </a:custGeom>
            <a:solidFill>
              <a:srgbClr val="027CB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8" name="Google Shape;396;p17">
              <a:extLst>
                <a:ext uri="{FF2B5EF4-FFF2-40B4-BE49-F238E27FC236}">
                  <a16:creationId xmlns:a16="http://schemas.microsoft.com/office/drawing/2014/main" xmlns="" id="{0610F3F2-2C77-9188-5D93-1036BE94D79A}"/>
                </a:ext>
              </a:extLst>
            </p:cNvPr>
            <p:cNvSpPr/>
            <p:nvPr/>
          </p:nvSpPr>
          <p:spPr>
            <a:xfrm>
              <a:off x="1540225" y="2529213"/>
              <a:ext cx="548017" cy="526127"/>
            </a:xfrm>
            <a:custGeom>
              <a:avLst/>
              <a:gdLst/>
              <a:ahLst/>
              <a:cxnLst/>
              <a:rect l="l" t="t" r="r" b="b"/>
              <a:pathLst>
                <a:path w="2377" h="2282" extrusionOk="0">
                  <a:moveTo>
                    <a:pt x="1423" y="45"/>
                  </a:moveTo>
                  <a:cubicBezTo>
                    <a:pt x="1468" y="45"/>
                    <a:pt x="1527" y="56"/>
                    <a:pt x="1574" y="70"/>
                  </a:cubicBezTo>
                  <a:cubicBezTo>
                    <a:pt x="1608" y="81"/>
                    <a:pt x="1644" y="81"/>
                    <a:pt x="1667" y="92"/>
                  </a:cubicBezTo>
                  <a:cubicBezTo>
                    <a:pt x="1692" y="104"/>
                    <a:pt x="1714" y="126"/>
                    <a:pt x="1725" y="151"/>
                  </a:cubicBezTo>
                  <a:cubicBezTo>
                    <a:pt x="1737" y="162"/>
                    <a:pt x="1748" y="174"/>
                    <a:pt x="1748" y="185"/>
                  </a:cubicBezTo>
                  <a:cubicBezTo>
                    <a:pt x="1762" y="196"/>
                    <a:pt x="1773" y="221"/>
                    <a:pt x="1795" y="221"/>
                  </a:cubicBezTo>
                  <a:cubicBezTo>
                    <a:pt x="1806" y="221"/>
                    <a:pt x="1818" y="232"/>
                    <a:pt x="1818" y="232"/>
                  </a:cubicBezTo>
                  <a:cubicBezTo>
                    <a:pt x="1843" y="221"/>
                    <a:pt x="1865" y="221"/>
                    <a:pt x="1876" y="221"/>
                  </a:cubicBezTo>
                  <a:cubicBezTo>
                    <a:pt x="1888" y="221"/>
                    <a:pt x="1902" y="232"/>
                    <a:pt x="1913" y="243"/>
                  </a:cubicBezTo>
                  <a:cubicBezTo>
                    <a:pt x="1913" y="255"/>
                    <a:pt x="1924" y="266"/>
                    <a:pt x="1935" y="291"/>
                  </a:cubicBezTo>
                  <a:cubicBezTo>
                    <a:pt x="1983" y="383"/>
                    <a:pt x="2075" y="442"/>
                    <a:pt x="2181" y="442"/>
                  </a:cubicBezTo>
                  <a:lnTo>
                    <a:pt x="2273" y="442"/>
                  </a:lnTo>
                  <a:cubicBezTo>
                    <a:pt x="2290" y="442"/>
                    <a:pt x="2309" y="455"/>
                    <a:pt x="2327" y="466"/>
                  </a:cubicBezTo>
                  <a:lnTo>
                    <a:pt x="2327" y="466"/>
                  </a:lnTo>
                  <a:cubicBezTo>
                    <a:pt x="2321" y="482"/>
                    <a:pt x="2321" y="494"/>
                    <a:pt x="2321" y="512"/>
                  </a:cubicBezTo>
                  <a:lnTo>
                    <a:pt x="2321" y="559"/>
                  </a:lnTo>
                  <a:cubicBezTo>
                    <a:pt x="2332" y="593"/>
                    <a:pt x="2332" y="629"/>
                    <a:pt x="2332" y="663"/>
                  </a:cubicBezTo>
                  <a:cubicBezTo>
                    <a:pt x="2332" y="685"/>
                    <a:pt x="2332" y="710"/>
                    <a:pt x="2321" y="733"/>
                  </a:cubicBezTo>
                  <a:cubicBezTo>
                    <a:pt x="2307" y="744"/>
                    <a:pt x="2296" y="755"/>
                    <a:pt x="2273" y="769"/>
                  </a:cubicBezTo>
                  <a:cubicBezTo>
                    <a:pt x="2262" y="780"/>
                    <a:pt x="2251" y="792"/>
                    <a:pt x="2237" y="814"/>
                  </a:cubicBezTo>
                  <a:cubicBezTo>
                    <a:pt x="2226" y="839"/>
                    <a:pt x="2215" y="850"/>
                    <a:pt x="2215" y="861"/>
                  </a:cubicBezTo>
                  <a:cubicBezTo>
                    <a:pt x="2204" y="873"/>
                    <a:pt x="2192" y="873"/>
                    <a:pt x="2167" y="884"/>
                  </a:cubicBezTo>
                  <a:cubicBezTo>
                    <a:pt x="2122" y="909"/>
                    <a:pt x="2075" y="931"/>
                    <a:pt x="2027" y="954"/>
                  </a:cubicBezTo>
                  <a:cubicBezTo>
                    <a:pt x="2016" y="954"/>
                    <a:pt x="1994" y="954"/>
                    <a:pt x="1983" y="979"/>
                  </a:cubicBezTo>
                  <a:lnTo>
                    <a:pt x="1983" y="1012"/>
                  </a:lnTo>
                  <a:lnTo>
                    <a:pt x="1983" y="1024"/>
                  </a:lnTo>
                  <a:cubicBezTo>
                    <a:pt x="1983" y="1071"/>
                    <a:pt x="2005" y="1119"/>
                    <a:pt x="2005" y="1152"/>
                  </a:cubicBezTo>
                  <a:cubicBezTo>
                    <a:pt x="2005" y="1163"/>
                    <a:pt x="1994" y="1189"/>
                    <a:pt x="1994" y="1200"/>
                  </a:cubicBezTo>
                  <a:cubicBezTo>
                    <a:pt x="1994" y="1211"/>
                    <a:pt x="1983" y="1222"/>
                    <a:pt x="1971" y="1233"/>
                  </a:cubicBezTo>
                  <a:cubicBezTo>
                    <a:pt x="1946" y="1245"/>
                    <a:pt x="1935" y="1258"/>
                    <a:pt x="1924" y="1258"/>
                  </a:cubicBezTo>
                  <a:cubicBezTo>
                    <a:pt x="1913" y="1258"/>
                    <a:pt x="1902" y="1258"/>
                    <a:pt x="1902" y="1245"/>
                  </a:cubicBezTo>
                  <a:cubicBezTo>
                    <a:pt x="1888" y="1233"/>
                    <a:pt x="1876" y="1222"/>
                    <a:pt x="1876" y="1211"/>
                  </a:cubicBezTo>
                  <a:cubicBezTo>
                    <a:pt x="1865" y="1211"/>
                    <a:pt x="1865" y="1200"/>
                    <a:pt x="1854" y="1189"/>
                  </a:cubicBezTo>
                  <a:lnTo>
                    <a:pt x="1818" y="1189"/>
                  </a:lnTo>
                  <a:lnTo>
                    <a:pt x="1818" y="1175"/>
                  </a:lnTo>
                  <a:cubicBezTo>
                    <a:pt x="1795" y="1175"/>
                    <a:pt x="1784" y="1189"/>
                    <a:pt x="1773" y="1200"/>
                  </a:cubicBezTo>
                  <a:cubicBezTo>
                    <a:pt x="1762" y="1222"/>
                    <a:pt x="1762" y="1233"/>
                    <a:pt x="1748" y="1258"/>
                  </a:cubicBezTo>
                  <a:cubicBezTo>
                    <a:pt x="1737" y="1281"/>
                    <a:pt x="1737" y="1292"/>
                    <a:pt x="1725" y="1292"/>
                  </a:cubicBezTo>
                  <a:cubicBezTo>
                    <a:pt x="1725" y="1303"/>
                    <a:pt x="1714" y="1303"/>
                    <a:pt x="1703" y="1303"/>
                  </a:cubicBezTo>
                  <a:cubicBezTo>
                    <a:pt x="1692" y="1303"/>
                    <a:pt x="1655" y="1292"/>
                    <a:pt x="1633" y="1270"/>
                  </a:cubicBezTo>
                  <a:cubicBezTo>
                    <a:pt x="1622" y="1258"/>
                    <a:pt x="1597" y="1245"/>
                    <a:pt x="1586" y="1233"/>
                  </a:cubicBezTo>
                  <a:cubicBezTo>
                    <a:pt x="1563" y="1222"/>
                    <a:pt x="1538" y="1211"/>
                    <a:pt x="1516" y="1211"/>
                  </a:cubicBezTo>
                  <a:cubicBezTo>
                    <a:pt x="1515" y="1211"/>
                    <a:pt x="1515" y="1211"/>
                    <a:pt x="1515" y="1211"/>
                  </a:cubicBezTo>
                  <a:lnTo>
                    <a:pt x="1515" y="1211"/>
                  </a:lnTo>
                  <a:cubicBezTo>
                    <a:pt x="1513" y="1183"/>
                    <a:pt x="1503" y="1162"/>
                    <a:pt x="1493" y="1152"/>
                  </a:cubicBezTo>
                  <a:cubicBezTo>
                    <a:pt x="1468" y="1130"/>
                    <a:pt x="1446" y="1119"/>
                    <a:pt x="1412" y="1119"/>
                  </a:cubicBezTo>
                  <a:cubicBezTo>
                    <a:pt x="1376" y="1119"/>
                    <a:pt x="1353" y="1130"/>
                    <a:pt x="1328" y="1152"/>
                  </a:cubicBezTo>
                  <a:cubicBezTo>
                    <a:pt x="1306" y="1163"/>
                    <a:pt x="1284" y="1189"/>
                    <a:pt x="1272" y="1200"/>
                  </a:cubicBezTo>
                  <a:cubicBezTo>
                    <a:pt x="1247" y="1233"/>
                    <a:pt x="1225" y="1281"/>
                    <a:pt x="1225" y="1328"/>
                  </a:cubicBezTo>
                  <a:cubicBezTo>
                    <a:pt x="1225" y="1362"/>
                    <a:pt x="1236" y="1398"/>
                    <a:pt x="1236" y="1421"/>
                  </a:cubicBezTo>
                  <a:cubicBezTo>
                    <a:pt x="1247" y="1454"/>
                    <a:pt x="1258" y="1479"/>
                    <a:pt x="1258" y="1502"/>
                  </a:cubicBezTo>
                  <a:lnTo>
                    <a:pt x="1258" y="1513"/>
                  </a:lnTo>
                  <a:cubicBezTo>
                    <a:pt x="1258" y="1538"/>
                    <a:pt x="1236" y="1572"/>
                    <a:pt x="1225" y="1594"/>
                  </a:cubicBezTo>
                  <a:cubicBezTo>
                    <a:pt x="1202" y="1630"/>
                    <a:pt x="1188" y="1653"/>
                    <a:pt x="1188" y="1689"/>
                  </a:cubicBezTo>
                  <a:cubicBezTo>
                    <a:pt x="1188" y="1700"/>
                    <a:pt x="1188" y="1711"/>
                    <a:pt x="1202" y="1723"/>
                  </a:cubicBezTo>
                  <a:cubicBezTo>
                    <a:pt x="1202" y="1734"/>
                    <a:pt x="1214" y="1759"/>
                    <a:pt x="1225" y="1759"/>
                  </a:cubicBezTo>
                  <a:cubicBezTo>
                    <a:pt x="1236" y="1770"/>
                    <a:pt x="1258" y="1781"/>
                    <a:pt x="1284" y="1781"/>
                  </a:cubicBezTo>
                  <a:cubicBezTo>
                    <a:pt x="1295" y="1781"/>
                    <a:pt x="1306" y="1781"/>
                    <a:pt x="1317" y="1770"/>
                  </a:cubicBezTo>
                  <a:cubicBezTo>
                    <a:pt x="1328" y="1759"/>
                    <a:pt x="1328" y="1759"/>
                    <a:pt x="1342" y="1748"/>
                  </a:cubicBezTo>
                  <a:cubicBezTo>
                    <a:pt x="1342" y="1734"/>
                    <a:pt x="1342" y="1734"/>
                    <a:pt x="1353" y="1734"/>
                  </a:cubicBezTo>
                  <a:lnTo>
                    <a:pt x="1365" y="1734"/>
                  </a:lnTo>
                  <a:cubicBezTo>
                    <a:pt x="1365" y="1730"/>
                    <a:pt x="1366" y="1729"/>
                    <a:pt x="1368" y="1729"/>
                  </a:cubicBezTo>
                  <a:cubicBezTo>
                    <a:pt x="1372" y="1729"/>
                    <a:pt x="1380" y="1734"/>
                    <a:pt x="1387" y="1734"/>
                  </a:cubicBezTo>
                  <a:cubicBezTo>
                    <a:pt x="1398" y="1748"/>
                    <a:pt x="1398" y="1759"/>
                    <a:pt x="1412" y="1770"/>
                  </a:cubicBezTo>
                  <a:cubicBezTo>
                    <a:pt x="1412" y="1781"/>
                    <a:pt x="1423" y="1804"/>
                    <a:pt x="1423" y="1829"/>
                  </a:cubicBezTo>
                  <a:cubicBezTo>
                    <a:pt x="1435" y="1840"/>
                    <a:pt x="1446" y="1862"/>
                    <a:pt x="1457" y="1888"/>
                  </a:cubicBezTo>
                  <a:cubicBezTo>
                    <a:pt x="1482" y="1899"/>
                    <a:pt x="1493" y="1910"/>
                    <a:pt x="1516" y="1910"/>
                  </a:cubicBezTo>
                  <a:cubicBezTo>
                    <a:pt x="1527" y="1921"/>
                    <a:pt x="1552" y="1932"/>
                    <a:pt x="1563" y="1932"/>
                  </a:cubicBezTo>
                  <a:cubicBezTo>
                    <a:pt x="1574" y="1932"/>
                    <a:pt x="1574" y="1944"/>
                    <a:pt x="1586" y="1958"/>
                  </a:cubicBezTo>
                  <a:lnTo>
                    <a:pt x="1586" y="1980"/>
                  </a:lnTo>
                  <a:lnTo>
                    <a:pt x="1586" y="1991"/>
                  </a:lnTo>
                  <a:cubicBezTo>
                    <a:pt x="1586" y="1991"/>
                    <a:pt x="1574" y="1991"/>
                    <a:pt x="1563" y="2002"/>
                  </a:cubicBezTo>
                  <a:cubicBezTo>
                    <a:pt x="1493" y="2027"/>
                    <a:pt x="1435" y="2061"/>
                    <a:pt x="1387" y="2109"/>
                  </a:cubicBezTo>
                  <a:lnTo>
                    <a:pt x="1376" y="2120"/>
                  </a:lnTo>
                  <a:lnTo>
                    <a:pt x="1376" y="2131"/>
                  </a:lnTo>
                  <a:cubicBezTo>
                    <a:pt x="1387" y="2153"/>
                    <a:pt x="1398" y="2178"/>
                    <a:pt x="1398" y="2201"/>
                  </a:cubicBezTo>
                  <a:lnTo>
                    <a:pt x="1398" y="2212"/>
                  </a:lnTo>
                  <a:lnTo>
                    <a:pt x="1387" y="2223"/>
                  </a:lnTo>
                  <a:cubicBezTo>
                    <a:pt x="1376" y="2237"/>
                    <a:pt x="1376" y="2237"/>
                    <a:pt x="1365" y="2237"/>
                  </a:cubicBezTo>
                  <a:cubicBezTo>
                    <a:pt x="1353" y="2237"/>
                    <a:pt x="1342" y="2223"/>
                    <a:pt x="1328" y="2223"/>
                  </a:cubicBezTo>
                  <a:cubicBezTo>
                    <a:pt x="1306" y="2212"/>
                    <a:pt x="1295" y="2201"/>
                    <a:pt x="1272" y="2201"/>
                  </a:cubicBezTo>
                  <a:cubicBezTo>
                    <a:pt x="1258" y="2201"/>
                    <a:pt x="1247" y="2190"/>
                    <a:pt x="1236" y="2190"/>
                  </a:cubicBezTo>
                  <a:cubicBezTo>
                    <a:pt x="1188" y="2201"/>
                    <a:pt x="1155" y="2212"/>
                    <a:pt x="1107" y="2223"/>
                  </a:cubicBezTo>
                  <a:cubicBezTo>
                    <a:pt x="1090" y="2223"/>
                    <a:pt x="1074" y="2231"/>
                    <a:pt x="1055" y="2235"/>
                  </a:cubicBezTo>
                  <a:lnTo>
                    <a:pt x="1055" y="2235"/>
                  </a:lnTo>
                  <a:cubicBezTo>
                    <a:pt x="1045" y="2215"/>
                    <a:pt x="1037" y="2197"/>
                    <a:pt x="1037" y="2178"/>
                  </a:cubicBezTo>
                  <a:cubicBezTo>
                    <a:pt x="1004" y="2109"/>
                    <a:pt x="979" y="2050"/>
                    <a:pt x="934" y="1991"/>
                  </a:cubicBezTo>
                  <a:cubicBezTo>
                    <a:pt x="853" y="1862"/>
                    <a:pt x="758" y="1759"/>
                    <a:pt x="643" y="1678"/>
                  </a:cubicBezTo>
                  <a:cubicBezTo>
                    <a:pt x="584" y="1642"/>
                    <a:pt x="537" y="1608"/>
                    <a:pt x="478" y="1583"/>
                  </a:cubicBezTo>
                  <a:cubicBezTo>
                    <a:pt x="456" y="1572"/>
                    <a:pt x="445" y="1560"/>
                    <a:pt x="408" y="1560"/>
                  </a:cubicBezTo>
                  <a:cubicBezTo>
                    <a:pt x="397" y="1560"/>
                    <a:pt x="386" y="1560"/>
                    <a:pt x="364" y="1572"/>
                  </a:cubicBezTo>
                  <a:cubicBezTo>
                    <a:pt x="350" y="1583"/>
                    <a:pt x="350" y="1594"/>
                    <a:pt x="338" y="1619"/>
                  </a:cubicBezTo>
                  <a:lnTo>
                    <a:pt x="338" y="1630"/>
                  </a:lnTo>
                  <a:cubicBezTo>
                    <a:pt x="327" y="1630"/>
                    <a:pt x="327" y="1619"/>
                    <a:pt x="327" y="1608"/>
                  </a:cubicBezTo>
                  <a:lnTo>
                    <a:pt x="327" y="1594"/>
                  </a:lnTo>
                  <a:cubicBezTo>
                    <a:pt x="327" y="1583"/>
                    <a:pt x="338" y="1572"/>
                    <a:pt x="350" y="1549"/>
                  </a:cubicBezTo>
                  <a:cubicBezTo>
                    <a:pt x="375" y="1513"/>
                    <a:pt x="386" y="1468"/>
                    <a:pt x="386" y="1421"/>
                  </a:cubicBezTo>
                  <a:cubicBezTo>
                    <a:pt x="386" y="1351"/>
                    <a:pt x="364" y="1281"/>
                    <a:pt x="305" y="1233"/>
                  </a:cubicBezTo>
                  <a:cubicBezTo>
                    <a:pt x="269" y="1211"/>
                    <a:pt x="246" y="1200"/>
                    <a:pt x="210" y="1189"/>
                  </a:cubicBezTo>
                  <a:cubicBezTo>
                    <a:pt x="199" y="1175"/>
                    <a:pt x="187" y="1175"/>
                    <a:pt x="176" y="1163"/>
                  </a:cubicBezTo>
                  <a:cubicBezTo>
                    <a:pt x="165" y="1152"/>
                    <a:pt x="165" y="1141"/>
                    <a:pt x="154" y="1130"/>
                  </a:cubicBezTo>
                  <a:lnTo>
                    <a:pt x="154" y="1105"/>
                  </a:lnTo>
                  <a:cubicBezTo>
                    <a:pt x="154" y="1094"/>
                    <a:pt x="140" y="1082"/>
                    <a:pt x="140" y="1071"/>
                  </a:cubicBezTo>
                  <a:cubicBezTo>
                    <a:pt x="118" y="1049"/>
                    <a:pt x="95" y="1035"/>
                    <a:pt x="84" y="1024"/>
                  </a:cubicBezTo>
                  <a:cubicBezTo>
                    <a:pt x="70" y="1012"/>
                    <a:pt x="48" y="1001"/>
                    <a:pt x="48" y="990"/>
                  </a:cubicBezTo>
                  <a:lnTo>
                    <a:pt x="48" y="979"/>
                  </a:lnTo>
                  <a:lnTo>
                    <a:pt x="70" y="979"/>
                  </a:lnTo>
                  <a:cubicBezTo>
                    <a:pt x="70" y="990"/>
                    <a:pt x="84" y="990"/>
                    <a:pt x="95" y="990"/>
                  </a:cubicBezTo>
                  <a:lnTo>
                    <a:pt x="106" y="990"/>
                  </a:lnTo>
                  <a:cubicBezTo>
                    <a:pt x="129" y="990"/>
                    <a:pt x="140" y="990"/>
                    <a:pt x="154" y="979"/>
                  </a:cubicBezTo>
                  <a:cubicBezTo>
                    <a:pt x="176" y="954"/>
                    <a:pt x="187" y="931"/>
                    <a:pt x="210" y="909"/>
                  </a:cubicBezTo>
                  <a:cubicBezTo>
                    <a:pt x="224" y="895"/>
                    <a:pt x="235" y="873"/>
                    <a:pt x="246" y="861"/>
                  </a:cubicBezTo>
                  <a:cubicBezTo>
                    <a:pt x="305" y="814"/>
                    <a:pt x="350" y="769"/>
                    <a:pt x="397" y="699"/>
                  </a:cubicBezTo>
                  <a:cubicBezTo>
                    <a:pt x="467" y="582"/>
                    <a:pt x="515" y="453"/>
                    <a:pt x="515" y="313"/>
                  </a:cubicBezTo>
                  <a:lnTo>
                    <a:pt x="515" y="291"/>
                  </a:lnTo>
                  <a:lnTo>
                    <a:pt x="515" y="291"/>
                  </a:lnTo>
                  <a:cubicBezTo>
                    <a:pt x="522" y="292"/>
                    <a:pt x="529" y="295"/>
                    <a:pt x="537" y="302"/>
                  </a:cubicBezTo>
                  <a:cubicBezTo>
                    <a:pt x="548" y="313"/>
                    <a:pt x="559" y="336"/>
                    <a:pt x="559" y="350"/>
                  </a:cubicBezTo>
                  <a:lnTo>
                    <a:pt x="573" y="372"/>
                  </a:lnTo>
                  <a:lnTo>
                    <a:pt x="596" y="361"/>
                  </a:lnTo>
                  <a:cubicBezTo>
                    <a:pt x="607" y="350"/>
                    <a:pt x="618" y="350"/>
                    <a:pt x="618" y="350"/>
                  </a:cubicBezTo>
                  <a:cubicBezTo>
                    <a:pt x="643" y="350"/>
                    <a:pt x="666" y="361"/>
                    <a:pt x="688" y="372"/>
                  </a:cubicBezTo>
                  <a:cubicBezTo>
                    <a:pt x="713" y="394"/>
                    <a:pt x="735" y="420"/>
                    <a:pt x="758" y="431"/>
                  </a:cubicBezTo>
                  <a:cubicBezTo>
                    <a:pt x="805" y="464"/>
                    <a:pt x="853" y="476"/>
                    <a:pt x="909" y="476"/>
                  </a:cubicBezTo>
                  <a:cubicBezTo>
                    <a:pt x="956" y="476"/>
                    <a:pt x="1015" y="464"/>
                    <a:pt x="1049" y="431"/>
                  </a:cubicBezTo>
                  <a:cubicBezTo>
                    <a:pt x="1119" y="383"/>
                    <a:pt x="1155" y="302"/>
                    <a:pt x="1188" y="232"/>
                  </a:cubicBezTo>
                  <a:cubicBezTo>
                    <a:pt x="1225" y="174"/>
                    <a:pt x="1258" y="104"/>
                    <a:pt x="1306" y="81"/>
                  </a:cubicBezTo>
                  <a:cubicBezTo>
                    <a:pt x="1342" y="56"/>
                    <a:pt x="1387" y="45"/>
                    <a:pt x="1423" y="45"/>
                  </a:cubicBezTo>
                  <a:close/>
                  <a:moveTo>
                    <a:pt x="1423" y="0"/>
                  </a:moveTo>
                  <a:cubicBezTo>
                    <a:pt x="1376" y="0"/>
                    <a:pt x="1328" y="11"/>
                    <a:pt x="1284" y="34"/>
                  </a:cubicBezTo>
                  <a:cubicBezTo>
                    <a:pt x="1214" y="81"/>
                    <a:pt x="1177" y="151"/>
                    <a:pt x="1144" y="221"/>
                  </a:cubicBezTo>
                  <a:cubicBezTo>
                    <a:pt x="1107" y="291"/>
                    <a:pt x="1074" y="350"/>
                    <a:pt x="1026" y="394"/>
                  </a:cubicBezTo>
                  <a:cubicBezTo>
                    <a:pt x="993" y="420"/>
                    <a:pt x="945" y="431"/>
                    <a:pt x="909" y="431"/>
                  </a:cubicBezTo>
                  <a:cubicBezTo>
                    <a:pt x="864" y="431"/>
                    <a:pt x="817" y="420"/>
                    <a:pt x="783" y="394"/>
                  </a:cubicBezTo>
                  <a:cubicBezTo>
                    <a:pt x="769" y="372"/>
                    <a:pt x="735" y="361"/>
                    <a:pt x="713" y="336"/>
                  </a:cubicBezTo>
                  <a:cubicBezTo>
                    <a:pt x="688" y="313"/>
                    <a:pt x="654" y="302"/>
                    <a:pt x="618" y="302"/>
                  </a:cubicBezTo>
                  <a:cubicBezTo>
                    <a:pt x="612" y="302"/>
                    <a:pt x="602" y="302"/>
                    <a:pt x="592" y="304"/>
                  </a:cubicBezTo>
                  <a:lnTo>
                    <a:pt x="592" y="304"/>
                  </a:lnTo>
                  <a:cubicBezTo>
                    <a:pt x="586" y="293"/>
                    <a:pt x="580" y="280"/>
                    <a:pt x="573" y="266"/>
                  </a:cubicBezTo>
                  <a:cubicBezTo>
                    <a:pt x="548" y="255"/>
                    <a:pt x="537" y="243"/>
                    <a:pt x="503" y="243"/>
                  </a:cubicBezTo>
                  <a:lnTo>
                    <a:pt x="478" y="243"/>
                  </a:lnTo>
                  <a:lnTo>
                    <a:pt x="467" y="255"/>
                  </a:lnTo>
                  <a:lnTo>
                    <a:pt x="467" y="266"/>
                  </a:lnTo>
                  <a:lnTo>
                    <a:pt x="467" y="313"/>
                  </a:lnTo>
                  <a:cubicBezTo>
                    <a:pt x="467" y="442"/>
                    <a:pt x="420" y="571"/>
                    <a:pt x="364" y="674"/>
                  </a:cubicBezTo>
                  <a:cubicBezTo>
                    <a:pt x="316" y="733"/>
                    <a:pt x="269" y="780"/>
                    <a:pt x="210" y="825"/>
                  </a:cubicBezTo>
                  <a:cubicBezTo>
                    <a:pt x="199" y="839"/>
                    <a:pt x="187" y="850"/>
                    <a:pt x="187" y="861"/>
                  </a:cubicBezTo>
                  <a:cubicBezTo>
                    <a:pt x="165" y="884"/>
                    <a:pt x="154" y="909"/>
                    <a:pt x="140" y="920"/>
                  </a:cubicBezTo>
                  <a:cubicBezTo>
                    <a:pt x="129" y="931"/>
                    <a:pt x="129" y="943"/>
                    <a:pt x="118" y="943"/>
                  </a:cubicBezTo>
                  <a:lnTo>
                    <a:pt x="84" y="943"/>
                  </a:lnTo>
                  <a:cubicBezTo>
                    <a:pt x="84" y="931"/>
                    <a:pt x="70" y="931"/>
                    <a:pt x="48" y="931"/>
                  </a:cubicBezTo>
                  <a:cubicBezTo>
                    <a:pt x="25" y="931"/>
                    <a:pt x="14" y="943"/>
                    <a:pt x="14" y="954"/>
                  </a:cubicBezTo>
                  <a:cubicBezTo>
                    <a:pt x="0" y="965"/>
                    <a:pt x="0" y="979"/>
                    <a:pt x="0" y="990"/>
                  </a:cubicBezTo>
                  <a:lnTo>
                    <a:pt x="0" y="1012"/>
                  </a:lnTo>
                  <a:cubicBezTo>
                    <a:pt x="14" y="1035"/>
                    <a:pt x="36" y="1060"/>
                    <a:pt x="59" y="1060"/>
                  </a:cubicBezTo>
                  <a:cubicBezTo>
                    <a:pt x="84" y="1071"/>
                    <a:pt x="95" y="1082"/>
                    <a:pt x="95" y="1094"/>
                  </a:cubicBezTo>
                  <a:cubicBezTo>
                    <a:pt x="106" y="1094"/>
                    <a:pt x="106" y="1105"/>
                    <a:pt x="106" y="1119"/>
                  </a:cubicBezTo>
                  <a:cubicBezTo>
                    <a:pt x="106" y="1130"/>
                    <a:pt x="106" y="1141"/>
                    <a:pt x="118" y="1152"/>
                  </a:cubicBezTo>
                  <a:cubicBezTo>
                    <a:pt x="118" y="1163"/>
                    <a:pt x="129" y="1189"/>
                    <a:pt x="140" y="1200"/>
                  </a:cubicBezTo>
                  <a:cubicBezTo>
                    <a:pt x="165" y="1211"/>
                    <a:pt x="187" y="1222"/>
                    <a:pt x="210" y="1233"/>
                  </a:cubicBezTo>
                  <a:cubicBezTo>
                    <a:pt x="235" y="1245"/>
                    <a:pt x="257" y="1258"/>
                    <a:pt x="280" y="1270"/>
                  </a:cubicBezTo>
                  <a:cubicBezTo>
                    <a:pt x="316" y="1303"/>
                    <a:pt x="338" y="1362"/>
                    <a:pt x="338" y="1421"/>
                  </a:cubicBezTo>
                  <a:cubicBezTo>
                    <a:pt x="338" y="1454"/>
                    <a:pt x="327" y="1491"/>
                    <a:pt x="316" y="1524"/>
                  </a:cubicBezTo>
                  <a:cubicBezTo>
                    <a:pt x="305" y="1549"/>
                    <a:pt x="294" y="1560"/>
                    <a:pt x="280" y="1583"/>
                  </a:cubicBezTo>
                  <a:lnTo>
                    <a:pt x="280" y="1608"/>
                  </a:lnTo>
                  <a:cubicBezTo>
                    <a:pt x="280" y="1630"/>
                    <a:pt x="294" y="1653"/>
                    <a:pt x="305" y="1664"/>
                  </a:cubicBezTo>
                  <a:cubicBezTo>
                    <a:pt x="316" y="1678"/>
                    <a:pt x="327" y="1678"/>
                    <a:pt x="338" y="1678"/>
                  </a:cubicBezTo>
                  <a:cubicBezTo>
                    <a:pt x="350" y="1678"/>
                    <a:pt x="364" y="1678"/>
                    <a:pt x="375" y="1664"/>
                  </a:cubicBezTo>
                  <a:cubicBezTo>
                    <a:pt x="375" y="1664"/>
                    <a:pt x="386" y="1653"/>
                    <a:pt x="386" y="1642"/>
                  </a:cubicBezTo>
                  <a:lnTo>
                    <a:pt x="386" y="1619"/>
                  </a:lnTo>
                  <a:lnTo>
                    <a:pt x="397" y="1608"/>
                  </a:lnTo>
                  <a:lnTo>
                    <a:pt x="408" y="1608"/>
                  </a:lnTo>
                  <a:cubicBezTo>
                    <a:pt x="420" y="1608"/>
                    <a:pt x="445" y="1608"/>
                    <a:pt x="456" y="1619"/>
                  </a:cubicBezTo>
                  <a:cubicBezTo>
                    <a:pt x="515" y="1642"/>
                    <a:pt x="559" y="1678"/>
                    <a:pt x="607" y="1711"/>
                  </a:cubicBezTo>
                  <a:cubicBezTo>
                    <a:pt x="724" y="1793"/>
                    <a:pt x="817" y="1899"/>
                    <a:pt x="898" y="2013"/>
                  </a:cubicBezTo>
                  <a:cubicBezTo>
                    <a:pt x="934" y="2072"/>
                    <a:pt x="968" y="2131"/>
                    <a:pt x="993" y="2201"/>
                  </a:cubicBezTo>
                  <a:cubicBezTo>
                    <a:pt x="1004" y="2223"/>
                    <a:pt x="1015" y="2237"/>
                    <a:pt x="1015" y="2260"/>
                  </a:cubicBezTo>
                  <a:lnTo>
                    <a:pt x="1026" y="2282"/>
                  </a:lnTo>
                  <a:lnTo>
                    <a:pt x="1037" y="2282"/>
                  </a:lnTo>
                  <a:cubicBezTo>
                    <a:pt x="1074" y="2282"/>
                    <a:pt x="1096" y="2271"/>
                    <a:pt x="1119" y="2271"/>
                  </a:cubicBezTo>
                  <a:cubicBezTo>
                    <a:pt x="1166" y="2260"/>
                    <a:pt x="1202" y="2237"/>
                    <a:pt x="1236" y="2237"/>
                  </a:cubicBezTo>
                  <a:cubicBezTo>
                    <a:pt x="1247" y="2237"/>
                    <a:pt x="1247" y="2248"/>
                    <a:pt x="1258" y="2248"/>
                  </a:cubicBezTo>
                  <a:cubicBezTo>
                    <a:pt x="1272" y="2248"/>
                    <a:pt x="1295" y="2260"/>
                    <a:pt x="1306" y="2260"/>
                  </a:cubicBezTo>
                  <a:cubicBezTo>
                    <a:pt x="1328" y="2271"/>
                    <a:pt x="1342" y="2282"/>
                    <a:pt x="1365" y="2282"/>
                  </a:cubicBezTo>
                  <a:cubicBezTo>
                    <a:pt x="1387" y="2282"/>
                    <a:pt x="1398" y="2271"/>
                    <a:pt x="1412" y="2260"/>
                  </a:cubicBezTo>
                  <a:cubicBezTo>
                    <a:pt x="1423" y="2260"/>
                    <a:pt x="1435" y="2248"/>
                    <a:pt x="1435" y="2237"/>
                  </a:cubicBezTo>
                  <a:cubicBezTo>
                    <a:pt x="1446" y="2223"/>
                    <a:pt x="1446" y="2212"/>
                    <a:pt x="1446" y="2201"/>
                  </a:cubicBezTo>
                  <a:cubicBezTo>
                    <a:pt x="1446" y="2174"/>
                    <a:pt x="1439" y="2153"/>
                    <a:pt x="1430" y="2134"/>
                  </a:cubicBezTo>
                  <a:lnTo>
                    <a:pt x="1430" y="2134"/>
                  </a:lnTo>
                  <a:cubicBezTo>
                    <a:pt x="1464" y="2093"/>
                    <a:pt x="1519" y="2060"/>
                    <a:pt x="1574" y="2050"/>
                  </a:cubicBezTo>
                  <a:cubicBezTo>
                    <a:pt x="1586" y="2039"/>
                    <a:pt x="1608" y="2039"/>
                    <a:pt x="1622" y="2013"/>
                  </a:cubicBezTo>
                  <a:cubicBezTo>
                    <a:pt x="1633" y="2002"/>
                    <a:pt x="1633" y="1991"/>
                    <a:pt x="1633" y="1980"/>
                  </a:cubicBezTo>
                  <a:cubicBezTo>
                    <a:pt x="1633" y="1958"/>
                    <a:pt x="1633" y="1944"/>
                    <a:pt x="1622" y="1932"/>
                  </a:cubicBezTo>
                  <a:cubicBezTo>
                    <a:pt x="1608" y="1910"/>
                    <a:pt x="1597" y="1899"/>
                    <a:pt x="1586" y="1899"/>
                  </a:cubicBezTo>
                  <a:cubicBezTo>
                    <a:pt x="1563" y="1888"/>
                    <a:pt x="1552" y="1874"/>
                    <a:pt x="1527" y="1874"/>
                  </a:cubicBezTo>
                  <a:cubicBezTo>
                    <a:pt x="1516" y="1862"/>
                    <a:pt x="1504" y="1862"/>
                    <a:pt x="1493" y="1851"/>
                  </a:cubicBezTo>
                  <a:cubicBezTo>
                    <a:pt x="1482" y="1840"/>
                    <a:pt x="1482" y="1829"/>
                    <a:pt x="1468" y="1804"/>
                  </a:cubicBezTo>
                  <a:cubicBezTo>
                    <a:pt x="1468" y="1793"/>
                    <a:pt x="1457" y="1770"/>
                    <a:pt x="1446" y="1748"/>
                  </a:cubicBezTo>
                  <a:cubicBezTo>
                    <a:pt x="1446" y="1734"/>
                    <a:pt x="1435" y="1711"/>
                    <a:pt x="1412" y="1700"/>
                  </a:cubicBezTo>
                  <a:cubicBezTo>
                    <a:pt x="1398" y="1689"/>
                    <a:pt x="1376" y="1689"/>
                    <a:pt x="1365" y="1689"/>
                  </a:cubicBezTo>
                  <a:cubicBezTo>
                    <a:pt x="1353" y="1689"/>
                    <a:pt x="1328" y="1689"/>
                    <a:pt x="1317" y="1700"/>
                  </a:cubicBezTo>
                  <a:cubicBezTo>
                    <a:pt x="1306" y="1700"/>
                    <a:pt x="1306" y="1711"/>
                    <a:pt x="1295" y="1723"/>
                  </a:cubicBezTo>
                  <a:cubicBezTo>
                    <a:pt x="1295" y="1723"/>
                    <a:pt x="1295" y="1734"/>
                    <a:pt x="1284" y="1734"/>
                  </a:cubicBezTo>
                  <a:cubicBezTo>
                    <a:pt x="1272" y="1734"/>
                    <a:pt x="1258" y="1734"/>
                    <a:pt x="1258" y="1723"/>
                  </a:cubicBezTo>
                  <a:cubicBezTo>
                    <a:pt x="1247" y="1723"/>
                    <a:pt x="1247" y="1711"/>
                    <a:pt x="1236" y="1711"/>
                  </a:cubicBezTo>
                  <a:lnTo>
                    <a:pt x="1236" y="1689"/>
                  </a:lnTo>
                  <a:cubicBezTo>
                    <a:pt x="1236" y="1664"/>
                    <a:pt x="1247" y="1642"/>
                    <a:pt x="1258" y="1619"/>
                  </a:cubicBezTo>
                  <a:cubicBezTo>
                    <a:pt x="1284" y="1594"/>
                    <a:pt x="1306" y="1560"/>
                    <a:pt x="1306" y="1513"/>
                  </a:cubicBezTo>
                  <a:lnTo>
                    <a:pt x="1306" y="1502"/>
                  </a:lnTo>
                  <a:cubicBezTo>
                    <a:pt x="1306" y="1468"/>
                    <a:pt x="1295" y="1432"/>
                    <a:pt x="1284" y="1409"/>
                  </a:cubicBezTo>
                  <a:cubicBezTo>
                    <a:pt x="1272" y="1373"/>
                    <a:pt x="1272" y="1351"/>
                    <a:pt x="1272" y="1328"/>
                  </a:cubicBezTo>
                  <a:cubicBezTo>
                    <a:pt x="1272" y="1292"/>
                    <a:pt x="1284" y="1258"/>
                    <a:pt x="1306" y="1233"/>
                  </a:cubicBezTo>
                  <a:cubicBezTo>
                    <a:pt x="1317" y="1211"/>
                    <a:pt x="1342" y="1200"/>
                    <a:pt x="1353" y="1189"/>
                  </a:cubicBezTo>
                  <a:cubicBezTo>
                    <a:pt x="1376" y="1175"/>
                    <a:pt x="1387" y="1163"/>
                    <a:pt x="1412" y="1163"/>
                  </a:cubicBezTo>
                  <a:cubicBezTo>
                    <a:pt x="1423" y="1163"/>
                    <a:pt x="1446" y="1175"/>
                    <a:pt x="1457" y="1189"/>
                  </a:cubicBezTo>
                  <a:cubicBezTo>
                    <a:pt x="1468" y="1200"/>
                    <a:pt x="1482" y="1211"/>
                    <a:pt x="1468" y="1222"/>
                  </a:cubicBezTo>
                  <a:lnTo>
                    <a:pt x="1468" y="1233"/>
                  </a:lnTo>
                  <a:lnTo>
                    <a:pt x="1457" y="1281"/>
                  </a:lnTo>
                  <a:lnTo>
                    <a:pt x="1504" y="1258"/>
                  </a:lnTo>
                  <a:lnTo>
                    <a:pt x="1516" y="1258"/>
                  </a:lnTo>
                  <a:cubicBezTo>
                    <a:pt x="1527" y="1258"/>
                    <a:pt x="1538" y="1258"/>
                    <a:pt x="1563" y="1270"/>
                  </a:cubicBezTo>
                  <a:cubicBezTo>
                    <a:pt x="1574" y="1281"/>
                    <a:pt x="1586" y="1292"/>
                    <a:pt x="1608" y="1303"/>
                  </a:cubicBezTo>
                  <a:cubicBezTo>
                    <a:pt x="1633" y="1328"/>
                    <a:pt x="1667" y="1351"/>
                    <a:pt x="1703" y="1351"/>
                  </a:cubicBezTo>
                  <a:cubicBezTo>
                    <a:pt x="1725" y="1351"/>
                    <a:pt x="1748" y="1351"/>
                    <a:pt x="1762" y="1328"/>
                  </a:cubicBezTo>
                  <a:cubicBezTo>
                    <a:pt x="1784" y="1303"/>
                    <a:pt x="1795" y="1281"/>
                    <a:pt x="1795" y="1258"/>
                  </a:cubicBezTo>
                  <a:cubicBezTo>
                    <a:pt x="1806" y="1245"/>
                    <a:pt x="1806" y="1233"/>
                    <a:pt x="1806" y="1233"/>
                  </a:cubicBezTo>
                  <a:lnTo>
                    <a:pt x="1818" y="1222"/>
                  </a:lnTo>
                  <a:lnTo>
                    <a:pt x="1818" y="1233"/>
                  </a:lnTo>
                  <a:lnTo>
                    <a:pt x="1832" y="1233"/>
                  </a:lnTo>
                  <a:cubicBezTo>
                    <a:pt x="1832" y="1233"/>
                    <a:pt x="1832" y="1245"/>
                    <a:pt x="1843" y="1245"/>
                  </a:cubicBezTo>
                  <a:cubicBezTo>
                    <a:pt x="1843" y="1258"/>
                    <a:pt x="1854" y="1270"/>
                    <a:pt x="1865" y="1281"/>
                  </a:cubicBezTo>
                  <a:cubicBezTo>
                    <a:pt x="1876" y="1292"/>
                    <a:pt x="1902" y="1303"/>
                    <a:pt x="1924" y="1303"/>
                  </a:cubicBezTo>
                  <a:cubicBezTo>
                    <a:pt x="1946" y="1303"/>
                    <a:pt x="1971" y="1292"/>
                    <a:pt x="1994" y="1270"/>
                  </a:cubicBezTo>
                  <a:cubicBezTo>
                    <a:pt x="2016" y="1258"/>
                    <a:pt x="2027" y="1233"/>
                    <a:pt x="2041" y="1211"/>
                  </a:cubicBezTo>
                  <a:cubicBezTo>
                    <a:pt x="2041" y="1189"/>
                    <a:pt x="2053" y="1175"/>
                    <a:pt x="2053" y="1152"/>
                  </a:cubicBezTo>
                  <a:cubicBezTo>
                    <a:pt x="2053" y="1105"/>
                    <a:pt x="2027" y="1060"/>
                    <a:pt x="2027" y="1024"/>
                  </a:cubicBezTo>
                  <a:lnTo>
                    <a:pt x="2027" y="1012"/>
                  </a:lnTo>
                  <a:lnTo>
                    <a:pt x="2027" y="1001"/>
                  </a:lnTo>
                  <a:lnTo>
                    <a:pt x="2041" y="990"/>
                  </a:lnTo>
                  <a:cubicBezTo>
                    <a:pt x="2097" y="965"/>
                    <a:pt x="2145" y="954"/>
                    <a:pt x="2192" y="931"/>
                  </a:cubicBezTo>
                  <a:cubicBezTo>
                    <a:pt x="2215" y="920"/>
                    <a:pt x="2226" y="909"/>
                    <a:pt x="2251" y="895"/>
                  </a:cubicBezTo>
                  <a:cubicBezTo>
                    <a:pt x="2262" y="873"/>
                    <a:pt x="2273" y="850"/>
                    <a:pt x="2273" y="839"/>
                  </a:cubicBezTo>
                  <a:cubicBezTo>
                    <a:pt x="2285" y="825"/>
                    <a:pt x="2296" y="814"/>
                    <a:pt x="2307" y="803"/>
                  </a:cubicBezTo>
                  <a:cubicBezTo>
                    <a:pt x="2321" y="792"/>
                    <a:pt x="2343" y="780"/>
                    <a:pt x="2355" y="755"/>
                  </a:cubicBezTo>
                  <a:cubicBezTo>
                    <a:pt x="2377" y="733"/>
                    <a:pt x="2377" y="699"/>
                    <a:pt x="2377" y="663"/>
                  </a:cubicBezTo>
                  <a:cubicBezTo>
                    <a:pt x="2377" y="615"/>
                    <a:pt x="2377" y="582"/>
                    <a:pt x="2366" y="545"/>
                  </a:cubicBezTo>
                  <a:lnTo>
                    <a:pt x="2366" y="512"/>
                  </a:lnTo>
                  <a:cubicBezTo>
                    <a:pt x="2366" y="501"/>
                    <a:pt x="2366" y="490"/>
                    <a:pt x="2377" y="464"/>
                  </a:cubicBezTo>
                  <a:lnTo>
                    <a:pt x="2377" y="453"/>
                  </a:lnTo>
                  <a:lnTo>
                    <a:pt x="2366" y="442"/>
                  </a:lnTo>
                  <a:cubicBezTo>
                    <a:pt x="2343" y="431"/>
                    <a:pt x="2321" y="406"/>
                    <a:pt x="2285" y="394"/>
                  </a:cubicBezTo>
                  <a:lnTo>
                    <a:pt x="2181" y="394"/>
                  </a:lnTo>
                  <a:cubicBezTo>
                    <a:pt x="2097" y="394"/>
                    <a:pt x="2005" y="350"/>
                    <a:pt x="1971" y="266"/>
                  </a:cubicBezTo>
                  <a:cubicBezTo>
                    <a:pt x="1971" y="255"/>
                    <a:pt x="1957" y="232"/>
                    <a:pt x="1946" y="221"/>
                  </a:cubicBezTo>
                  <a:cubicBezTo>
                    <a:pt x="1935" y="196"/>
                    <a:pt x="1913" y="174"/>
                    <a:pt x="1888" y="174"/>
                  </a:cubicBezTo>
                  <a:lnTo>
                    <a:pt x="1876" y="174"/>
                  </a:lnTo>
                  <a:cubicBezTo>
                    <a:pt x="1854" y="174"/>
                    <a:pt x="1832" y="185"/>
                    <a:pt x="1818" y="185"/>
                  </a:cubicBezTo>
                  <a:lnTo>
                    <a:pt x="1806" y="174"/>
                  </a:lnTo>
                  <a:cubicBezTo>
                    <a:pt x="1806" y="174"/>
                    <a:pt x="1795" y="174"/>
                    <a:pt x="1795" y="162"/>
                  </a:cubicBezTo>
                  <a:cubicBezTo>
                    <a:pt x="1784" y="151"/>
                    <a:pt x="1784" y="140"/>
                    <a:pt x="1773" y="115"/>
                  </a:cubicBezTo>
                  <a:cubicBezTo>
                    <a:pt x="1748" y="92"/>
                    <a:pt x="1714" y="70"/>
                    <a:pt x="1692" y="56"/>
                  </a:cubicBezTo>
                  <a:cubicBezTo>
                    <a:pt x="1655" y="45"/>
                    <a:pt x="1622" y="34"/>
                    <a:pt x="1586" y="23"/>
                  </a:cubicBezTo>
                  <a:cubicBezTo>
                    <a:pt x="1538" y="11"/>
                    <a:pt x="1482" y="0"/>
                    <a:pt x="142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40" name="TextBox 339">
            <a:extLst>
              <a:ext uri="{FF2B5EF4-FFF2-40B4-BE49-F238E27FC236}">
                <a16:creationId xmlns:a16="http://schemas.microsoft.com/office/drawing/2014/main" xmlns="" id="{2C20439D-062B-7853-A273-412A0FCC92DB}"/>
              </a:ext>
            </a:extLst>
          </p:cNvPr>
          <p:cNvSpPr txBox="1"/>
          <p:nvPr/>
        </p:nvSpPr>
        <p:spPr>
          <a:xfrm>
            <a:off x="501974" y="2208253"/>
            <a:ext cx="137018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l-GR" sz="3600" dirty="0">
                <a:latin typeface="Calibri" panose="020F0502020204030204" pitchFamily="34" charset="0"/>
                <a:cs typeface="Calibri" panose="020F0502020204030204" pitchFamily="34" charset="0"/>
              </a:rPr>
              <a:t>Παρακαλούμε επιλέξτε τη Διοικητική Περιφέρεια στην οποία διαμένετε</a:t>
            </a:r>
            <a:r>
              <a:rPr lang="en-GB" sz="36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l-GR" sz="3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4" name="Google Shape;579;p22">
            <a:extLst>
              <a:ext uri="{FF2B5EF4-FFF2-40B4-BE49-F238E27FC236}">
                <a16:creationId xmlns:a16="http://schemas.microsoft.com/office/drawing/2014/main" xmlns="" id="{0A11D0CF-0479-82F1-224C-7BE111F9362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781386" y="555823"/>
            <a:ext cx="11360150" cy="1110273"/>
          </a:xfrm>
          <a:prstGeom prst="rect">
            <a:avLst/>
          </a:prstGeom>
        </p:spPr>
        <p:txBody>
          <a:bodyPr spcFirstLastPara="1" vert="horz" wrap="square" lIns="243800" tIns="243800" rIns="243800" bIns="243800" rtlCol="0" anchor="ctr" anchorCtr="0">
            <a:no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el-GR" sz="4000" b="1" dirty="0">
                <a:solidFill>
                  <a:srgbClr val="1F497D"/>
                </a:solidFill>
                <a:latin typeface="Calibri" panose="020F0502020204030204" pitchFamily="34" charset="0"/>
                <a:cs typeface="Arial" panose="020B0604020202020204" pitchFamily="34" charset="0"/>
                <a:sym typeface="Helvetica"/>
              </a:rPr>
              <a:t>ΔΗΜΟΓΡΑΦΙΚΑ</a:t>
            </a:r>
            <a:endParaRPr sz="4000" b="1" dirty="0">
              <a:solidFill>
                <a:srgbClr val="1F497D"/>
              </a:solidFill>
              <a:latin typeface="Calibri" panose="020F0502020204030204" pitchFamily="34" charset="0"/>
              <a:cs typeface="Arial" panose="020B0604020202020204" pitchFamily="34" charset="0"/>
              <a:sym typeface="Helvetica"/>
            </a:endParaRPr>
          </a:p>
        </p:txBody>
      </p:sp>
      <p:graphicFrame>
        <p:nvGraphicFramePr>
          <p:cNvPr id="2" name="Γράφημα 1">
            <a:extLst>
              <a:ext uri="{FF2B5EF4-FFF2-40B4-BE49-F238E27FC236}">
                <a16:creationId xmlns:a16="http://schemas.microsoft.com/office/drawing/2014/main" xmlns="" id="{FE2602C6-00D5-010F-FCC8-7C8394FD19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1430581"/>
              </p:ext>
            </p:extLst>
          </p:nvPr>
        </p:nvGraphicFramePr>
        <p:xfrm>
          <a:off x="15151663" y="2208253"/>
          <a:ext cx="9232337" cy="8394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46" name="Πίνακας 346">
            <a:extLst>
              <a:ext uri="{FF2B5EF4-FFF2-40B4-BE49-F238E27FC236}">
                <a16:creationId xmlns:a16="http://schemas.microsoft.com/office/drawing/2014/main" xmlns="" id="{5BF76339-8D7E-7950-58AB-A828AB2BB9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9318393"/>
              </p:ext>
            </p:extLst>
          </p:nvPr>
        </p:nvGraphicFramePr>
        <p:xfrm>
          <a:off x="424641" y="3671405"/>
          <a:ext cx="7652195" cy="8673769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6585618">
                  <a:extLst>
                    <a:ext uri="{9D8B030D-6E8A-4147-A177-3AD203B41FA5}">
                      <a16:colId xmlns:a16="http://schemas.microsoft.com/office/drawing/2014/main" xmlns="" val="334815494"/>
                    </a:ext>
                  </a:extLst>
                </a:gridCol>
                <a:gridCol w="1066577">
                  <a:extLst>
                    <a:ext uri="{9D8B030D-6E8A-4147-A177-3AD203B41FA5}">
                      <a16:colId xmlns:a16="http://schemas.microsoft.com/office/drawing/2014/main" xmlns="" val="3526856083"/>
                    </a:ext>
                  </a:extLst>
                </a:gridCol>
              </a:tblGrid>
              <a:tr h="59393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b="0" dirty="0">
                          <a:solidFill>
                            <a:schemeClr val="tx1"/>
                          </a:solidFill>
                          <a:effectLst/>
                        </a:rPr>
                        <a:t>ΑΝΑΤΟΛΙΚΗ ΜΑΚΕΔΟΝΙΑ - ΘΡΑΚΗ</a:t>
                      </a:r>
                      <a:endParaRPr lang="el-GR" sz="2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b="0" dirty="0">
                          <a:solidFill>
                            <a:schemeClr val="tx1"/>
                          </a:solidFill>
                          <a:effectLst/>
                        </a:rPr>
                        <a:t>4,3</a:t>
                      </a:r>
                      <a:r>
                        <a:rPr lang="en-GB" sz="2800" b="0" dirty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  <a:endParaRPr lang="el-GR" sz="2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39036133"/>
                  </a:ext>
                </a:extLst>
              </a:tr>
              <a:tr h="59393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ΚΕΝΤΡΙΚΗ ΜΑΚΕΔΟΝΙΑ (Εκτός Ν. Θεσσαλονίκης)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7,2</a:t>
                      </a:r>
                      <a:r>
                        <a:rPr lang="en-GB" sz="2800" dirty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2187420153"/>
                  </a:ext>
                </a:extLst>
              </a:tr>
              <a:tr h="59393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>
                          <a:solidFill>
                            <a:schemeClr val="tx1"/>
                          </a:solidFill>
                          <a:effectLst/>
                        </a:rPr>
                        <a:t>ΔΥΤΙΚΗ ΜΑΚΕΔΟΝΙΑ</a:t>
                      </a:r>
                      <a:endParaRPr lang="el-GR" sz="28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3,6</a:t>
                      </a:r>
                      <a:r>
                        <a:rPr lang="en-GB" sz="2800" dirty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82021347"/>
                  </a:ext>
                </a:extLst>
              </a:tr>
              <a:tr h="59393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ΗΠΕΙΡΟΣ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3,1</a:t>
                      </a:r>
                      <a:r>
                        <a:rPr lang="en-GB" sz="2800" dirty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727254435"/>
                  </a:ext>
                </a:extLst>
              </a:tr>
              <a:tr h="59393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>
                          <a:solidFill>
                            <a:schemeClr val="tx1"/>
                          </a:solidFill>
                          <a:effectLst/>
                        </a:rPr>
                        <a:t>ΘΕΣΣΑΛΙΑ</a:t>
                      </a:r>
                      <a:endParaRPr lang="el-GR" sz="28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4,2</a:t>
                      </a:r>
                      <a:r>
                        <a:rPr lang="en-GB" sz="2800" dirty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3581400346"/>
                  </a:ext>
                </a:extLst>
              </a:tr>
              <a:tr h="59393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ΙΟΝΙΟ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1,8</a:t>
                      </a:r>
                      <a:r>
                        <a:rPr lang="en-GB" sz="2800" dirty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2620604701"/>
                  </a:ext>
                </a:extLst>
              </a:tr>
              <a:tr h="59393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ΔΥΤΙΚΗ ΕΛΛΑΔΑ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5,4</a:t>
                      </a:r>
                      <a:r>
                        <a:rPr lang="en-GB" sz="2800" dirty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2244953569"/>
                  </a:ext>
                </a:extLst>
              </a:tr>
              <a:tr h="59393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ΣΤΕΡΕΑ ΕΛΛΑΔΑ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5,8</a:t>
                      </a:r>
                      <a:r>
                        <a:rPr lang="en-GB" sz="2800" dirty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3152687390"/>
                  </a:ext>
                </a:extLst>
              </a:tr>
              <a:tr h="59393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ΠΕΛΟΠΟΝΝΗΣΟΣ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5,4</a:t>
                      </a:r>
                      <a:r>
                        <a:rPr lang="en-GB" sz="2800" dirty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408970193"/>
                  </a:ext>
                </a:extLst>
              </a:tr>
              <a:tr h="59393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ΒΟΡΕΙΟ ΑΙΓΑΙΟ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1,3</a:t>
                      </a:r>
                      <a:r>
                        <a:rPr lang="en-GB" sz="2800" dirty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843956226"/>
                  </a:ext>
                </a:extLst>
              </a:tr>
              <a:tr h="59393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ΝΟΤΙΟ ΑΙΓΑΙΟ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2,5</a:t>
                      </a:r>
                      <a:r>
                        <a:rPr lang="en-GB" sz="2800" dirty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281236798"/>
                  </a:ext>
                </a:extLst>
              </a:tr>
              <a:tr h="59393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ΚΡΗΤΗ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5,0</a:t>
                      </a:r>
                      <a:r>
                        <a:rPr lang="en-GB" sz="2800" dirty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944877070"/>
                  </a:ext>
                </a:extLst>
              </a:tr>
              <a:tr h="59393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ΝΟΜΟΣ ΑΤΤΙΚΗΣ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40,6</a:t>
                      </a:r>
                      <a:r>
                        <a:rPr lang="en-GB" sz="2800" dirty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988324688"/>
                  </a:ext>
                </a:extLst>
              </a:tr>
              <a:tr h="59393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Πολεοδομικό συγκρότημα Θεσσαλονίκης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l-GR" sz="2800" dirty="0">
                          <a:solidFill>
                            <a:schemeClr val="tx1"/>
                          </a:solidFill>
                          <a:effectLst/>
                        </a:rPr>
                        <a:t>9,8</a:t>
                      </a:r>
                      <a:r>
                        <a:rPr lang="en-GB" sz="2800" dirty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  <a:endParaRPr lang="el-GR" sz="2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9637332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28118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350">
            <a:extLst>
              <a:ext uri="{FF2B5EF4-FFF2-40B4-BE49-F238E27FC236}">
                <a16:creationId xmlns:a16="http://schemas.microsoft.com/office/drawing/2014/main" xmlns="" id="{8AD2983E-D591-E443-9BB2-4494207430EF}"/>
              </a:ext>
            </a:extLst>
          </p:cNvPr>
          <p:cNvSpPr txBox="1"/>
          <p:nvPr/>
        </p:nvSpPr>
        <p:spPr>
          <a:xfrm>
            <a:off x="1399336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1AB5DBC-14DC-134F-9718-D272DCBB189C}"/>
              </a:ext>
            </a:extLst>
          </p:cNvPr>
          <p:cNvSpPr txBox="1"/>
          <p:nvPr/>
        </p:nvSpPr>
        <p:spPr>
          <a:xfrm>
            <a:off x="1399336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ap current patient pathway to care, including from diagnosis to referral &amp; to administration to identify areas for optimization</a:t>
            </a:r>
          </a:p>
        </p:txBody>
      </p:sp>
      <p:sp>
        <p:nvSpPr>
          <p:cNvPr id="8" name="CuadroTexto 351">
            <a:extLst>
              <a:ext uri="{FF2B5EF4-FFF2-40B4-BE49-F238E27FC236}">
                <a16:creationId xmlns:a16="http://schemas.microsoft.com/office/drawing/2014/main" xmlns="" id="{B3FB0433-90AF-B34A-A542-47254409958D}"/>
              </a:ext>
            </a:extLst>
          </p:cNvPr>
          <p:cNvSpPr txBox="1"/>
          <p:nvPr/>
        </p:nvSpPr>
        <p:spPr>
          <a:xfrm>
            <a:off x="1399336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Map</a:t>
            </a:r>
          </a:p>
        </p:txBody>
      </p:sp>
      <p:sp>
        <p:nvSpPr>
          <p:cNvPr id="11" name="CuadroTexto 350">
            <a:extLst>
              <a:ext uri="{FF2B5EF4-FFF2-40B4-BE49-F238E27FC236}">
                <a16:creationId xmlns:a16="http://schemas.microsoft.com/office/drawing/2014/main" xmlns="" id="{25629FDF-E755-BF47-9ADB-454346411CE8}"/>
              </a:ext>
            </a:extLst>
          </p:cNvPr>
          <p:cNvSpPr txBox="1"/>
          <p:nvPr/>
        </p:nvSpPr>
        <p:spPr>
          <a:xfrm>
            <a:off x="6885675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2</a:t>
            </a:r>
          </a:p>
        </p:txBody>
      </p:sp>
      <p:sp>
        <p:nvSpPr>
          <p:cNvPr id="13" name="CuadroTexto 351">
            <a:extLst>
              <a:ext uri="{FF2B5EF4-FFF2-40B4-BE49-F238E27FC236}">
                <a16:creationId xmlns:a16="http://schemas.microsoft.com/office/drawing/2014/main" xmlns="" id="{2177F7D8-279A-4F4A-B585-21C67CD5F91B}"/>
              </a:ext>
            </a:extLst>
          </p:cNvPr>
          <p:cNvSpPr txBox="1"/>
          <p:nvPr/>
        </p:nvSpPr>
        <p:spPr>
          <a:xfrm>
            <a:off x="6885675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Design</a:t>
            </a:r>
          </a:p>
        </p:txBody>
      </p:sp>
      <p:sp>
        <p:nvSpPr>
          <p:cNvPr id="15" name="CuadroTexto 350">
            <a:extLst>
              <a:ext uri="{FF2B5EF4-FFF2-40B4-BE49-F238E27FC236}">
                <a16:creationId xmlns:a16="http://schemas.microsoft.com/office/drawing/2014/main" xmlns="" id="{81A9E447-F9FE-4E44-8053-2C7B322F56D5}"/>
              </a:ext>
            </a:extLst>
          </p:cNvPr>
          <p:cNvSpPr txBox="1"/>
          <p:nvPr/>
        </p:nvSpPr>
        <p:spPr>
          <a:xfrm>
            <a:off x="12981622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1AB533C9-FB31-4349-A7F1-FC58E91730C0}"/>
              </a:ext>
            </a:extLst>
          </p:cNvPr>
          <p:cNvSpPr txBox="1"/>
          <p:nvPr/>
        </p:nvSpPr>
        <p:spPr>
          <a:xfrm>
            <a:off x="12981621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iscuss the proposed paradigm with select clinical / health policy experts to validate principles and proof of concept</a:t>
            </a:r>
          </a:p>
        </p:txBody>
      </p:sp>
      <p:sp>
        <p:nvSpPr>
          <p:cNvPr id="17" name="CuadroTexto 351">
            <a:extLst>
              <a:ext uri="{FF2B5EF4-FFF2-40B4-BE49-F238E27FC236}">
                <a16:creationId xmlns:a16="http://schemas.microsoft.com/office/drawing/2014/main" xmlns="" id="{3DCCBA54-04B8-E54C-AE8C-F0E2AFE36F83}"/>
              </a:ext>
            </a:extLst>
          </p:cNvPr>
          <p:cNvSpPr txBox="1"/>
          <p:nvPr/>
        </p:nvSpPr>
        <p:spPr>
          <a:xfrm>
            <a:off x="12981622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Vali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488CAA4-B19A-F06E-F7D0-5E13D51CE056}"/>
              </a:ext>
            </a:extLst>
          </p:cNvPr>
          <p:cNvSpPr txBox="1"/>
          <p:nvPr/>
        </p:nvSpPr>
        <p:spPr>
          <a:xfrm>
            <a:off x="436098" y="13316328"/>
            <a:ext cx="8877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Poppins" pitchFamily="2" charset="0"/>
                <a:cs typeface="Poppins" pitchFamily="2" charset="0"/>
              </a:rPr>
              <a:t>© The Health Policy Institute. Confidential and Proprietary. Submitted for discussion purposes only.</a:t>
            </a:r>
            <a:endParaRPr lang="el-GR" sz="1400" dirty="0">
              <a:solidFill>
                <a:schemeClr val="bg1"/>
              </a:solidFill>
              <a:cs typeface="Poppins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0866399" y="564435"/>
            <a:ext cx="3531737" cy="75866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el-GR" sz="40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ΔΗΜΟΓΡΑΦΙΚΑ</a:t>
            </a:r>
          </a:p>
        </p:txBody>
      </p:sp>
      <p:graphicFrame>
        <p:nvGraphicFramePr>
          <p:cNvPr id="14" name="Γράφημα 13">
            <a:extLst>
              <a:ext uri="{FF2B5EF4-FFF2-40B4-BE49-F238E27FC236}">
                <a16:creationId xmlns:a16="http://schemas.microsoft.com/office/drawing/2014/main" xmlns="" id="{DAA286C1-A4F2-E608-80A3-DBCD2C2BE8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87173887"/>
              </p:ext>
            </p:extLst>
          </p:nvPr>
        </p:nvGraphicFramePr>
        <p:xfrm>
          <a:off x="285396" y="2109436"/>
          <a:ext cx="13200558" cy="9866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0" name="Γράφημα 19">
            <a:extLst>
              <a:ext uri="{FF2B5EF4-FFF2-40B4-BE49-F238E27FC236}">
                <a16:creationId xmlns:a16="http://schemas.microsoft.com/office/drawing/2014/main" xmlns="" id="{627B2726-92AF-5209-F52D-FE5FC25F6A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6976893"/>
              </p:ext>
            </p:extLst>
          </p:nvPr>
        </p:nvGraphicFramePr>
        <p:xfrm>
          <a:off x="13977466" y="2287787"/>
          <a:ext cx="10499808" cy="106681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1" name="Ορθογώνιο 20">
            <a:extLst>
              <a:ext uri="{FF2B5EF4-FFF2-40B4-BE49-F238E27FC236}">
                <a16:creationId xmlns:a16="http://schemas.microsoft.com/office/drawing/2014/main" xmlns="" id="{30ED3507-262F-B93C-A490-118F9E2C5BEC}"/>
              </a:ext>
            </a:extLst>
          </p:cNvPr>
          <p:cNvSpPr/>
          <p:nvPr/>
        </p:nvSpPr>
        <p:spPr>
          <a:xfrm rot="5400000">
            <a:off x="8234957" y="7432867"/>
            <a:ext cx="11485019" cy="210165"/>
          </a:xfrm>
          <a:prstGeom prst="rect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856895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xmlns="" id="{E48290AE-6829-EBE9-6EC4-FB3E63634A5B}"/>
              </a:ext>
            </a:extLst>
          </p:cNvPr>
          <p:cNvSpPr/>
          <p:nvPr/>
        </p:nvSpPr>
        <p:spPr>
          <a:xfrm>
            <a:off x="10088138" y="565672"/>
            <a:ext cx="5088252" cy="75866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el-GR" sz="40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. Επιλογή - πρόσβαση</a:t>
            </a:r>
          </a:p>
        </p:txBody>
      </p:sp>
      <p:graphicFrame>
        <p:nvGraphicFramePr>
          <p:cNvPr id="4" name="Γράφημα 3">
            <a:extLst>
              <a:ext uri="{FF2B5EF4-FFF2-40B4-BE49-F238E27FC236}">
                <a16:creationId xmlns:a16="http://schemas.microsoft.com/office/drawing/2014/main" xmlns="" id="{0B462471-709D-F7E2-E93B-0B1815B5DA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05197542"/>
              </p:ext>
            </p:extLst>
          </p:nvPr>
        </p:nvGraphicFramePr>
        <p:xfrm>
          <a:off x="2425959" y="3712476"/>
          <a:ext cx="19706253" cy="96233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B92E9DAD-093D-D29B-2562-E6BDFEA5C368}"/>
              </a:ext>
            </a:extLst>
          </p:cNvPr>
          <p:cNvSpPr txBox="1"/>
          <p:nvPr/>
        </p:nvSpPr>
        <p:spPr>
          <a:xfrm>
            <a:off x="6295053" y="1430649"/>
            <a:ext cx="18088947" cy="20549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6600" b="1" dirty="0">
                <a:solidFill>
                  <a:srgbClr val="92CDDC"/>
                </a:solidFill>
                <a:effectLst/>
                <a:latin typeface="Wide Latin" panose="020A0A070505050204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el-GR" sz="3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ΕΡΩΤΗΣΗ</a:t>
            </a:r>
            <a:r>
              <a:rPr lang="el-GR" sz="32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en-GB" sz="32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l-GR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3600" b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Εάν χρειαστεί να επισκεφτείτε φαρμακείο, συνήθως επιλέγετε:</a:t>
            </a:r>
            <a:endParaRPr lang="el-GR" sz="36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Ευθεία γραμμή σύνδεσης 8">
            <a:extLst>
              <a:ext uri="{FF2B5EF4-FFF2-40B4-BE49-F238E27FC236}">
                <a16:creationId xmlns:a16="http://schemas.microsoft.com/office/drawing/2014/main" xmlns="" id="{9737CA02-0DBD-95A9-FA81-90500B6DB9F1}"/>
              </a:ext>
            </a:extLst>
          </p:cNvPr>
          <p:cNvCxnSpPr>
            <a:cxnSpLocks/>
          </p:cNvCxnSpPr>
          <p:nvPr/>
        </p:nvCxnSpPr>
        <p:spPr>
          <a:xfrm>
            <a:off x="3135086" y="3584690"/>
            <a:ext cx="18754530" cy="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7863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350">
            <a:extLst>
              <a:ext uri="{FF2B5EF4-FFF2-40B4-BE49-F238E27FC236}">
                <a16:creationId xmlns:a16="http://schemas.microsoft.com/office/drawing/2014/main" xmlns="" id="{8AD2983E-D591-E443-9BB2-4494207430EF}"/>
              </a:ext>
            </a:extLst>
          </p:cNvPr>
          <p:cNvSpPr txBox="1"/>
          <p:nvPr/>
        </p:nvSpPr>
        <p:spPr>
          <a:xfrm>
            <a:off x="1399336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1AB5DBC-14DC-134F-9718-D272DCBB189C}"/>
              </a:ext>
            </a:extLst>
          </p:cNvPr>
          <p:cNvSpPr txBox="1"/>
          <p:nvPr/>
        </p:nvSpPr>
        <p:spPr>
          <a:xfrm>
            <a:off x="1399336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ap current patient pathway to care, including from diagnosis to referral &amp; to administration to identify areas for optimization</a:t>
            </a:r>
          </a:p>
        </p:txBody>
      </p:sp>
      <p:sp>
        <p:nvSpPr>
          <p:cNvPr id="8" name="CuadroTexto 351">
            <a:extLst>
              <a:ext uri="{FF2B5EF4-FFF2-40B4-BE49-F238E27FC236}">
                <a16:creationId xmlns:a16="http://schemas.microsoft.com/office/drawing/2014/main" xmlns="" id="{B3FB0433-90AF-B34A-A542-47254409958D}"/>
              </a:ext>
            </a:extLst>
          </p:cNvPr>
          <p:cNvSpPr txBox="1"/>
          <p:nvPr/>
        </p:nvSpPr>
        <p:spPr>
          <a:xfrm>
            <a:off x="1399336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Map</a:t>
            </a:r>
          </a:p>
        </p:txBody>
      </p:sp>
      <p:sp>
        <p:nvSpPr>
          <p:cNvPr id="11" name="CuadroTexto 350">
            <a:extLst>
              <a:ext uri="{FF2B5EF4-FFF2-40B4-BE49-F238E27FC236}">
                <a16:creationId xmlns:a16="http://schemas.microsoft.com/office/drawing/2014/main" xmlns="" id="{25629FDF-E755-BF47-9ADB-454346411CE8}"/>
              </a:ext>
            </a:extLst>
          </p:cNvPr>
          <p:cNvSpPr txBox="1"/>
          <p:nvPr/>
        </p:nvSpPr>
        <p:spPr>
          <a:xfrm>
            <a:off x="6885675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2</a:t>
            </a:r>
          </a:p>
        </p:txBody>
      </p:sp>
      <p:sp>
        <p:nvSpPr>
          <p:cNvPr id="13" name="CuadroTexto 351">
            <a:extLst>
              <a:ext uri="{FF2B5EF4-FFF2-40B4-BE49-F238E27FC236}">
                <a16:creationId xmlns:a16="http://schemas.microsoft.com/office/drawing/2014/main" xmlns="" id="{2177F7D8-279A-4F4A-B585-21C67CD5F91B}"/>
              </a:ext>
            </a:extLst>
          </p:cNvPr>
          <p:cNvSpPr txBox="1"/>
          <p:nvPr/>
        </p:nvSpPr>
        <p:spPr>
          <a:xfrm>
            <a:off x="6885675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Design</a:t>
            </a:r>
          </a:p>
        </p:txBody>
      </p:sp>
      <p:sp>
        <p:nvSpPr>
          <p:cNvPr id="15" name="CuadroTexto 350">
            <a:extLst>
              <a:ext uri="{FF2B5EF4-FFF2-40B4-BE49-F238E27FC236}">
                <a16:creationId xmlns:a16="http://schemas.microsoft.com/office/drawing/2014/main" xmlns="" id="{81A9E447-F9FE-4E44-8053-2C7B322F56D5}"/>
              </a:ext>
            </a:extLst>
          </p:cNvPr>
          <p:cNvSpPr txBox="1"/>
          <p:nvPr/>
        </p:nvSpPr>
        <p:spPr>
          <a:xfrm>
            <a:off x="12981622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1AB533C9-FB31-4349-A7F1-FC58E91730C0}"/>
              </a:ext>
            </a:extLst>
          </p:cNvPr>
          <p:cNvSpPr txBox="1"/>
          <p:nvPr/>
        </p:nvSpPr>
        <p:spPr>
          <a:xfrm>
            <a:off x="12981621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iscuss the proposed paradigm with select clinical / health policy experts to validate principles and proof of concept</a:t>
            </a:r>
          </a:p>
        </p:txBody>
      </p:sp>
      <p:sp>
        <p:nvSpPr>
          <p:cNvPr id="17" name="CuadroTexto 351">
            <a:extLst>
              <a:ext uri="{FF2B5EF4-FFF2-40B4-BE49-F238E27FC236}">
                <a16:creationId xmlns:a16="http://schemas.microsoft.com/office/drawing/2014/main" xmlns="" id="{3DCCBA54-04B8-E54C-AE8C-F0E2AFE36F83}"/>
              </a:ext>
            </a:extLst>
          </p:cNvPr>
          <p:cNvSpPr txBox="1"/>
          <p:nvPr/>
        </p:nvSpPr>
        <p:spPr>
          <a:xfrm>
            <a:off x="12981622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Vali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488CAA4-B19A-F06E-F7D0-5E13D51CE056}"/>
              </a:ext>
            </a:extLst>
          </p:cNvPr>
          <p:cNvSpPr txBox="1"/>
          <p:nvPr/>
        </p:nvSpPr>
        <p:spPr>
          <a:xfrm>
            <a:off x="436098" y="13316328"/>
            <a:ext cx="8877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Poppins" pitchFamily="2" charset="0"/>
                <a:cs typeface="Poppins" pitchFamily="2" charset="0"/>
              </a:rPr>
              <a:t>© The Health Policy Institute. Confidential and Proprietary. Submitted for discussion purposes only.</a:t>
            </a:r>
            <a:endParaRPr lang="el-GR" sz="1400" dirty="0">
              <a:solidFill>
                <a:schemeClr val="bg1"/>
              </a:solidFill>
              <a:cs typeface="Poppins" pitchFamily="2" charset="0"/>
            </a:endParaRPr>
          </a:p>
        </p:txBody>
      </p:sp>
      <p:graphicFrame>
        <p:nvGraphicFramePr>
          <p:cNvPr id="5" name="Γράφημα 4">
            <a:extLst>
              <a:ext uri="{FF2B5EF4-FFF2-40B4-BE49-F238E27FC236}">
                <a16:creationId xmlns:a16="http://schemas.microsoft.com/office/drawing/2014/main" xmlns="" id="{5D496D35-DE96-1FA5-9353-D27DD44435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1986204"/>
              </p:ext>
            </p:extLst>
          </p:nvPr>
        </p:nvGraphicFramePr>
        <p:xfrm>
          <a:off x="5270534" y="3875023"/>
          <a:ext cx="15422176" cy="9441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F495EF38-8787-3090-7619-1C9478331EA0}"/>
              </a:ext>
            </a:extLst>
          </p:cNvPr>
          <p:cNvSpPr txBox="1"/>
          <p:nvPr/>
        </p:nvSpPr>
        <p:spPr>
          <a:xfrm>
            <a:off x="4021335" y="1384222"/>
            <a:ext cx="17920571" cy="31566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6000" b="1" dirty="0">
                <a:solidFill>
                  <a:srgbClr val="92CDDC"/>
                </a:solidFill>
                <a:effectLst/>
                <a:latin typeface="Wide Latin" panose="020A0A070505050204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2.</a:t>
            </a:r>
            <a:r>
              <a:rPr lang="el-GR" sz="6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ΕΡΩΤΗΣΗ</a:t>
            </a:r>
            <a:r>
              <a:rPr lang="el-GR" sz="32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l-GR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3600" b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Τους τελευταίους 12 μήνες, σας έχει τύχει να χρειαστείτε φαρμακείο και να μην μπορέσετε να έχετε πρόσβαση σε κάποιο;</a:t>
            </a:r>
            <a:endParaRPr lang="el-GR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l-GR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l-GR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l-GR" sz="1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endParaRPr lang="el-GR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Ευθεία γραμμή σύνδεσης 13">
            <a:extLst>
              <a:ext uri="{FF2B5EF4-FFF2-40B4-BE49-F238E27FC236}">
                <a16:creationId xmlns:a16="http://schemas.microsoft.com/office/drawing/2014/main" xmlns="" id="{612AD30A-F0A9-A438-9358-ED88D1CB1807}"/>
              </a:ext>
            </a:extLst>
          </p:cNvPr>
          <p:cNvCxnSpPr>
            <a:cxnSpLocks/>
          </p:cNvCxnSpPr>
          <p:nvPr/>
        </p:nvCxnSpPr>
        <p:spPr>
          <a:xfrm>
            <a:off x="4021335" y="4088543"/>
            <a:ext cx="18073555" cy="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3">
            <a:extLst>
              <a:ext uri="{FF2B5EF4-FFF2-40B4-BE49-F238E27FC236}">
                <a16:creationId xmlns:a16="http://schemas.microsoft.com/office/drawing/2014/main" xmlns="" id="{D2FB432B-47FD-4D83-8C6A-003D8A6A82E1}"/>
              </a:ext>
            </a:extLst>
          </p:cNvPr>
          <p:cNvSpPr/>
          <p:nvPr/>
        </p:nvSpPr>
        <p:spPr>
          <a:xfrm>
            <a:off x="10088138" y="565672"/>
            <a:ext cx="5088252" cy="75866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el-GR" sz="40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. Επιλογή - πρόσβαση</a:t>
            </a:r>
          </a:p>
        </p:txBody>
      </p:sp>
    </p:spTree>
    <p:extLst>
      <p:ext uri="{BB962C8B-B14F-4D97-AF65-F5344CB8AC3E}">
        <p14:creationId xmlns:p14="http://schemas.microsoft.com/office/powerpoint/2010/main" val="8539437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350">
            <a:extLst>
              <a:ext uri="{FF2B5EF4-FFF2-40B4-BE49-F238E27FC236}">
                <a16:creationId xmlns:a16="http://schemas.microsoft.com/office/drawing/2014/main" xmlns="" id="{8AD2983E-D591-E443-9BB2-4494207430EF}"/>
              </a:ext>
            </a:extLst>
          </p:cNvPr>
          <p:cNvSpPr txBox="1"/>
          <p:nvPr/>
        </p:nvSpPr>
        <p:spPr>
          <a:xfrm>
            <a:off x="1399336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1AB5DBC-14DC-134F-9718-D272DCBB189C}"/>
              </a:ext>
            </a:extLst>
          </p:cNvPr>
          <p:cNvSpPr txBox="1"/>
          <p:nvPr/>
        </p:nvSpPr>
        <p:spPr>
          <a:xfrm>
            <a:off x="1399336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ap current patient pathway to care, including from diagnosis to referral &amp; to administration to identify areas for optimization</a:t>
            </a:r>
          </a:p>
        </p:txBody>
      </p:sp>
      <p:sp>
        <p:nvSpPr>
          <p:cNvPr id="8" name="CuadroTexto 351">
            <a:extLst>
              <a:ext uri="{FF2B5EF4-FFF2-40B4-BE49-F238E27FC236}">
                <a16:creationId xmlns:a16="http://schemas.microsoft.com/office/drawing/2014/main" xmlns="" id="{B3FB0433-90AF-B34A-A542-47254409958D}"/>
              </a:ext>
            </a:extLst>
          </p:cNvPr>
          <p:cNvSpPr txBox="1"/>
          <p:nvPr/>
        </p:nvSpPr>
        <p:spPr>
          <a:xfrm>
            <a:off x="1399336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Map</a:t>
            </a:r>
          </a:p>
        </p:txBody>
      </p:sp>
      <p:sp>
        <p:nvSpPr>
          <p:cNvPr id="11" name="CuadroTexto 350">
            <a:extLst>
              <a:ext uri="{FF2B5EF4-FFF2-40B4-BE49-F238E27FC236}">
                <a16:creationId xmlns:a16="http://schemas.microsoft.com/office/drawing/2014/main" xmlns="" id="{25629FDF-E755-BF47-9ADB-454346411CE8}"/>
              </a:ext>
            </a:extLst>
          </p:cNvPr>
          <p:cNvSpPr txBox="1"/>
          <p:nvPr/>
        </p:nvSpPr>
        <p:spPr>
          <a:xfrm>
            <a:off x="6885675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7E6BB7F-CCA4-0F40-AD32-E8E1DEABA946}"/>
              </a:ext>
            </a:extLst>
          </p:cNvPr>
          <p:cNvSpPr txBox="1"/>
          <p:nvPr/>
        </p:nvSpPr>
        <p:spPr>
          <a:xfrm>
            <a:off x="6885673" y="9840977"/>
            <a:ext cx="5985195" cy="3186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sign a standardized process for patient access to care, including full process flows (e.g., referral pathways), R&amp;Rs &amp; required infrastructure (e.g., patient registry, incl. with longer term clinical outcomes)</a:t>
            </a:r>
          </a:p>
        </p:txBody>
      </p:sp>
      <p:sp>
        <p:nvSpPr>
          <p:cNvPr id="13" name="CuadroTexto 351">
            <a:extLst>
              <a:ext uri="{FF2B5EF4-FFF2-40B4-BE49-F238E27FC236}">
                <a16:creationId xmlns:a16="http://schemas.microsoft.com/office/drawing/2014/main" xmlns="" id="{2177F7D8-279A-4F4A-B585-21C67CD5F91B}"/>
              </a:ext>
            </a:extLst>
          </p:cNvPr>
          <p:cNvSpPr txBox="1"/>
          <p:nvPr/>
        </p:nvSpPr>
        <p:spPr>
          <a:xfrm>
            <a:off x="6885675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Design</a:t>
            </a:r>
          </a:p>
        </p:txBody>
      </p:sp>
      <p:sp>
        <p:nvSpPr>
          <p:cNvPr id="15" name="CuadroTexto 350">
            <a:extLst>
              <a:ext uri="{FF2B5EF4-FFF2-40B4-BE49-F238E27FC236}">
                <a16:creationId xmlns:a16="http://schemas.microsoft.com/office/drawing/2014/main" xmlns="" id="{81A9E447-F9FE-4E44-8053-2C7B322F56D5}"/>
              </a:ext>
            </a:extLst>
          </p:cNvPr>
          <p:cNvSpPr txBox="1"/>
          <p:nvPr/>
        </p:nvSpPr>
        <p:spPr>
          <a:xfrm>
            <a:off x="12981622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1AB533C9-FB31-4349-A7F1-FC58E91730C0}"/>
              </a:ext>
            </a:extLst>
          </p:cNvPr>
          <p:cNvSpPr txBox="1"/>
          <p:nvPr/>
        </p:nvSpPr>
        <p:spPr>
          <a:xfrm>
            <a:off x="12981621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iscuss the proposed paradigm with select clinical / health policy experts to validate principles and proof of concept</a:t>
            </a:r>
          </a:p>
        </p:txBody>
      </p:sp>
      <p:sp>
        <p:nvSpPr>
          <p:cNvPr id="17" name="CuadroTexto 351">
            <a:extLst>
              <a:ext uri="{FF2B5EF4-FFF2-40B4-BE49-F238E27FC236}">
                <a16:creationId xmlns:a16="http://schemas.microsoft.com/office/drawing/2014/main" xmlns="" id="{3DCCBA54-04B8-E54C-AE8C-F0E2AFE36F83}"/>
              </a:ext>
            </a:extLst>
          </p:cNvPr>
          <p:cNvSpPr txBox="1"/>
          <p:nvPr/>
        </p:nvSpPr>
        <p:spPr>
          <a:xfrm>
            <a:off x="12981622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Vali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488CAA4-B19A-F06E-F7D0-5E13D51CE056}"/>
              </a:ext>
            </a:extLst>
          </p:cNvPr>
          <p:cNvSpPr txBox="1"/>
          <p:nvPr/>
        </p:nvSpPr>
        <p:spPr>
          <a:xfrm>
            <a:off x="436098" y="13316328"/>
            <a:ext cx="8877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Poppins" pitchFamily="2" charset="0"/>
                <a:cs typeface="Poppins" pitchFamily="2" charset="0"/>
              </a:rPr>
              <a:t>© The Health Policy Institute. Confidential and Proprietary. Submitted for discussion purposes only.</a:t>
            </a:r>
            <a:endParaRPr lang="el-GR" sz="1400" dirty="0">
              <a:solidFill>
                <a:schemeClr val="bg1"/>
              </a:solidFill>
              <a:cs typeface="Poppins" pitchFamily="2" charset="0"/>
            </a:endParaRPr>
          </a:p>
        </p:txBody>
      </p:sp>
      <p:graphicFrame>
        <p:nvGraphicFramePr>
          <p:cNvPr id="3" name="Γράφημα 2">
            <a:extLst>
              <a:ext uri="{FF2B5EF4-FFF2-40B4-BE49-F238E27FC236}">
                <a16:creationId xmlns:a16="http://schemas.microsoft.com/office/drawing/2014/main" xmlns="" id="{195F37AF-586F-2543-83F5-66139A037D4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36993155"/>
              </p:ext>
            </p:extLst>
          </p:nvPr>
        </p:nvGraphicFramePr>
        <p:xfrm>
          <a:off x="3324064" y="4746055"/>
          <a:ext cx="17735872" cy="82815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D3BC2BA6-EFE4-111F-D790-27A000837CA6}"/>
              </a:ext>
            </a:extLst>
          </p:cNvPr>
          <p:cNvSpPr txBox="1"/>
          <p:nvPr/>
        </p:nvSpPr>
        <p:spPr>
          <a:xfrm>
            <a:off x="3575246" y="1564842"/>
            <a:ext cx="18591244" cy="31158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6600" b="1" dirty="0">
                <a:solidFill>
                  <a:srgbClr val="92CDDC"/>
                </a:solidFill>
                <a:effectLst/>
                <a:latin typeface="Wide Latin" panose="020A0A070505050204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3.</a:t>
            </a:r>
            <a:r>
              <a:rPr lang="en-GB" sz="3600" b="1" dirty="0">
                <a:solidFill>
                  <a:srgbClr val="92CDDC"/>
                </a:solidFill>
                <a:latin typeface="Wide Latin" panose="020A0A070505050204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ΕΡΩΤΗΣΗ</a:t>
            </a:r>
            <a:r>
              <a:rPr lang="el-GR" sz="3200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el-GR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3600" b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Αν ναι, αυτό συνέβη γιατί:</a:t>
            </a:r>
            <a:endParaRPr lang="el-GR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l">
              <a:lnSpc>
                <a:spcPct val="115000"/>
              </a:lnSpc>
              <a:spcAft>
                <a:spcPts val="1000"/>
              </a:spcAft>
            </a:pPr>
            <a:r>
              <a:rPr lang="el-GR" sz="2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ΑΦΟΡΑ ΟΣΟΥΣ ΑΠΑΝΤΗΣΑΝ: «ΝΑΙ» στην ερώτηση: «Τους τελευταίους 12 μήνες, σας έχει τύχει να χρειαστείτε φαρμακείο και να μην μπορέσετε να έχετε πρόσβαση σε κάποιο;» (Ν=148)</a:t>
            </a:r>
            <a:endParaRPr lang="el-GR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Ευθεία γραμμή σύνδεσης 17">
            <a:extLst>
              <a:ext uri="{FF2B5EF4-FFF2-40B4-BE49-F238E27FC236}">
                <a16:creationId xmlns:a16="http://schemas.microsoft.com/office/drawing/2014/main" xmlns="" id="{07671A5E-DE93-DF60-0FA7-28EA6954FED4}"/>
              </a:ext>
            </a:extLst>
          </p:cNvPr>
          <p:cNvCxnSpPr>
            <a:cxnSpLocks/>
          </p:cNvCxnSpPr>
          <p:nvPr/>
        </p:nvCxnSpPr>
        <p:spPr>
          <a:xfrm>
            <a:off x="3575246" y="3584690"/>
            <a:ext cx="18314370" cy="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3">
            <a:extLst>
              <a:ext uri="{FF2B5EF4-FFF2-40B4-BE49-F238E27FC236}">
                <a16:creationId xmlns:a16="http://schemas.microsoft.com/office/drawing/2014/main" xmlns="" id="{241651E3-A02C-4C28-BAFD-A36848D532F4}"/>
              </a:ext>
            </a:extLst>
          </p:cNvPr>
          <p:cNvSpPr/>
          <p:nvPr/>
        </p:nvSpPr>
        <p:spPr>
          <a:xfrm>
            <a:off x="10088138" y="565672"/>
            <a:ext cx="5088252" cy="75866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el-GR" sz="40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. Επιλογή - πρόσβαση</a:t>
            </a:r>
          </a:p>
        </p:txBody>
      </p:sp>
    </p:spTree>
    <p:extLst>
      <p:ext uri="{BB962C8B-B14F-4D97-AF65-F5344CB8AC3E}">
        <p14:creationId xmlns:p14="http://schemas.microsoft.com/office/powerpoint/2010/main" val="11997450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350">
            <a:extLst>
              <a:ext uri="{FF2B5EF4-FFF2-40B4-BE49-F238E27FC236}">
                <a16:creationId xmlns:a16="http://schemas.microsoft.com/office/drawing/2014/main" xmlns="" id="{8AD2983E-D591-E443-9BB2-4494207430EF}"/>
              </a:ext>
            </a:extLst>
          </p:cNvPr>
          <p:cNvSpPr txBox="1"/>
          <p:nvPr/>
        </p:nvSpPr>
        <p:spPr>
          <a:xfrm>
            <a:off x="1399336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1AB5DBC-14DC-134F-9718-D272DCBB189C}"/>
              </a:ext>
            </a:extLst>
          </p:cNvPr>
          <p:cNvSpPr txBox="1"/>
          <p:nvPr/>
        </p:nvSpPr>
        <p:spPr>
          <a:xfrm>
            <a:off x="1399336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Map current patient pathway to care, including from diagnosis to referral &amp; to administration to identify areas for optimization</a:t>
            </a:r>
          </a:p>
        </p:txBody>
      </p:sp>
      <p:sp>
        <p:nvSpPr>
          <p:cNvPr id="8" name="CuadroTexto 351">
            <a:extLst>
              <a:ext uri="{FF2B5EF4-FFF2-40B4-BE49-F238E27FC236}">
                <a16:creationId xmlns:a16="http://schemas.microsoft.com/office/drawing/2014/main" xmlns="" id="{B3FB0433-90AF-B34A-A542-47254409958D}"/>
              </a:ext>
            </a:extLst>
          </p:cNvPr>
          <p:cNvSpPr txBox="1"/>
          <p:nvPr/>
        </p:nvSpPr>
        <p:spPr>
          <a:xfrm>
            <a:off x="1399336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Map</a:t>
            </a:r>
          </a:p>
        </p:txBody>
      </p:sp>
      <p:sp>
        <p:nvSpPr>
          <p:cNvPr id="11" name="CuadroTexto 350">
            <a:extLst>
              <a:ext uri="{FF2B5EF4-FFF2-40B4-BE49-F238E27FC236}">
                <a16:creationId xmlns:a16="http://schemas.microsoft.com/office/drawing/2014/main" xmlns="" id="{25629FDF-E755-BF47-9ADB-454346411CE8}"/>
              </a:ext>
            </a:extLst>
          </p:cNvPr>
          <p:cNvSpPr txBox="1"/>
          <p:nvPr/>
        </p:nvSpPr>
        <p:spPr>
          <a:xfrm>
            <a:off x="6885675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7E6BB7F-CCA4-0F40-AD32-E8E1DEABA946}"/>
              </a:ext>
            </a:extLst>
          </p:cNvPr>
          <p:cNvSpPr txBox="1"/>
          <p:nvPr/>
        </p:nvSpPr>
        <p:spPr>
          <a:xfrm>
            <a:off x="6885673" y="9840977"/>
            <a:ext cx="5985195" cy="3186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esign a standardized process for patient access to care, including full process flows (e.g., referral pathways), R&amp;Rs &amp; required infrastructure (e.g., patient registry, incl. with longer term clinical outcomes)</a:t>
            </a:r>
          </a:p>
        </p:txBody>
      </p:sp>
      <p:sp>
        <p:nvSpPr>
          <p:cNvPr id="13" name="CuadroTexto 351">
            <a:extLst>
              <a:ext uri="{FF2B5EF4-FFF2-40B4-BE49-F238E27FC236}">
                <a16:creationId xmlns:a16="http://schemas.microsoft.com/office/drawing/2014/main" xmlns="" id="{2177F7D8-279A-4F4A-B585-21C67CD5F91B}"/>
              </a:ext>
            </a:extLst>
          </p:cNvPr>
          <p:cNvSpPr txBox="1"/>
          <p:nvPr/>
        </p:nvSpPr>
        <p:spPr>
          <a:xfrm>
            <a:off x="6885675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Design</a:t>
            </a:r>
          </a:p>
        </p:txBody>
      </p:sp>
      <p:sp>
        <p:nvSpPr>
          <p:cNvPr id="15" name="CuadroTexto 350">
            <a:extLst>
              <a:ext uri="{FF2B5EF4-FFF2-40B4-BE49-F238E27FC236}">
                <a16:creationId xmlns:a16="http://schemas.microsoft.com/office/drawing/2014/main" xmlns="" id="{81A9E447-F9FE-4E44-8053-2C7B322F56D5}"/>
              </a:ext>
            </a:extLst>
          </p:cNvPr>
          <p:cNvSpPr txBox="1"/>
          <p:nvPr/>
        </p:nvSpPr>
        <p:spPr>
          <a:xfrm>
            <a:off x="12981622" y="6665794"/>
            <a:ext cx="42118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15000" b="1" kern="1200" dirty="0">
                <a:solidFill>
                  <a:srgbClr val="FFFFFF"/>
                </a:solidFill>
                <a:latin typeface="Poppins" pitchFamily="2" charset="77"/>
                <a:ea typeface="Lato Heavy" charset="0"/>
                <a:cs typeface="Poppins" pitchFamily="2" charset="77"/>
              </a:rPr>
              <a:t>0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1AB533C9-FB31-4349-A7F1-FC58E91730C0}"/>
              </a:ext>
            </a:extLst>
          </p:cNvPr>
          <p:cNvSpPr txBox="1"/>
          <p:nvPr/>
        </p:nvSpPr>
        <p:spPr>
          <a:xfrm>
            <a:off x="12981621" y="9840977"/>
            <a:ext cx="4767536" cy="2135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>
              <a:lnSpc>
                <a:spcPts val="4080"/>
              </a:lnSpc>
            </a:pPr>
            <a:r>
              <a:rPr lang="en-US" sz="2600" kern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Discuss the proposed paradigm with select clinical / health policy experts to validate principles and proof of concept</a:t>
            </a:r>
          </a:p>
        </p:txBody>
      </p:sp>
      <p:sp>
        <p:nvSpPr>
          <p:cNvPr id="17" name="CuadroTexto 351">
            <a:extLst>
              <a:ext uri="{FF2B5EF4-FFF2-40B4-BE49-F238E27FC236}">
                <a16:creationId xmlns:a16="http://schemas.microsoft.com/office/drawing/2014/main" xmlns="" id="{3DCCBA54-04B8-E54C-AE8C-F0E2AFE36F83}"/>
              </a:ext>
            </a:extLst>
          </p:cNvPr>
          <p:cNvSpPr txBox="1"/>
          <p:nvPr/>
        </p:nvSpPr>
        <p:spPr>
          <a:xfrm>
            <a:off x="12981622" y="8844382"/>
            <a:ext cx="42118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828434" hangingPunct="1"/>
            <a:r>
              <a:rPr lang="en-US" sz="4000" b="1" kern="1200" dirty="0">
                <a:solidFill>
                  <a:srgbClr val="FFFFFF"/>
                </a:solidFill>
                <a:latin typeface="Poppins SemiBold" pitchFamily="2" charset="77"/>
                <a:ea typeface="Lato Light" panose="020F0502020204030203" pitchFamily="34" charset="0"/>
                <a:cs typeface="Poppins SemiBold" pitchFamily="2" charset="77"/>
              </a:rPr>
              <a:t>Vali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F488CAA4-B19A-F06E-F7D0-5E13D51CE056}"/>
              </a:ext>
            </a:extLst>
          </p:cNvPr>
          <p:cNvSpPr txBox="1"/>
          <p:nvPr/>
        </p:nvSpPr>
        <p:spPr>
          <a:xfrm>
            <a:off x="436098" y="13316328"/>
            <a:ext cx="8877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Poppins" pitchFamily="2" charset="0"/>
                <a:cs typeface="Poppins" pitchFamily="2" charset="0"/>
              </a:rPr>
              <a:t>© The Health Policy Institute. Confidential and Proprietary. Submitted for discussion purposes only.</a:t>
            </a:r>
            <a:endParaRPr lang="el-GR" sz="1400" dirty="0">
              <a:solidFill>
                <a:schemeClr val="bg1"/>
              </a:solidFill>
              <a:cs typeface="Poppins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991624" y="730487"/>
            <a:ext cx="7532832" cy="8002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</a:pPr>
            <a:r>
              <a:rPr lang="el-GR" sz="40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. Λόγοι επίσκεψης σε φαρμακείο</a:t>
            </a:r>
          </a:p>
        </p:txBody>
      </p:sp>
      <p:graphicFrame>
        <p:nvGraphicFramePr>
          <p:cNvPr id="5" name="Γράφημα 4">
            <a:extLst>
              <a:ext uri="{FF2B5EF4-FFF2-40B4-BE49-F238E27FC236}">
                <a16:creationId xmlns:a16="http://schemas.microsoft.com/office/drawing/2014/main" xmlns="" id="{067E633E-EA62-3BE0-F65B-C6B2639E2A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6760982"/>
              </p:ext>
            </p:extLst>
          </p:nvPr>
        </p:nvGraphicFramePr>
        <p:xfrm>
          <a:off x="3721528" y="4662957"/>
          <a:ext cx="17821470" cy="87917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9" name="Ομάδα 18">
            <a:extLst>
              <a:ext uri="{FF2B5EF4-FFF2-40B4-BE49-F238E27FC236}">
                <a16:creationId xmlns:a16="http://schemas.microsoft.com/office/drawing/2014/main" xmlns="" id="{3E524C98-D70F-B0B7-7C91-45A61B8E378A}"/>
              </a:ext>
            </a:extLst>
          </p:cNvPr>
          <p:cNvGrpSpPr/>
          <p:nvPr/>
        </p:nvGrpSpPr>
        <p:grpSpPr>
          <a:xfrm>
            <a:off x="6660485" y="1693844"/>
            <a:ext cx="12195110" cy="2620333"/>
            <a:chOff x="5000018" y="2057363"/>
            <a:chExt cx="12195110" cy="2620333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xmlns="" id="{2FC8D13D-5EC5-7560-5768-BF9251F68B41}"/>
                </a:ext>
              </a:extLst>
            </p:cNvPr>
            <p:cNvSpPr txBox="1"/>
            <p:nvPr/>
          </p:nvSpPr>
          <p:spPr>
            <a:xfrm>
              <a:off x="5000018" y="2057363"/>
              <a:ext cx="12195110" cy="262033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>
                <a:lnSpc>
                  <a:spcPct val="115000"/>
                </a:lnSpc>
                <a:spcAft>
                  <a:spcPts val="1000"/>
                </a:spcAft>
              </a:pPr>
              <a:r>
                <a:rPr lang="el-GR" sz="6600" b="1" dirty="0">
                  <a:solidFill>
                    <a:srgbClr val="92CDDC"/>
                  </a:solidFill>
                  <a:latin typeface="Wide Latin" panose="020A0A07050505020404" pitchFamily="18" charset="0"/>
                  <a:ea typeface="Calibri" panose="020F0502020204030204" pitchFamily="34" charset="0"/>
                  <a:cs typeface="Calibri" panose="020F0502020204030204" pitchFamily="34" charset="0"/>
                </a:rPr>
                <a:t>4</a:t>
              </a:r>
              <a:r>
                <a:rPr lang="en-US" sz="6600" b="1" dirty="0">
                  <a:solidFill>
                    <a:srgbClr val="92CDDC"/>
                  </a:solidFill>
                  <a:effectLst/>
                  <a:latin typeface="Wide Latin" panose="020A0A07050505020404" pitchFamily="18" charset="0"/>
                  <a:ea typeface="Calibri" panose="020F0502020204030204" pitchFamily="34" charset="0"/>
                  <a:cs typeface="Calibri" panose="020F0502020204030204" pitchFamily="34" charset="0"/>
                </a:rPr>
                <a:t>.</a:t>
              </a:r>
              <a:r>
                <a:rPr lang="el-GR" sz="32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ΕΡΩΤΗΣΗ</a:t>
              </a:r>
              <a:r>
                <a:rPr lang="el-GR" sz="3200" dirty="0">
                  <a:solidFill>
                    <a:srgbClr val="0070C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:</a:t>
              </a:r>
              <a:endParaRPr lang="el-GR" sz="3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l">
                <a:lnSpc>
                  <a:spcPct val="115000"/>
                </a:lnSpc>
                <a:spcAft>
                  <a:spcPts val="1000"/>
                </a:spcAft>
              </a:pPr>
              <a:r>
                <a:rPr lang="el-GR" sz="3600" b="1" dirty="0">
                  <a:solidFill>
                    <a:srgbClr val="0070C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Ποιοι είναι οι κύριοι λόγοι της επίσκεψής σας σε φαρμακείο;</a:t>
              </a:r>
              <a:endParaRPr lang="el-GR" sz="3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algn="l">
                <a:lnSpc>
                  <a:spcPct val="115000"/>
                </a:lnSpc>
                <a:spcAft>
                  <a:spcPts val="1000"/>
                </a:spcAft>
              </a:pPr>
              <a:r>
                <a:rPr lang="el-GR" sz="2800" b="1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Πολλαπλή Απάντηση</a:t>
              </a:r>
              <a:endParaRPr lang="el-GR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4" name="Ευθεία γραμμή σύνδεσης 13">
              <a:extLst>
                <a:ext uri="{FF2B5EF4-FFF2-40B4-BE49-F238E27FC236}">
                  <a16:creationId xmlns:a16="http://schemas.microsoft.com/office/drawing/2014/main" xmlns="" id="{9B7A6D9C-D3F3-1904-02AC-EAB0CFDDD922}"/>
                </a:ext>
              </a:extLst>
            </p:cNvPr>
            <p:cNvCxnSpPr>
              <a:cxnSpLocks/>
            </p:cNvCxnSpPr>
            <p:nvPr/>
          </p:nvCxnSpPr>
          <p:spPr>
            <a:xfrm>
              <a:off x="5000018" y="4071616"/>
              <a:ext cx="11925713" cy="0"/>
            </a:xfrm>
            <a:prstGeom prst="line">
              <a:avLst/>
            </a:prstGeom>
            <a:ln w="762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665374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EA6jC8k59qd9Pqk1T8.Q"/>
</p:tagLst>
</file>

<file path=ppt/theme/theme1.xml><?xml version="1.0" encoding="utf-8"?>
<a:theme xmlns:a="http://schemas.openxmlformats.org/drawingml/2006/main" name="21_BasicWhite">
  <a:themeElements>
    <a:clrScheme name="21_BasicWhite">
      <a:dk1>
        <a:srgbClr val="5E5E5E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"/>
        <a:ea typeface="Helvetica"/>
        <a:cs typeface="Helvetica"/>
      </a:majorFont>
      <a:minorFont>
        <a:latin typeface="Helvetica"/>
        <a:ea typeface="Helvetica"/>
        <a:cs typeface="Helvetica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1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Custom 675">
      <a:dk1>
        <a:srgbClr val="737572"/>
      </a:dk1>
      <a:lt1>
        <a:srgbClr val="FFFFFF"/>
      </a:lt1>
      <a:dk2>
        <a:srgbClr val="363E48"/>
      </a:dk2>
      <a:lt2>
        <a:srgbClr val="FFFFFF"/>
      </a:lt2>
      <a:accent1>
        <a:srgbClr val="06527F"/>
      </a:accent1>
      <a:accent2>
        <a:srgbClr val="2BAEDD"/>
      </a:accent2>
      <a:accent3>
        <a:srgbClr val="6ED6E1"/>
      </a:accent3>
      <a:accent4>
        <a:srgbClr val="FD8F3C"/>
      </a:accent4>
      <a:accent5>
        <a:srgbClr val="85123B"/>
      </a:accent5>
      <a:accent6>
        <a:srgbClr val="70AC47"/>
      </a:accent6>
      <a:hlink>
        <a:srgbClr val="BD392F"/>
      </a:hlink>
      <a:folHlink>
        <a:srgbClr val="9BBA5B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3.xml><?xml version="1.0" encoding="utf-8"?>
<a:theme xmlns:a="http://schemas.openxmlformats.org/drawingml/2006/main" name="IR Template">
  <a:themeElements>
    <a:clrScheme name="Custom 18">
      <a:dk1>
        <a:srgbClr val="54565B"/>
      </a:dk1>
      <a:lt1>
        <a:srgbClr val="FFFFFF"/>
      </a:lt1>
      <a:dk2>
        <a:srgbClr val="C50E3C"/>
      </a:dk2>
      <a:lt2>
        <a:srgbClr val="C6CAC6"/>
      </a:lt2>
      <a:accent1>
        <a:srgbClr val="203661"/>
      </a:accent1>
      <a:accent2>
        <a:srgbClr val="3C587F"/>
      </a:accent2>
      <a:accent3>
        <a:srgbClr val="8DC1C5"/>
      </a:accent3>
      <a:accent4>
        <a:srgbClr val="688C38"/>
      </a:accent4>
      <a:accent5>
        <a:srgbClr val="000000"/>
      </a:accent5>
      <a:accent6>
        <a:srgbClr val="000000"/>
      </a:accent6>
      <a:hlink>
        <a:srgbClr val="3A6C8A"/>
      </a:hlink>
      <a:folHlink>
        <a:srgbClr val="8F7F9E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reating Possible">
  <a:themeElements>
    <a:clrScheme name="Custom 19">
      <a:dk1>
        <a:srgbClr val="54565B"/>
      </a:dk1>
      <a:lt1>
        <a:srgbClr val="FFFFFF"/>
      </a:lt1>
      <a:dk2>
        <a:srgbClr val="C50E3C"/>
      </a:dk2>
      <a:lt2>
        <a:srgbClr val="C6CAC6"/>
      </a:lt2>
      <a:accent1>
        <a:srgbClr val="203661"/>
      </a:accent1>
      <a:accent2>
        <a:srgbClr val="3C587F"/>
      </a:accent2>
      <a:accent3>
        <a:srgbClr val="8DC1C5"/>
      </a:accent3>
      <a:accent4>
        <a:srgbClr val="688C38"/>
      </a:accent4>
      <a:accent5>
        <a:srgbClr val="AEB618"/>
      </a:accent5>
      <a:accent6>
        <a:srgbClr val="000000"/>
      </a:accent6>
      <a:hlink>
        <a:srgbClr val="3A6C8A"/>
      </a:hlink>
      <a:folHlink>
        <a:srgbClr val="8F7F9E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1_BasicWhite">
  <a:themeElements>
    <a:clrScheme name="21_Basic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"/>
        <a:ea typeface="Helvetica"/>
        <a:cs typeface="Helvetica"/>
      </a:majorFont>
      <a:minorFont>
        <a:latin typeface="Helvetica"/>
        <a:ea typeface="Helvetica"/>
        <a:cs typeface="Helvetica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1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215</TotalTime>
  <Words>2154</Words>
  <Application>Microsoft Office PowerPoint</Application>
  <PresentationFormat>Custom</PresentationFormat>
  <Paragraphs>293</Paragraphs>
  <Slides>21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43" baseType="lpstr">
      <vt:lpstr>Apple Symbols</vt:lpstr>
      <vt:lpstr>Arial</vt:lpstr>
      <vt:lpstr>Calibri</vt:lpstr>
      <vt:lpstr>Calibri Light</vt:lpstr>
      <vt:lpstr>Georgia</vt:lpstr>
      <vt:lpstr>Helvetica</vt:lpstr>
      <vt:lpstr>Lato</vt:lpstr>
      <vt:lpstr>Lato Heavy</vt:lpstr>
      <vt:lpstr>Lato Light</vt:lpstr>
      <vt:lpstr>Overpass Black</vt:lpstr>
      <vt:lpstr>Poppins</vt:lpstr>
      <vt:lpstr>Poppins SemiBold</vt:lpstr>
      <vt:lpstr>Proxima Nova Regular</vt:lpstr>
      <vt:lpstr>Rockwell Nova Light</vt:lpstr>
      <vt:lpstr>Times New Roman</vt:lpstr>
      <vt:lpstr>Trebuchet MS</vt:lpstr>
      <vt:lpstr>Wide Latin</vt:lpstr>
      <vt:lpstr>21_BasicWhite</vt:lpstr>
      <vt:lpstr>Office Theme</vt:lpstr>
      <vt:lpstr>IR Template</vt:lpstr>
      <vt:lpstr>Creating Possible</vt:lpstr>
      <vt:lpstr>think-cell Slide</vt:lpstr>
      <vt:lpstr>PowerPoint Presentation</vt:lpstr>
      <vt:lpstr>PowerPoint Presentation</vt:lpstr>
      <vt:lpstr>ΔΗΜΟΓΡΑΦΙΚΑ</vt:lpstr>
      <vt:lpstr>ΔΗΜΟΓΡΑΦΙΚΑ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Souliotis Kyriakos</dc:creator>
  <cp:keywords/>
  <dc:description/>
  <cp:lastModifiedBy>Dimitris Karagiorgos</cp:lastModifiedBy>
  <cp:revision>221</cp:revision>
  <cp:lastPrinted>2023-04-25T08:18:56Z</cp:lastPrinted>
  <dcterms:modified xsi:type="dcterms:W3CDTF">2023-04-26T12:47:11Z</dcterms:modified>
  <cp:category/>
</cp:coreProperties>
</file>